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61" r:id="rId5"/>
    <p:sldMasterId id="2147483779" r:id="rId6"/>
    <p:sldMasterId id="2147483806" r:id="rId7"/>
  </p:sldMasterIdLst>
  <p:notesMasterIdLst>
    <p:notesMasterId r:id="rId20"/>
  </p:notesMasterIdLst>
  <p:handoutMasterIdLst>
    <p:handoutMasterId r:id="rId21"/>
  </p:handoutMasterIdLst>
  <p:sldIdLst>
    <p:sldId id="302" r:id="rId8"/>
    <p:sldId id="2147483296" r:id="rId9"/>
    <p:sldId id="2147483645" r:id="rId10"/>
    <p:sldId id="2147483451" r:id="rId11"/>
    <p:sldId id="2147483460" r:id="rId12"/>
    <p:sldId id="2147483646" r:id="rId13"/>
    <p:sldId id="2147483647" r:id="rId14"/>
    <p:sldId id="2147483644" r:id="rId15"/>
    <p:sldId id="652" r:id="rId16"/>
    <p:sldId id="300" r:id="rId17"/>
    <p:sldId id="2147483638" r:id="rId18"/>
    <p:sldId id="214748345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FE4EA2-EBFB-4B4C-AC41-22834979A8B8}">
          <p14:sldIdLst>
            <p14:sldId id="302"/>
            <p14:sldId id="2147483296"/>
            <p14:sldId id="2147483645"/>
            <p14:sldId id="2147483451"/>
            <p14:sldId id="2147483460"/>
            <p14:sldId id="2147483646"/>
            <p14:sldId id="2147483647"/>
            <p14:sldId id="2147483644"/>
            <p14:sldId id="652"/>
            <p14:sldId id="300"/>
            <p14:sldId id="2147483638"/>
            <p14:sldId id="21474834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6D3F32-04C6-882B-18B6-00C0D982851A}" name="Mradul Kapoor" initials="MK" userId="S::mradulk@birlasoft.com::c2c4c60e-c744-4b61-bc0e-cd603fbb21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E4E4E4"/>
    <a:srgbClr val="1752A9"/>
    <a:srgbClr val="F2F2F2"/>
    <a:srgbClr val="E2E2F0"/>
    <a:srgbClr val="FFF3CC"/>
    <a:srgbClr val="FFDF79"/>
    <a:srgbClr val="FA8F8F"/>
    <a:srgbClr val="FF545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6A0BD2-181F-41FB-B931-28A3DBDF19B6}" v="279" dt="2026-04-06T06:37:07.189"/>
  </p1510:revLst>
</p1510:revInfo>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93447" autoAdjust="0"/>
  </p:normalViewPr>
  <p:slideViewPr>
    <p:cSldViewPr snapToGrid="0">
      <p:cViewPr varScale="1">
        <p:scale>
          <a:sx n="69" d="100"/>
          <a:sy n="69" d="100"/>
        </p:scale>
        <p:origin x="604" y="52"/>
      </p:cViewPr>
      <p:guideLst/>
    </p:cSldViewPr>
  </p:slideViewPr>
  <p:notesTextViewPr>
    <p:cViewPr>
      <p:scale>
        <a:sx n="1" d="1"/>
        <a:sy n="1" d="1"/>
      </p:scale>
      <p:origin x="0" y="0"/>
    </p:cViewPr>
  </p:notesTextViewPr>
  <p:sorterViewPr>
    <p:cViewPr>
      <p:scale>
        <a:sx n="90" d="100"/>
        <a:sy n="90" d="100"/>
      </p:scale>
      <p:origin x="0" y="-36"/>
    </p:cViewPr>
  </p:sorterViewPr>
  <p:notesViewPr>
    <p:cSldViewPr snapToGrid="0">
      <p:cViewPr varScale="1">
        <p:scale>
          <a:sx n="50" d="100"/>
          <a:sy n="50" d="100"/>
        </p:scale>
        <p:origin x="2034"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D:\Threads\Wawanessa\Boo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birlasofto365-my.sharepoint.com/personal/ramyac_birlasoft_com/Documents/Desktop/Proposal/Proposal%20worked/Wawanesa/TS%20for%20LOB%20and%20Tran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birlasofto365-my.sharepoint.com/personal/ramyac_birlasoft_com/Documents/Desktop/Proposal/Proposal%20worked/Wawanesa/TS%20for%20LOB%20and%20Tran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61254155292487"/>
          <c:y val="9.4356450181242071E-2"/>
          <c:w val="0.42864633107297617"/>
          <c:h val="0.84965639839779472"/>
        </c:manualLayout>
      </c:layout>
      <c:radarChart>
        <c:radarStyle val="marker"/>
        <c:varyColors val="0"/>
        <c:ser>
          <c:idx val="1"/>
          <c:order val="0"/>
          <c:tx>
            <c:strRef>
              <c:f>Sheet1!$C$1</c:f>
              <c:strCache>
                <c:ptCount val="1"/>
                <c:pt idx="0">
                  <c:v>Target</c:v>
                </c:pt>
              </c:strCache>
            </c:strRef>
          </c:tx>
          <c:spPr>
            <a:ln w="28575" cap="rnd">
              <a:solidFill>
                <a:srgbClr val="C00000"/>
              </a:solidFill>
              <a:round/>
            </a:ln>
            <a:effectLst/>
          </c:spPr>
          <c:marker>
            <c:symbol val="none"/>
          </c:marker>
          <c:cat>
            <c:strRef>
              <c:f>Sheet1!$A$2:$A$21</c:f>
              <c:strCache>
                <c:ptCount val="20"/>
                <c:pt idx="0">
                  <c:v>1.GW Testing Process</c:v>
                </c:pt>
                <c:pt idx="1">
                  <c:v>2.GW Test Automation </c:v>
                </c:pt>
                <c:pt idx="2">
                  <c:v>3.Test Tooling</c:v>
                </c:pt>
                <c:pt idx="3">
                  <c:v>4.Non-Functional Testing</c:v>
                </c:pt>
                <c:pt idx="4">
                  <c:v>5.Feedback Loop Production</c:v>
                </c:pt>
                <c:pt idx="5">
                  <c:v>6.Test Coverage</c:v>
                </c:pt>
                <c:pt idx="6">
                  <c:v>7.Defect Management &amp; Retesting</c:v>
                </c:pt>
                <c:pt idx="7">
                  <c:v>8.Test Reporting &amp; Metrics</c:v>
                </c:pt>
                <c:pt idx="8">
                  <c:v>9. Requirements Analysis</c:v>
                </c:pt>
                <c:pt idx="9">
                  <c:v>10.Operations support from testing</c:v>
                </c:pt>
                <c:pt idx="10">
                  <c:v>11.Test Execution Management</c:v>
                </c:pt>
                <c:pt idx="11">
                  <c:v>12.Test &amp; Artifacts Management</c:v>
                </c:pt>
                <c:pt idx="12">
                  <c:v>13.Test Environment &amp; Versioning</c:v>
                </c:pt>
                <c:pt idx="13">
                  <c:v>14. DevTestOps</c:v>
                </c:pt>
                <c:pt idx="14">
                  <c:v>15.Knowledge management</c:v>
                </c:pt>
                <c:pt idx="15">
                  <c:v>16.People &amp; Skills</c:v>
                </c:pt>
                <c:pt idx="16">
                  <c:v>17.Test Design &amp; Optimization</c:v>
                </c:pt>
                <c:pt idx="17">
                  <c:v>18.Test Data Management</c:v>
                </c:pt>
                <c:pt idx="18">
                  <c:v>19.Change Impact Management</c:v>
                </c:pt>
                <c:pt idx="19">
                  <c:v>20.Test Governance</c:v>
                </c:pt>
              </c:strCache>
            </c:strRef>
          </c:cat>
          <c:val>
            <c:numRef>
              <c:f>Sheet1!$C$2:$C$21</c:f>
              <c:numCache>
                <c:formatCode>General</c:formatCode>
                <c:ptCount val="20"/>
                <c:pt idx="0">
                  <c:v>3</c:v>
                </c:pt>
                <c:pt idx="1">
                  <c:v>3</c:v>
                </c:pt>
                <c:pt idx="2">
                  <c:v>4</c:v>
                </c:pt>
                <c:pt idx="3">
                  <c:v>3</c:v>
                </c:pt>
                <c:pt idx="4">
                  <c:v>3</c:v>
                </c:pt>
                <c:pt idx="5">
                  <c:v>3.5</c:v>
                </c:pt>
                <c:pt idx="6">
                  <c:v>4</c:v>
                </c:pt>
                <c:pt idx="7">
                  <c:v>3.5</c:v>
                </c:pt>
                <c:pt idx="8">
                  <c:v>3.5</c:v>
                </c:pt>
                <c:pt idx="9">
                  <c:v>4</c:v>
                </c:pt>
                <c:pt idx="10">
                  <c:v>3.5</c:v>
                </c:pt>
                <c:pt idx="11">
                  <c:v>4</c:v>
                </c:pt>
                <c:pt idx="12">
                  <c:v>3.5</c:v>
                </c:pt>
                <c:pt idx="13">
                  <c:v>3</c:v>
                </c:pt>
                <c:pt idx="14">
                  <c:v>4</c:v>
                </c:pt>
                <c:pt idx="15">
                  <c:v>3.5</c:v>
                </c:pt>
                <c:pt idx="16">
                  <c:v>4</c:v>
                </c:pt>
                <c:pt idx="17">
                  <c:v>3.5</c:v>
                </c:pt>
                <c:pt idx="18">
                  <c:v>3.5</c:v>
                </c:pt>
                <c:pt idx="19">
                  <c:v>4</c:v>
                </c:pt>
              </c:numCache>
            </c:numRef>
          </c:val>
          <c:extLst>
            <c:ext xmlns:c16="http://schemas.microsoft.com/office/drawing/2014/chart" uri="{C3380CC4-5D6E-409C-BE32-E72D297353CC}">
              <c16:uniqueId val="{00000000-53A0-485B-8FEC-1BF2C6B5D0A3}"/>
            </c:ext>
          </c:extLst>
        </c:ser>
        <c:dLbls>
          <c:showLegendKey val="0"/>
          <c:showVal val="0"/>
          <c:showCatName val="0"/>
          <c:showSerName val="0"/>
          <c:showPercent val="0"/>
          <c:showBubbleSize val="0"/>
        </c:dLbls>
        <c:axId val="920942223"/>
        <c:axId val="920942703"/>
      </c:radarChart>
      <c:catAx>
        <c:axId val="920942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0942703"/>
        <c:crosses val="autoZero"/>
        <c:auto val="1"/>
        <c:lblAlgn val="ctr"/>
        <c:lblOffset val="100"/>
        <c:noMultiLvlLbl val="0"/>
      </c:catAx>
      <c:valAx>
        <c:axId val="920942703"/>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209422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TS for LOB and Trans.xlsx]Sheet13!PivotTable13</c:name>
    <c:fmtId val="3"/>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400" b="1" i="0" u="none" strike="noStrike" kern="1200" spc="0" baseline="0" dirty="0">
                <a:solidFill>
                  <a:prstClr val="black"/>
                </a:solidFill>
              </a:rPr>
              <a:t>Functionality wise # of Test Scripts</a:t>
            </a: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13!$B$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3!$A$4:$A$13</c:f>
              <c:strCache>
                <c:ptCount val="9"/>
                <c:pt idx="0">
                  <c:v>New Business</c:v>
                </c:pt>
                <c:pt idx="1">
                  <c:v>Endorsement </c:v>
                </c:pt>
                <c:pt idx="2">
                  <c:v>Renew</c:v>
                </c:pt>
                <c:pt idx="3">
                  <c:v>Cancellation</c:v>
                </c:pt>
                <c:pt idx="4">
                  <c:v>Reinstement</c:v>
                </c:pt>
                <c:pt idx="5">
                  <c:v>Rewrite</c:v>
                </c:pt>
                <c:pt idx="6">
                  <c:v>OOS Endorsement</c:v>
                </c:pt>
                <c:pt idx="7">
                  <c:v>Transfer policy</c:v>
                </c:pt>
                <c:pt idx="8">
                  <c:v>OOS Cancel</c:v>
                </c:pt>
              </c:strCache>
            </c:strRef>
          </c:cat>
          <c:val>
            <c:numRef>
              <c:f>Sheet13!$B$4:$B$13</c:f>
              <c:numCache>
                <c:formatCode>General</c:formatCode>
                <c:ptCount val="9"/>
                <c:pt idx="0">
                  <c:v>560</c:v>
                </c:pt>
                <c:pt idx="1">
                  <c:v>330</c:v>
                </c:pt>
                <c:pt idx="2">
                  <c:v>270</c:v>
                </c:pt>
                <c:pt idx="3">
                  <c:v>268</c:v>
                </c:pt>
                <c:pt idx="4">
                  <c:v>245</c:v>
                </c:pt>
                <c:pt idx="5">
                  <c:v>225</c:v>
                </c:pt>
                <c:pt idx="6">
                  <c:v>112</c:v>
                </c:pt>
                <c:pt idx="7">
                  <c:v>110</c:v>
                </c:pt>
                <c:pt idx="8">
                  <c:v>110</c:v>
                </c:pt>
              </c:numCache>
            </c:numRef>
          </c:val>
          <c:extLst>
            <c:ext xmlns:c16="http://schemas.microsoft.com/office/drawing/2014/chart" uri="{C3380CC4-5D6E-409C-BE32-E72D297353CC}">
              <c16:uniqueId val="{00000000-7699-4720-9A26-9FFC0DEBE598}"/>
            </c:ext>
          </c:extLst>
        </c:ser>
        <c:dLbls>
          <c:showLegendKey val="0"/>
          <c:showVal val="0"/>
          <c:showCatName val="0"/>
          <c:showSerName val="0"/>
          <c:showPercent val="0"/>
          <c:showBubbleSize val="0"/>
        </c:dLbls>
        <c:gapWidth val="219"/>
        <c:overlap val="-27"/>
        <c:axId val="2068040352"/>
        <c:axId val="2068035552"/>
      </c:barChart>
      <c:catAx>
        <c:axId val="2068040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68035552"/>
        <c:crosses val="autoZero"/>
        <c:auto val="1"/>
        <c:lblAlgn val="ctr"/>
        <c:lblOffset val="100"/>
        <c:noMultiLvlLbl val="0"/>
      </c:catAx>
      <c:valAx>
        <c:axId val="2068035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68040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TS for LOB and Trans.xlsx]Sheet1!PivotTable1</c:name>
    <c:fmtId val="3"/>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400" b="1" i="0" u="none" strike="noStrike" kern="1200" spc="0" baseline="0" dirty="0">
                <a:solidFill>
                  <a:prstClr val="black"/>
                </a:solidFill>
              </a:rPr>
              <a:t>LOB Wise # of Test Scripts</a:t>
            </a: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1!$B$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6</c:f>
              <c:strCache>
                <c:ptCount val="12"/>
                <c:pt idx="0">
                  <c:v>Commercial Property </c:v>
                </c:pt>
                <c:pt idx="1">
                  <c:v>Commercial Auto</c:v>
                </c:pt>
                <c:pt idx="2">
                  <c:v>Commercial Crime </c:v>
                </c:pt>
                <c:pt idx="3">
                  <c:v>Commercial Package Policy</c:v>
                </c:pt>
                <c:pt idx="4">
                  <c:v>Workers Compensation</c:v>
                </c:pt>
                <c:pt idx="5">
                  <c:v>Personal Umbrella</c:v>
                </c:pt>
                <c:pt idx="6">
                  <c:v>General Liability</c:v>
                </c:pt>
                <c:pt idx="7">
                  <c:v>Commercial Umbrella</c:v>
                </c:pt>
                <c:pt idx="8">
                  <c:v>Dwelling Fire</c:v>
                </c:pt>
                <c:pt idx="9">
                  <c:v>Ocean Marine </c:v>
                </c:pt>
                <c:pt idx="10">
                  <c:v>Inland Marine </c:v>
                </c:pt>
                <c:pt idx="11">
                  <c:v>Equipment Breakdown</c:v>
                </c:pt>
              </c:strCache>
            </c:strRef>
          </c:cat>
          <c:val>
            <c:numRef>
              <c:f>Sheet1!$B$4:$B$16</c:f>
              <c:numCache>
                <c:formatCode>General</c:formatCode>
                <c:ptCount val="12"/>
                <c:pt idx="0">
                  <c:v>310</c:v>
                </c:pt>
                <c:pt idx="1">
                  <c:v>304</c:v>
                </c:pt>
                <c:pt idx="2">
                  <c:v>236</c:v>
                </c:pt>
                <c:pt idx="3">
                  <c:v>220</c:v>
                </c:pt>
                <c:pt idx="4">
                  <c:v>220</c:v>
                </c:pt>
                <c:pt idx="5">
                  <c:v>175</c:v>
                </c:pt>
                <c:pt idx="6">
                  <c:v>150</c:v>
                </c:pt>
                <c:pt idx="7">
                  <c:v>150</c:v>
                </c:pt>
                <c:pt idx="8">
                  <c:v>125</c:v>
                </c:pt>
                <c:pt idx="9">
                  <c:v>120</c:v>
                </c:pt>
                <c:pt idx="10">
                  <c:v>120</c:v>
                </c:pt>
                <c:pt idx="11">
                  <c:v>100</c:v>
                </c:pt>
              </c:numCache>
            </c:numRef>
          </c:val>
          <c:extLst>
            <c:ext xmlns:c16="http://schemas.microsoft.com/office/drawing/2014/chart" uri="{C3380CC4-5D6E-409C-BE32-E72D297353CC}">
              <c16:uniqueId val="{00000000-A231-4CE1-9F4F-2608B0EF990D}"/>
            </c:ext>
          </c:extLst>
        </c:ser>
        <c:dLbls>
          <c:showLegendKey val="0"/>
          <c:showVal val="0"/>
          <c:showCatName val="0"/>
          <c:showSerName val="0"/>
          <c:showPercent val="0"/>
          <c:showBubbleSize val="0"/>
        </c:dLbls>
        <c:gapWidth val="219"/>
        <c:overlap val="-27"/>
        <c:axId val="2070261951"/>
        <c:axId val="2070262431"/>
      </c:barChart>
      <c:catAx>
        <c:axId val="2070261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70262431"/>
        <c:crosses val="autoZero"/>
        <c:auto val="1"/>
        <c:lblAlgn val="ctr"/>
        <c:lblOffset val="100"/>
        <c:noMultiLvlLbl val="0"/>
      </c:catAx>
      <c:valAx>
        <c:axId val="2070262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70261951"/>
        <c:crosses val="autoZero"/>
        <c:crossBetween val="between"/>
        <c:majorUnit val="1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35D3C31-2766-EB75-498E-FF0184BC67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1611F027-173F-F0CD-2E92-16623C7E97F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719A24E-AA4B-41A9-8F22-3C8344B38B48}" type="datetimeFigureOut">
              <a:rPr lang="en-US" smtClean="0"/>
              <a:t>5/25/2026</a:t>
            </a:fld>
            <a:endParaRPr lang="en-US" dirty="0"/>
          </a:p>
        </p:txBody>
      </p:sp>
      <p:sp>
        <p:nvSpPr>
          <p:cNvPr id="4" name="Footer Placeholder 3">
            <a:extLst>
              <a:ext uri="{FF2B5EF4-FFF2-40B4-BE49-F238E27FC236}">
                <a16:creationId xmlns:a16="http://schemas.microsoft.com/office/drawing/2014/main" id="{9191A23A-9A60-6195-448B-A7623FF5694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2092724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EF5D16-1ACE-43D8-891E-83AEEBA2B526}" type="datetimeFigureOut">
              <a:rPr lang="en-US" smtClean="0"/>
              <a:t>5/2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76A5E3-BCB7-41F3-A035-180F7AA064ED}" type="slidenum">
              <a:rPr lang="en-US" smtClean="0"/>
              <a:t>‹#›</a:t>
            </a:fld>
            <a:endParaRPr lang="en-US" dirty="0"/>
          </a:p>
        </p:txBody>
      </p:sp>
    </p:spTree>
    <p:extLst>
      <p:ext uri="{BB962C8B-B14F-4D97-AF65-F5344CB8AC3E}">
        <p14:creationId xmlns:p14="http://schemas.microsoft.com/office/powerpoint/2010/main" val="1516281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C9B71-2435-483E-8291-CFA391822B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42CCBC-28F5-5981-F315-EAB5D6EAA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FA5542-713E-956F-D92A-F7A249D49FD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0EEDA3-A73C-C3A6-D7BD-A35DFB2A4F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A3393-6563-4221-B111-82B77AC29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160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271A4-6D06-28BB-DB0D-25FC83F47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CF6421-87B9-0BD0-05AC-F21CEADD20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67E865-2F20-673D-D1D3-6E81936834E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67CD35F-5EF9-608A-6012-40048698F4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A3393-6563-4221-B111-82B77AC29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205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60258-5395-A372-15A1-1260049E00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90448-FCEA-D3B3-8696-DFFBFDD9D15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1845375-60B7-F047-0F52-80B0D8F24B50}"/>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CF3F6239-7BBD-D6D8-EADF-220A2ABD78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19D3ED-24E3-401C-BB50-9ADA5AB786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872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C0B7F-88A0-A4F8-2CA7-EC79A56B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02D713-AE2C-A7F2-04CF-521CCEB1334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E842464-5CBB-7ABB-A83D-B7EE2726C5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5EC04D9-3CF0-EA5D-0723-B45F8BA908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DCEF7B-6318-432D-B5C1-982B1E269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980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EEB09-0561-A586-AD3F-2A70B4184F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786763-70FE-36BE-26B5-05203678ACD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D7C0361-FD00-02EE-9F1D-443BD4CBE6EA}"/>
              </a:ext>
            </a:extLst>
          </p:cNvPr>
          <p:cNvSpPr>
            <a:spLocks noGrp="1"/>
          </p:cNvSpPr>
          <p:nvPr>
            <p:ph type="body" idx="1"/>
          </p:nvPr>
        </p:nvSpPr>
        <p:spPr/>
        <p:txBody>
          <a:bodyPr/>
          <a:lstStyle/>
          <a:p>
            <a:endParaRPr lang="en-IN" b="1" dirty="0"/>
          </a:p>
        </p:txBody>
      </p:sp>
      <p:sp>
        <p:nvSpPr>
          <p:cNvPr id="4" name="Slide Number Placeholder 3">
            <a:extLst>
              <a:ext uri="{FF2B5EF4-FFF2-40B4-BE49-F238E27FC236}">
                <a16:creationId xmlns:a16="http://schemas.microsoft.com/office/drawing/2014/main" id="{6C70D083-63F3-573B-32BA-945012E17822}"/>
              </a:ext>
            </a:extLst>
          </p:cNvPr>
          <p:cNvSpPr>
            <a:spLocks noGrp="1"/>
          </p:cNvSpPr>
          <p:nvPr>
            <p:ph type="sldNum" sz="quarter" idx="5"/>
          </p:nvPr>
        </p:nvSpPr>
        <p:spPr/>
        <p:txBody>
          <a:bodyPr/>
          <a:lstStyle/>
          <a:p>
            <a:fld id="{6652B60A-6325-4349-9589-3FF6543C5CAF}" type="slidenum">
              <a:rPr lang="en-IN" smtClean="0"/>
              <a:t>3</a:t>
            </a:fld>
            <a:endParaRPr lang="en-IN"/>
          </a:p>
        </p:txBody>
      </p:sp>
    </p:spTree>
    <p:extLst>
      <p:ext uri="{BB962C8B-B14F-4D97-AF65-F5344CB8AC3E}">
        <p14:creationId xmlns:p14="http://schemas.microsoft.com/office/powerpoint/2010/main" val="3086377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76A5E3-BCB7-41F3-A035-180F7AA064ED}" type="slidenum">
              <a:rPr lang="en-US" smtClean="0"/>
              <a:t>4</a:t>
            </a:fld>
            <a:endParaRPr lang="en-US" dirty="0"/>
          </a:p>
        </p:txBody>
      </p:sp>
    </p:spTree>
    <p:extLst>
      <p:ext uri="{BB962C8B-B14F-4D97-AF65-F5344CB8AC3E}">
        <p14:creationId xmlns:p14="http://schemas.microsoft.com/office/powerpoint/2010/main" val="3381729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76A5E3-BCB7-41F3-A035-180F7AA064ED}" type="slidenum">
              <a:rPr lang="en-US" smtClean="0"/>
              <a:t>5</a:t>
            </a:fld>
            <a:endParaRPr lang="en-US" dirty="0"/>
          </a:p>
        </p:txBody>
      </p:sp>
    </p:spTree>
    <p:extLst>
      <p:ext uri="{BB962C8B-B14F-4D97-AF65-F5344CB8AC3E}">
        <p14:creationId xmlns:p14="http://schemas.microsoft.com/office/powerpoint/2010/main" val="20582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DE924-88D9-DD38-1D9F-F9AD7C4D3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083F95-D6D7-30A7-EA54-7D2D3DB43E9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030430B-2BD2-998D-7741-CBDDCEC0A4B2}"/>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33951185-1115-6FB2-04DD-F49BC00A97F9}"/>
              </a:ext>
            </a:extLst>
          </p:cNvPr>
          <p:cNvSpPr>
            <a:spLocks noGrp="1"/>
          </p:cNvSpPr>
          <p:nvPr>
            <p:ph type="sldNum" sz="quarter" idx="5"/>
          </p:nvPr>
        </p:nvSpPr>
        <p:spPr/>
        <p:txBody>
          <a:bodyPr/>
          <a:lstStyle/>
          <a:p>
            <a:fld id="{E476A5E3-BCB7-41F3-A035-180F7AA064ED}" type="slidenum">
              <a:rPr lang="en-US" smtClean="0"/>
              <a:t>6</a:t>
            </a:fld>
            <a:endParaRPr lang="en-US" dirty="0"/>
          </a:p>
        </p:txBody>
      </p:sp>
    </p:spTree>
    <p:extLst>
      <p:ext uri="{BB962C8B-B14F-4D97-AF65-F5344CB8AC3E}">
        <p14:creationId xmlns:p14="http://schemas.microsoft.com/office/powerpoint/2010/main" val="2153779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DC812-86B3-4830-4129-0F725EA66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FAF88-6C47-9A49-8573-9DDCFE37CF5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2D8ACF7-CC63-0D6D-116F-1DD84413B6E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8BB5E43-8BB5-7375-17A6-7E4DC75BFDA6}"/>
              </a:ext>
            </a:extLst>
          </p:cNvPr>
          <p:cNvSpPr>
            <a:spLocks noGrp="1"/>
          </p:cNvSpPr>
          <p:nvPr>
            <p:ph type="sldNum" sz="quarter" idx="5"/>
          </p:nvPr>
        </p:nvSpPr>
        <p:spPr/>
        <p:txBody>
          <a:bodyPr/>
          <a:lstStyle/>
          <a:p>
            <a:fld id="{E476A5E3-BCB7-41F3-A035-180F7AA064ED}" type="slidenum">
              <a:rPr lang="en-US" smtClean="0"/>
              <a:t>7</a:t>
            </a:fld>
            <a:endParaRPr lang="en-US" dirty="0"/>
          </a:p>
        </p:txBody>
      </p:sp>
    </p:spTree>
    <p:extLst>
      <p:ext uri="{BB962C8B-B14F-4D97-AF65-F5344CB8AC3E}">
        <p14:creationId xmlns:p14="http://schemas.microsoft.com/office/powerpoint/2010/main" val="4254617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D6F17-6883-B224-866F-A2995BD21F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0EDDD5-A1CD-7282-5321-370A22EC039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72EAE18-FA7F-F178-69F1-0403FA6346B1}"/>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5B793187-B725-BC1B-C57F-FFA916D1C3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19D3ED-24E3-401C-BB50-9ADA5AB786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711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76A5E3-BCB7-41F3-A035-180F7AA064ED}" type="slidenum">
              <a:rPr lang="en-US" smtClean="0"/>
              <a:t>9</a:t>
            </a:fld>
            <a:endParaRPr lang="en-US" dirty="0"/>
          </a:p>
        </p:txBody>
      </p:sp>
    </p:spTree>
    <p:extLst>
      <p:ext uri="{BB962C8B-B14F-4D97-AF65-F5344CB8AC3E}">
        <p14:creationId xmlns:p14="http://schemas.microsoft.com/office/powerpoint/2010/main" val="13243635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jpeg"/><Relationship Id="rId7" Type="http://schemas.microsoft.com/office/2007/relationships/hdphoto" Target="../media/hdphoto1.wdp"/><Relationship Id="rId2"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11.png"/><Relationship Id="rId5" Type="http://schemas.microsoft.com/office/2007/relationships/hdphoto" Target="../media/hdphoto2.wdp"/><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hyperlink" Target="https://www.youtube.com/user/BirlasoftGlobal" TargetMode="External"/><Relationship Id="rId3" Type="http://schemas.openxmlformats.org/officeDocument/2006/relationships/image" Target="../media/image4.svg"/><Relationship Id="rId7" Type="http://schemas.openxmlformats.org/officeDocument/2006/relationships/hyperlink" Target="https://www.glassdoor.co.in/Overview/Working-at-Birlasoft-EI_IE30748.11,20.htm" TargetMode="External"/><Relationship Id="rId12" Type="http://schemas.openxmlformats.org/officeDocument/2006/relationships/image" Target="../media/image19.svg"/><Relationship Id="rId2" Type="http://schemas.openxmlformats.org/officeDocument/2006/relationships/image" Target="../media/image12.jpeg"/><Relationship Id="rId16" Type="http://schemas.microsoft.com/office/2007/relationships/hdphoto" Target="../media/hdphoto2.wdp"/><Relationship Id="rId1" Type="http://schemas.openxmlformats.org/officeDocument/2006/relationships/slideMaster" Target="../slideMasters/slideMaster3.xml"/><Relationship Id="rId6" Type="http://schemas.openxmlformats.org/officeDocument/2006/relationships/hyperlink" Target="https://www.birlasoft.com/" TargetMode="External"/><Relationship Id="rId11" Type="http://schemas.openxmlformats.org/officeDocument/2006/relationships/hyperlink" Target="https://www.twitter.com/birlasoft" TargetMode="External"/><Relationship Id="rId5" Type="http://schemas.openxmlformats.org/officeDocument/2006/relationships/image" Target="../media/image7.svg"/><Relationship Id="rId15" Type="http://schemas.openxmlformats.org/officeDocument/2006/relationships/image" Target="../media/image13.png"/><Relationship Id="rId10" Type="http://schemas.openxmlformats.org/officeDocument/2006/relationships/image" Target="../media/image8.svg"/><Relationship Id="rId4" Type="http://schemas.openxmlformats.org/officeDocument/2006/relationships/hyperlink" Target="https://www.linkedin.com/company/birlasoft" TargetMode="External"/><Relationship Id="rId9" Type="http://schemas.openxmlformats.org/officeDocument/2006/relationships/hyperlink" Target="https://www.facebook.com/Birlasoft" TargetMode="External"/><Relationship Id="rId1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6.svg"/><Relationship Id="rId7" Type="http://schemas.openxmlformats.org/officeDocument/2006/relationships/hyperlink" Target="https://www.facebook.com/Birlasoft" TargetMode="External"/><Relationship Id="rId12" Type="http://schemas.openxmlformats.org/officeDocument/2006/relationships/image" Target="../media/image10.sv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hyperlink" Target="https://www.birlasoft.com/" TargetMode="External"/><Relationship Id="rId11" Type="http://schemas.openxmlformats.org/officeDocument/2006/relationships/image" Target="../media/image4.svg"/><Relationship Id="rId5" Type="http://schemas.openxmlformats.org/officeDocument/2006/relationships/image" Target="../media/image7.svg"/><Relationship Id="rId10" Type="http://schemas.openxmlformats.org/officeDocument/2006/relationships/image" Target="../media/image9.svg"/><Relationship Id="rId4" Type="http://schemas.openxmlformats.org/officeDocument/2006/relationships/hyperlink" Target="https://www.linkedin.com/company/birlasoft" TargetMode="External"/><Relationship Id="rId9" Type="http://schemas.openxmlformats.org/officeDocument/2006/relationships/hyperlink" Target="https://www.youtube.com/user/BirlasoftGlobal" TargetMode="Externa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6.svg"/><Relationship Id="rId7" Type="http://schemas.openxmlformats.org/officeDocument/2006/relationships/hyperlink" Target="https://www.facebook.com/Birlasoft" TargetMode="External"/><Relationship Id="rId12" Type="http://schemas.openxmlformats.org/officeDocument/2006/relationships/image" Target="../media/image10.sv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hyperlink" Target="https://www.birlasoft.com/" TargetMode="External"/><Relationship Id="rId11" Type="http://schemas.openxmlformats.org/officeDocument/2006/relationships/image" Target="../media/image4.svg"/><Relationship Id="rId5" Type="http://schemas.openxmlformats.org/officeDocument/2006/relationships/image" Target="../media/image7.svg"/><Relationship Id="rId10" Type="http://schemas.openxmlformats.org/officeDocument/2006/relationships/image" Target="../media/image9.svg"/><Relationship Id="rId4" Type="http://schemas.openxmlformats.org/officeDocument/2006/relationships/hyperlink" Target="https://www.linkedin.com/company/birlasoft" TargetMode="External"/><Relationship Id="rId9" Type="http://schemas.openxmlformats.org/officeDocument/2006/relationships/hyperlink" Target="https://www.youtube.com/user/BirlasoftGlobal"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3.svg"/><Relationship Id="rId7" Type="http://schemas.microsoft.com/office/2007/relationships/hdphoto" Target="../media/hdphoto3.wdp"/><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14.png"/><Relationship Id="rId5" Type="http://schemas.microsoft.com/office/2007/relationships/hdphoto" Target="../media/hdphoto2.wdp"/><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7" Type="http://schemas.microsoft.com/office/2007/relationships/hdphoto" Target="../media/hdphoto1.wdp"/><Relationship Id="rId2"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11.png"/><Relationship Id="rId5" Type="http://schemas.microsoft.com/office/2007/relationships/hdphoto" Target="../media/hdphoto2.wdp"/><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6.svg"/><Relationship Id="rId7" Type="http://schemas.openxmlformats.org/officeDocument/2006/relationships/hyperlink" Target="https://www.facebook.com/Birlasoft" TargetMode="External"/><Relationship Id="rId12" Type="http://schemas.openxmlformats.org/officeDocument/2006/relationships/image" Target="../media/image10.sv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hyperlink" Target="https://www.birlasoft.com/" TargetMode="External"/><Relationship Id="rId11" Type="http://schemas.openxmlformats.org/officeDocument/2006/relationships/image" Target="../media/image4.svg"/><Relationship Id="rId5" Type="http://schemas.openxmlformats.org/officeDocument/2006/relationships/image" Target="../media/image7.svg"/><Relationship Id="rId10" Type="http://schemas.openxmlformats.org/officeDocument/2006/relationships/image" Target="../media/image9.svg"/><Relationship Id="rId4" Type="http://schemas.openxmlformats.org/officeDocument/2006/relationships/hyperlink" Target="https://www.linkedin.com/company/birlasoft" TargetMode="External"/><Relationship Id="rId9" Type="http://schemas.openxmlformats.org/officeDocument/2006/relationships/hyperlink" Target="https://www.youtube.com/user/BirlasoftGlobal"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22.emf"/><Relationship Id="rId4" Type="http://schemas.openxmlformats.org/officeDocument/2006/relationships/tags" Target="../tags/tag11.xml"/><Relationship Id="rId9"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7" Type="http://schemas.microsoft.com/office/2007/relationships/hdphoto" Target="../media/hdphoto3.wdp"/><Relationship Id="rId2" Type="http://schemas.openxmlformats.org/officeDocument/2006/relationships/image" Target="../media/image12.jpeg"/><Relationship Id="rId1" Type="http://schemas.openxmlformats.org/officeDocument/2006/relationships/slideMaster" Target="../slideMasters/slideMaster3.xml"/><Relationship Id="rId6" Type="http://schemas.openxmlformats.org/officeDocument/2006/relationships/image" Target="../media/image14.png"/><Relationship Id="rId5" Type="http://schemas.microsoft.com/office/2007/relationships/hdphoto" Target="../media/hdphoto2.wdp"/><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Slide-Standard Background">
    <p:spTree>
      <p:nvGrpSpPr>
        <p:cNvPr id="1" name=""/>
        <p:cNvGrpSpPr/>
        <p:nvPr/>
      </p:nvGrpSpPr>
      <p:grpSpPr>
        <a:xfrm>
          <a:off x="0" y="0"/>
          <a:ext cx="0" cy="0"/>
          <a:chOff x="0" y="0"/>
          <a:chExt cx="0" cy="0"/>
        </a:xfrm>
      </p:grpSpPr>
      <p:pic>
        <p:nvPicPr>
          <p:cNvPr id="2" name="Picture 1" descr="A close-up of a colorful light&#10;&#10;Description automatically generated">
            <a:extLst>
              <a:ext uri="{FF2B5EF4-FFF2-40B4-BE49-F238E27FC236}">
                <a16:creationId xmlns:a16="http://schemas.microsoft.com/office/drawing/2014/main" id="{601045E3-C410-1D90-B52D-DD51BA0FD55A}"/>
              </a:ext>
            </a:extLst>
          </p:cNvPr>
          <p:cNvPicPr>
            <a:picLocks noChangeAspect="1"/>
          </p:cNvPicPr>
          <p:nvPr userDrawn="1"/>
        </p:nvPicPr>
        <p:blipFill rotWithShape="1">
          <a:blip r:embed="rId2" cstate="email">
            <a:lum bright="70000" contrast="-70000"/>
            <a:alphaModFix amt="70000"/>
            <a:extLst>
              <a:ext uri="{28A0092B-C50C-407E-A947-70E740481C1C}">
                <a14:useLocalDpi xmlns:a14="http://schemas.microsoft.com/office/drawing/2010/main"/>
              </a:ext>
            </a:extLst>
          </a:blip>
          <a:srcRect l="21209" t="1780" r="4367" b="24575"/>
          <a:stretch/>
        </p:blipFill>
        <p:spPr>
          <a:xfrm>
            <a:off x="0" y="1"/>
            <a:ext cx="12192000" cy="6369280"/>
          </a:xfrm>
          <a:prstGeom prst="rect">
            <a:avLst/>
          </a:prstGeom>
        </p:spPr>
      </p:pic>
    </p:spTree>
    <p:extLst>
      <p:ext uri="{BB962C8B-B14F-4D97-AF65-F5344CB8AC3E}">
        <p14:creationId xmlns:p14="http://schemas.microsoft.com/office/powerpoint/2010/main" val="1047054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lain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85264-246E-79C9-9F96-6AB32AC8E1BB}"/>
              </a:ext>
            </a:extLst>
          </p:cNvPr>
          <p:cNvSpPr>
            <a:spLocks noGrp="1"/>
          </p:cNvSpPr>
          <p:nvPr>
            <p:ph type="title" hasCustomPrompt="1"/>
          </p:nvPr>
        </p:nvSpPr>
        <p:spPr>
          <a:xfrm>
            <a:off x="227067" y="210454"/>
            <a:ext cx="11738510" cy="34574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0" name="Text Placeholder 7">
            <a:extLst>
              <a:ext uri="{FF2B5EF4-FFF2-40B4-BE49-F238E27FC236}">
                <a16:creationId xmlns:a16="http://schemas.microsoft.com/office/drawing/2014/main" id="{EF6FBE1B-15C2-0260-5C03-7A8B67378C8E}"/>
              </a:ext>
            </a:extLst>
          </p:cNvPr>
          <p:cNvSpPr>
            <a:spLocks noGrp="1"/>
          </p:cNvSpPr>
          <p:nvPr>
            <p:ph type="body" sz="quarter" idx="14" hasCustomPrompt="1"/>
          </p:nvPr>
        </p:nvSpPr>
        <p:spPr>
          <a:xfrm>
            <a:off x="226423" y="508291"/>
            <a:ext cx="11738510" cy="278847"/>
          </a:xfrm>
          <a:prstGeom prst="rect">
            <a:avLst/>
          </a:prstGeom>
        </p:spPr>
        <p:txBody>
          <a:bodyPr anchor="t" anchorCtr="0">
            <a:noAutofit/>
          </a:bodyPr>
          <a:lstStyle>
            <a:lvl1pPr marL="0" indent="0">
              <a:buNone/>
              <a:defRPr sz="1800" b="0">
                <a:solidFill>
                  <a:schemeClr val="tx1">
                    <a:lumMod val="50000"/>
                    <a:lumOff val="50000"/>
                  </a:schemeClr>
                </a:solidFill>
                <a:latin typeface="+mj-lt"/>
              </a:defRPr>
            </a:lvl1pPr>
          </a:lstStyle>
          <a:p>
            <a:pPr lvl="0"/>
            <a:r>
              <a:rPr lang="en-IN"/>
              <a:t>Subtitle</a:t>
            </a:r>
          </a:p>
        </p:txBody>
      </p:sp>
      <p:sp>
        <p:nvSpPr>
          <p:cNvPr id="4" name="Rectangle 3">
            <a:extLst>
              <a:ext uri="{FF2B5EF4-FFF2-40B4-BE49-F238E27FC236}">
                <a16:creationId xmlns:a16="http://schemas.microsoft.com/office/drawing/2014/main" id="{15867A8D-F8A5-1C93-5D2D-9E8F56628DE1}"/>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02DA7CC0-EFF5-9FB2-5E3F-E8E9994B095E}"/>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11" name="Date Placeholder 4">
            <a:extLst>
              <a:ext uri="{FF2B5EF4-FFF2-40B4-BE49-F238E27FC236}">
                <a16:creationId xmlns:a16="http://schemas.microsoft.com/office/drawing/2014/main" id="{DE4CF521-B575-E9C6-9543-1413E433129F}"/>
              </a:ext>
            </a:extLst>
          </p:cNvPr>
          <p:cNvSpPr txBox="1">
            <a:spLocks/>
          </p:cNvSpPr>
          <p:nvPr/>
        </p:nvSpPr>
        <p:spPr>
          <a:xfrm>
            <a:off x="964395" y="6469640"/>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22271160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guide id="7" orient="horz" pos="38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Plain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9F622-B598-95F7-D6BA-FC957F2BAD9D}"/>
              </a:ext>
            </a:extLst>
          </p:cNvPr>
          <p:cNvSpPr>
            <a:spLocks noGrp="1"/>
          </p:cNvSpPr>
          <p:nvPr>
            <p:ph type="title" hasCustomPrompt="1"/>
          </p:nvPr>
        </p:nvSpPr>
        <p:spPr>
          <a:xfrm>
            <a:off x="227067" y="210454"/>
            <a:ext cx="11738510" cy="73152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0" name="Text Placeholder 7">
            <a:extLst>
              <a:ext uri="{FF2B5EF4-FFF2-40B4-BE49-F238E27FC236}">
                <a16:creationId xmlns:a16="http://schemas.microsoft.com/office/drawing/2014/main" id="{EF6FBE1B-15C2-0260-5C03-7A8B67378C8E}"/>
              </a:ext>
            </a:extLst>
          </p:cNvPr>
          <p:cNvSpPr>
            <a:spLocks noGrp="1"/>
          </p:cNvSpPr>
          <p:nvPr>
            <p:ph type="body" sz="quarter" idx="14" hasCustomPrompt="1"/>
          </p:nvPr>
        </p:nvSpPr>
        <p:spPr>
          <a:xfrm>
            <a:off x="226423" y="901162"/>
            <a:ext cx="11738510" cy="278847"/>
          </a:xfrm>
          <a:prstGeom prst="rect">
            <a:avLst/>
          </a:prstGeom>
        </p:spPr>
        <p:txBody>
          <a:bodyPr anchor="t" anchorCtr="0">
            <a:noAutofit/>
          </a:bodyPr>
          <a:lstStyle>
            <a:lvl1pPr marL="0" indent="0">
              <a:buNone/>
              <a:defRPr sz="1800" b="0">
                <a:solidFill>
                  <a:schemeClr val="tx1">
                    <a:lumMod val="50000"/>
                    <a:lumOff val="50000"/>
                  </a:schemeClr>
                </a:solidFill>
                <a:latin typeface="+mj-lt"/>
              </a:defRPr>
            </a:lvl1pPr>
          </a:lstStyle>
          <a:p>
            <a:pPr lvl="0"/>
            <a:r>
              <a:rPr lang="en-IN"/>
              <a:t>Subtitle</a:t>
            </a:r>
          </a:p>
        </p:txBody>
      </p:sp>
    </p:spTree>
    <p:extLst>
      <p:ext uri="{BB962C8B-B14F-4D97-AF65-F5344CB8AC3E}">
        <p14:creationId xmlns:p14="http://schemas.microsoft.com/office/powerpoint/2010/main" val="1452786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guide id="7" orient="horz" pos="383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lain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2" name="Title 1">
            <a:extLst>
              <a:ext uri="{FF2B5EF4-FFF2-40B4-BE49-F238E27FC236}">
                <a16:creationId xmlns:a16="http://schemas.microsoft.com/office/drawing/2014/main" id="{25F0C5E9-375F-389B-56B9-020D9DC3B09A}"/>
              </a:ext>
            </a:extLst>
          </p:cNvPr>
          <p:cNvSpPr>
            <a:spLocks noGrp="1"/>
          </p:cNvSpPr>
          <p:nvPr>
            <p:ph type="title" hasCustomPrompt="1"/>
          </p:nvPr>
        </p:nvSpPr>
        <p:spPr>
          <a:xfrm>
            <a:off x="227067" y="235854"/>
            <a:ext cx="11738510" cy="64800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sp>
        <p:nvSpPr>
          <p:cNvPr id="11" name="Date Placeholder 4">
            <a:extLst>
              <a:ext uri="{FF2B5EF4-FFF2-40B4-BE49-F238E27FC236}">
                <a16:creationId xmlns:a16="http://schemas.microsoft.com/office/drawing/2014/main" id="{9D1CE560-6040-93E9-9EE7-086515BBF30A}"/>
              </a:ext>
            </a:extLst>
          </p:cNvPr>
          <p:cNvSpPr txBox="1">
            <a:spLocks/>
          </p:cNvSpPr>
          <p:nvPr/>
        </p:nvSpPr>
        <p:spPr>
          <a:xfrm>
            <a:off x="964395" y="6469640"/>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3491741602"/>
      </p:ext>
    </p:extLst>
  </p:cSld>
  <p:clrMapOvr>
    <a:masterClrMapping/>
  </p:clrMapOvr>
  <p:extLst>
    <p:ext uri="{DCECCB84-F9BA-43D5-87BE-67443E8EF086}">
      <p15:sldGuideLst xmlns:p15="http://schemas.microsoft.com/office/powerpoint/2012/main">
        <p15:guide id="1" orient="horz" pos="3861">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Plain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5EA1B325-B287-FF63-9A0D-B25039FF7115}"/>
              </a:ext>
            </a:extLst>
          </p:cNvPr>
          <p:cNvSpPr txBox="1">
            <a:spLocks/>
          </p:cNvSpPr>
          <p:nvPr/>
        </p:nvSpPr>
        <p:spPr>
          <a:xfrm>
            <a:off x="964395" y="6469640"/>
            <a:ext cx="695326" cy="232668"/>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BEF598-DD41-4849-8A14-1B5F91BEB9F1}" type="datetime1">
              <a:rPr lang="en-US" smtClean="0"/>
              <a:pPr/>
              <a:t>5/25/2026</a:t>
            </a:fld>
            <a:endParaRPr lang="en-US"/>
          </a:p>
        </p:txBody>
      </p: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a:solidFill>
                  <a:schemeClr val="tx1">
                    <a:lumMod val="85000"/>
                    <a:lumOff val="15000"/>
                  </a:schemeClr>
                </a:solidFill>
                <a:latin typeface="+mj-lt"/>
                <a:ea typeface="Open Sans" panose="020B0606030504020204" pitchFamily="34" charset="0"/>
                <a:cs typeface="Open Sans" panose="020B0606030504020204" pitchFamily="34" charset="0"/>
              </a:rPr>
              <a:t>© 2024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2" name="Title 1">
            <a:extLst>
              <a:ext uri="{FF2B5EF4-FFF2-40B4-BE49-F238E27FC236}">
                <a16:creationId xmlns:a16="http://schemas.microsoft.com/office/drawing/2014/main" id="{25F0C5E9-375F-389B-56B9-020D9DC3B09A}"/>
              </a:ext>
            </a:extLst>
          </p:cNvPr>
          <p:cNvSpPr>
            <a:spLocks noGrp="1"/>
          </p:cNvSpPr>
          <p:nvPr>
            <p:ph type="title" hasCustomPrompt="1"/>
          </p:nvPr>
        </p:nvSpPr>
        <p:spPr>
          <a:xfrm>
            <a:off x="227067" y="146954"/>
            <a:ext cx="11738510" cy="64800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600" b="1" kern="1200" dirty="0">
                <a:solidFill>
                  <a:schemeClr val="tx1">
                    <a:lumMod val="50000"/>
                  </a:schemeClr>
                </a:solidFill>
                <a:latin typeface="+mj-lt"/>
                <a:ea typeface="+mj-ea"/>
                <a:cs typeface="+mj-cs"/>
              </a:defRPr>
            </a:lvl1pPr>
          </a:lstStyle>
          <a:p>
            <a:r>
              <a:rPr lang="en-US"/>
              <a:t>Title</a:t>
            </a:r>
            <a:endParaRPr lang="en-IN"/>
          </a:p>
        </p:txBody>
      </p:sp>
      <p:sp>
        <p:nvSpPr>
          <p:cNvPr id="9" name="Text Placeholder 2">
            <a:extLst>
              <a:ext uri="{FF2B5EF4-FFF2-40B4-BE49-F238E27FC236}">
                <a16:creationId xmlns:a16="http://schemas.microsoft.com/office/drawing/2014/main" id="{4AFC35FE-99B5-707A-A5C1-1A1EFF69B741}"/>
              </a:ext>
            </a:extLst>
          </p:cNvPr>
          <p:cNvSpPr>
            <a:spLocks noGrp="1"/>
          </p:cNvSpPr>
          <p:nvPr>
            <p:ph type="body" sz="quarter" idx="16" hasCustomPrompt="1"/>
          </p:nvPr>
        </p:nvSpPr>
        <p:spPr>
          <a:xfrm>
            <a:off x="514348" y="2957437"/>
            <a:ext cx="2527025" cy="327502"/>
          </a:xfrm>
          <a:prstGeom prst="rect">
            <a:avLst/>
          </a:prstGeom>
        </p:spPr>
        <p:txBody>
          <a:bodyPr anchor="ctr"/>
          <a:lstStyle>
            <a:lvl1pPr marL="0" indent="0">
              <a:buNone/>
              <a:defRPr lang="en-US" b="1" dirty="0">
                <a:solidFill>
                  <a:schemeClr val="accent1"/>
                </a:solidFill>
              </a:defRPr>
            </a:lvl1pPr>
            <a:lvl2pPr marL="190412" indent="0">
              <a:buNone/>
              <a:defRPr sz="1575"/>
            </a:lvl2pPr>
            <a:lvl3pPr marL="380825" indent="0">
              <a:buNone/>
              <a:defRPr sz="1575"/>
            </a:lvl3pPr>
            <a:lvl4pPr marL="571237" indent="0">
              <a:buNone/>
              <a:defRPr sz="1575"/>
            </a:lvl4pPr>
            <a:lvl5pPr marL="761649" indent="0">
              <a:buNone/>
              <a:defRPr sz="1575"/>
            </a:lvl5pPr>
          </a:lstStyle>
          <a:p>
            <a:pPr lvl="0"/>
            <a:r>
              <a:rPr lang="en-US"/>
              <a:t>Header Goes Here</a:t>
            </a:r>
          </a:p>
        </p:txBody>
      </p:sp>
      <p:sp>
        <p:nvSpPr>
          <p:cNvPr id="10" name="Text Placeholder 2">
            <a:extLst>
              <a:ext uri="{FF2B5EF4-FFF2-40B4-BE49-F238E27FC236}">
                <a16:creationId xmlns:a16="http://schemas.microsoft.com/office/drawing/2014/main" id="{703EACA2-D6E9-7270-766F-3D603470441F}"/>
              </a:ext>
            </a:extLst>
          </p:cNvPr>
          <p:cNvSpPr>
            <a:spLocks noGrp="1"/>
          </p:cNvSpPr>
          <p:nvPr>
            <p:ph type="body" sz="quarter" idx="35" hasCustomPrompt="1"/>
          </p:nvPr>
        </p:nvSpPr>
        <p:spPr>
          <a:xfrm>
            <a:off x="514348" y="3423974"/>
            <a:ext cx="2527025" cy="2522952"/>
          </a:xfrm>
          <a:prstGeom prst="rect">
            <a:avLst/>
          </a:prstGeom>
        </p:spPr>
        <p:txBody>
          <a:bodyPr>
            <a:normAutofit/>
          </a:bodyPr>
          <a:lstStyle>
            <a:lvl1pPr marL="0" indent="0">
              <a:buNone/>
              <a:defRPr lang="en-US" sz="1400" dirty="0" smtClean="0">
                <a:solidFill>
                  <a:schemeClr val="tx1">
                    <a:lumMod val="75000"/>
                    <a:lumOff val="25000"/>
                  </a:schemeClr>
                </a:solidFill>
              </a:defRPr>
            </a:lvl1pPr>
          </a:lstStyle>
          <a:p>
            <a:pPr lvl="0"/>
            <a:r>
              <a:rPr lang="en-US"/>
              <a:t>Text goes here</a:t>
            </a:r>
          </a:p>
          <a:p>
            <a:pPr lvl="0"/>
            <a:r>
              <a:rPr lang="en-US"/>
              <a:t>Text goes here</a:t>
            </a:r>
          </a:p>
          <a:p>
            <a:pPr lvl="0"/>
            <a:r>
              <a:rPr lang="en-US"/>
              <a:t>Text goes here</a:t>
            </a:r>
          </a:p>
          <a:p>
            <a:pPr lvl="0"/>
            <a:r>
              <a:rPr lang="en-US"/>
              <a:t>Text goes here</a:t>
            </a:r>
          </a:p>
        </p:txBody>
      </p:sp>
      <p:sp>
        <p:nvSpPr>
          <p:cNvPr id="11" name="Picture Placeholder 10">
            <a:extLst>
              <a:ext uri="{FF2B5EF4-FFF2-40B4-BE49-F238E27FC236}">
                <a16:creationId xmlns:a16="http://schemas.microsoft.com/office/drawing/2014/main" id="{4BBD4A14-F87E-C801-934A-DD47078FE560}"/>
              </a:ext>
            </a:extLst>
          </p:cNvPr>
          <p:cNvSpPr>
            <a:spLocks noGrp="1"/>
          </p:cNvSpPr>
          <p:nvPr>
            <p:ph type="pic" sz="quarter" idx="36"/>
          </p:nvPr>
        </p:nvSpPr>
        <p:spPr>
          <a:xfrm>
            <a:off x="514349" y="1453693"/>
            <a:ext cx="2536825" cy="1365707"/>
          </a:xfrm>
          <a:prstGeom prst="rect">
            <a:avLst/>
          </a:prstGeom>
          <a:solidFill>
            <a:schemeClr val="accent2"/>
          </a:solidFill>
        </p:spPr>
        <p:txBody>
          <a:bodyPr/>
          <a:lstStyle/>
          <a:p>
            <a:r>
              <a:rPr lang="en-US" dirty="0"/>
              <a:t>Click icon to add picture</a:t>
            </a:r>
          </a:p>
        </p:txBody>
      </p:sp>
      <p:sp>
        <p:nvSpPr>
          <p:cNvPr id="12" name="Text Placeholder 2">
            <a:extLst>
              <a:ext uri="{FF2B5EF4-FFF2-40B4-BE49-F238E27FC236}">
                <a16:creationId xmlns:a16="http://schemas.microsoft.com/office/drawing/2014/main" id="{2AED7770-483F-6310-6D29-A24F37D38041}"/>
              </a:ext>
            </a:extLst>
          </p:cNvPr>
          <p:cNvSpPr>
            <a:spLocks noGrp="1"/>
          </p:cNvSpPr>
          <p:nvPr>
            <p:ph type="body" sz="quarter" idx="37" hasCustomPrompt="1"/>
          </p:nvPr>
        </p:nvSpPr>
        <p:spPr>
          <a:xfrm>
            <a:off x="3386757" y="2957437"/>
            <a:ext cx="2527025" cy="327502"/>
          </a:xfrm>
          <a:prstGeom prst="rect">
            <a:avLst/>
          </a:prstGeom>
        </p:spPr>
        <p:txBody>
          <a:bodyPr anchor="ctr"/>
          <a:lstStyle>
            <a:lvl1pPr marL="0" indent="0">
              <a:buNone/>
              <a:defRPr lang="en-US" b="1" dirty="0">
                <a:solidFill>
                  <a:schemeClr val="accent1"/>
                </a:solidFill>
              </a:defRPr>
            </a:lvl1pPr>
            <a:lvl2pPr marL="190412" indent="0">
              <a:buNone/>
              <a:defRPr sz="1575"/>
            </a:lvl2pPr>
            <a:lvl3pPr marL="380825" indent="0">
              <a:buNone/>
              <a:defRPr sz="1575"/>
            </a:lvl3pPr>
            <a:lvl4pPr marL="571237" indent="0">
              <a:buNone/>
              <a:defRPr sz="1575"/>
            </a:lvl4pPr>
            <a:lvl5pPr marL="761649" indent="0">
              <a:buNone/>
              <a:defRPr sz="1575"/>
            </a:lvl5pPr>
          </a:lstStyle>
          <a:p>
            <a:pPr lvl="0"/>
            <a:r>
              <a:rPr lang="en-US"/>
              <a:t>Header Goes Here</a:t>
            </a:r>
          </a:p>
        </p:txBody>
      </p:sp>
      <p:sp>
        <p:nvSpPr>
          <p:cNvPr id="13" name="Text Placeholder 2">
            <a:extLst>
              <a:ext uri="{FF2B5EF4-FFF2-40B4-BE49-F238E27FC236}">
                <a16:creationId xmlns:a16="http://schemas.microsoft.com/office/drawing/2014/main" id="{CB8CEA64-FDE5-937F-FCB8-6553DF2C592D}"/>
              </a:ext>
            </a:extLst>
          </p:cNvPr>
          <p:cNvSpPr>
            <a:spLocks noGrp="1"/>
          </p:cNvSpPr>
          <p:nvPr>
            <p:ph type="body" sz="quarter" idx="38" hasCustomPrompt="1"/>
          </p:nvPr>
        </p:nvSpPr>
        <p:spPr>
          <a:xfrm>
            <a:off x="3386757" y="3423974"/>
            <a:ext cx="2527025" cy="2522952"/>
          </a:xfrm>
          <a:prstGeom prst="rect">
            <a:avLst/>
          </a:prstGeom>
        </p:spPr>
        <p:txBody>
          <a:bodyPr>
            <a:normAutofit/>
          </a:bodyPr>
          <a:lstStyle>
            <a:lvl1pPr marL="0" indent="0">
              <a:buNone/>
              <a:defRPr lang="en-US" sz="1400" dirty="0" smtClean="0">
                <a:solidFill>
                  <a:schemeClr val="tx1">
                    <a:lumMod val="75000"/>
                    <a:lumOff val="25000"/>
                  </a:schemeClr>
                </a:solidFill>
              </a:defRPr>
            </a:lvl1pPr>
          </a:lstStyle>
          <a:p>
            <a:pPr lvl="0"/>
            <a:r>
              <a:rPr lang="en-US"/>
              <a:t>Text goes here</a:t>
            </a:r>
          </a:p>
          <a:p>
            <a:pPr lvl="0"/>
            <a:r>
              <a:rPr lang="en-US"/>
              <a:t>Text goes here</a:t>
            </a:r>
          </a:p>
          <a:p>
            <a:pPr lvl="0"/>
            <a:r>
              <a:rPr lang="en-US"/>
              <a:t>Text goes here</a:t>
            </a:r>
          </a:p>
          <a:p>
            <a:pPr lvl="0"/>
            <a:r>
              <a:rPr lang="en-US"/>
              <a:t>Text goes here</a:t>
            </a:r>
          </a:p>
        </p:txBody>
      </p:sp>
      <p:sp>
        <p:nvSpPr>
          <p:cNvPr id="14" name="Picture Placeholder 10">
            <a:extLst>
              <a:ext uri="{FF2B5EF4-FFF2-40B4-BE49-F238E27FC236}">
                <a16:creationId xmlns:a16="http://schemas.microsoft.com/office/drawing/2014/main" id="{830090E2-9FB8-201C-0635-A2F203C1C326}"/>
              </a:ext>
            </a:extLst>
          </p:cNvPr>
          <p:cNvSpPr>
            <a:spLocks noGrp="1"/>
          </p:cNvSpPr>
          <p:nvPr>
            <p:ph type="pic" sz="quarter" idx="39"/>
          </p:nvPr>
        </p:nvSpPr>
        <p:spPr>
          <a:xfrm>
            <a:off x="3386758" y="1453693"/>
            <a:ext cx="2536825" cy="1365707"/>
          </a:xfrm>
          <a:prstGeom prst="rect">
            <a:avLst/>
          </a:prstGeom>
          <a:solidFill>
            <a:schemeClr val="accent3"/>
          </a:solidFill>
        </p:spPr>
        <p:txBody>
          <a:bodyPr/>
          <a:lstStyle/>
          <a:p>
            <a:r>
              <a:rPr lang="en-US"/>
              <a:t>Click icon to add picture</a:t>
            </a:r>
          </a:p>
        </p:txBody>
      </p:sp>
      <p:sp>
        <p:nvSpPr>
          <p:cNvPr id="15" name="Text Placeholder 2">
            <a:extLst>
              <a:ext uri="{FF2B5EF4-FFF2-40B4-BE49-F238E27FC236}">
                <a16:creationId xmlns:a16="http://schemas.microsoft.com/office/drawing/2014/main" id="{2A54C7E9-0749-0801-7F6C-85C684ACBFA9}"/>
              </a:ext>
            </a:extLst>
          </p:cNvPr>
          <p:cNvSpPr>
            <a:spLocks noGrp="1"/>
          </p:cNvSpPr>
          <p:nvPr>
            <p:ph type="body" sz="quarter" idx="40" hasCustomPrompt="1"/>
          </p:nvPr>
        </p:nvSpPr>
        <p:spPr>
          <a:xfrm>
            <a:off x="6249227" y="2957437"/>
            <a:ext cx="2527025" cy="327502"/>
          </a:xfrm>
          <a:prstGeom prst="rect">
            <a:avLst/>
          </a:prstGeom>
        </p:spPr>
        <p:txBody>
          <a:bodyPr anchor="ctr"/>
          <a:lstStyle>
            <a:lvl1pPr marL="0" indent="0">
              <a:buNone/>
              <a:defRPr lang="en-US" b="1" dirty="0">
                <a:solidFill>
                  <a:schemeClr val="accent1"/>
                </a:solidFill>
              </a:defRPr>
            </a:lvl1pPr>
            <a:lvl2pPr marL="190412" indent="0">
              <a:buNone/>
              <a:defRPr sz="1575"/>
            </a:lvl2pPr>
            <a:lvl3pPr marL="380825" indent="0">
              <a:buNone/>
              <a:defRPr sz="1575"/>
            </a:lvl3pPr>
            <a:lvl4pPr marL="571237" indent="0">
              <a:buNone/>
              <a:defRPr sz="1575"/>
            </a:lvl4pPr>
            <a:lvl5pPr marL="761649" indent="0">
              <a:buNone/>
              <a:defRPr sz="1575"/>
            </a:lvl5pPr>
          </a:lstStyle>
          <a:p>
            <a:pPr lvl="0"/>
            <a:r>
              <a:rPr lang="en-US"/>
              <a:t>Header Goes Here</a:t>
            </a:r>
          </a:p>
        </p:txBody>
      </p:sp>
      <p:sp>
        <p:nvSpPr>
          <p:cNvPr id="16" name="Text Placeholder 2">
            <a:extLst>
              <a:ext uri="{FF2B5EF4-FFF2-40B4-BE49-F238E27FC236}">
                <a16:creationId xmlns:a16="http://schemas.microsoft.com/office/drawing/2014/main" id="{2476C310-944C-A61A-F216-7E9CB019864E}"/>
              </a:ext>
            </a:extLst>
          </p:cNvPr>
          <p:cNvSpPr>
            <a:spLocks noGrp="1"/>
          </p:cNvSpPr>
          <p:nvPr>
            <p:ph type="body" sz="quarter" idx="41" hasCustomPrompt="1"/>
          </p:nvPr>
        </p:nvSpPr>
        <p:spPr>
          <a:xfrm>
            <a:off x="6249227" y="3423974"/>
            <a:ext cx="2527025" cy="2522952"/>
          </a:xfrm>
          <a:prstGeom prst="rect">
            <a:avLst/>
          </a:prstGeom>
        </p:spPr>
        <p:txBody>
          <a:bodyPr>
            <a:normAutofit/>
          </a:bodyPr>
          <a:lstStyle>
            <a:lvl1pPr marL="0" indent="0">
              <a:buNone/>
              <a:defRPr lang="en-US" sz="1400" dirty="0" smtClean="0">
                <a:solidFill>
                  <a:schemeClr val="tx1">
                    <a:lumMod val="75000"/>
                    <a:lumOff val="25000"/>
                  </a:schemeClr>
                </a:solidFill>
              </a:defRPr>
            </a:lvl1pPr>
          </a:lstStyle>
          <a:p>
            <a:pPr lvl="0"/>
            <a:r>
              <a:rPr lang="en-US"/>
              <a:t>Text goes here</a:t>
            </a:r>
          </a:p>
          <a:p>
            <a:pPr lvl="0"/>
            <a:r>
              <a:rPr lang="en-US"/>
              <a:t>Text goes here</a:t>
            </a:r>
          </a:p>
          <a:p>
            <a:pPr lvl="0"/>
            <a:r>
              <a:rPr lang="en-US"/>
              <a:t>Text goes here</a:t>
            </a:r>
          </a:p>
          <a:p>
            <a:pPr lvl="0"/>
            <a:r>
              <a:rPr lang="en-US"/>
              <a:t>Text goes here</a:t>
            </a:r>
          </a:p>
        </p:txBody>
      </p:sp>
      <p:sp>
        <p:nvSpPr>
          <p:cNvPr id="17" name="Picture Placeholder 10">
            <a:extLst>
              <a:ext uri="{FF2B5EF4-FFF2-40B4-BE49-F238E27FC236}">
                <a16:creationId xmlns:a16="http://schemas.microsoft.com/office/drawing/2014/main" id="{53527E79-5ACF-B3FE-019F-38021BFAD8F7}"/>
              </a:ext>
            </a:extLst>
          </p:cNvPr>
          <p:cNvSpPr>
            <a:spLocks noGrp="1"/>
          </p:cNvSpPr>
          <p:nvPr>
            <p:ph type="pic" sz="quarter" idx="42"/>
          </p:nvPr>
        </p:nvSpPr>
        <p:spPr>
          <a:xfrm>
            <a:off x="6249228" y="1453693"/>
            <a:ext cx="2536825" cy="1365707"/>
          </a:xfrm>
          <a:prstGeom prst="rect">
            <a:avLst/>
          </a:prstGeom>
          <a:solidFill>
            <a:schemeClr val="accent5"/>
          </a:solidFill>
        </p:spPr>
        <p:txBody>
          <a:bodyPr/>
          <a:lstStyle/>
          <a:p>
            <a:r>
              <a:rPr lang="en-US"/>
              <a:t>Click icon to add picture</a:t>
            </a:r>
          </a:p>
        </p:txBody>
      </p:sp>
      <p:sp>
        <p:nvSpPr>
          <p:cNvPr id="18" name="Text Placeholder 2">
            <a:extLst>
              <a:ext uri="{FF2B5EF4-FFF2-40B4-BE49-F238E27FC236}">
                <a16:creationId xmlns:a16="http://schemas.microsoft.com/office/drawing/2014/main" id="{3938C983-8199-C12C-93FF-10E575EF10B1}"/>
              </a:ext>
            </a:extLst>
          </p:cNvPr>
          <p:cNvSpPr>
            <a:spLocks noGrp="1"/>
          </p:cNvSpPr>
          <p:nvPr>
            <p:ph type="body" sz="quarter" idx="43" hasCustomPrompt="1"/>
          </p:nvPr>
        </p:nvSpPr>
        <p:spPr>
          <a:xfrm>
            <a:off x="9081879" y="2957437"/>
            <a:ext cx="2527025" cy="327502"/>
          </a:xfrm>
          <a:prstGeom prst="rect">
            <a:avLst/>
          </a:prstGeom>
        </p:spPr>
        <p:txBody>
          <a:bodyPr anchor="ctr"/>
          <a:lstStyle>
            <a:lvl1pPr marL="0" indent="0">
              <a:buNone/>
              <a:defRPr lang="en-US" b="1" dirty="0">
                <a:solidFill>
                  <a:schemeClr val="accent1"/>
                </a:solidFill>
              </a:defRPr>
            </a:lvl1pPr>
            <a:lvl2pPr marL="190412" indent="0">
              <a:buNone/>
              <a:defRPr sz="1575"/>
            </a:lvl2pPr>
            <a:lvl3pPr marL="380825" indent="0">
              <a:buNone/>
              <a:defRPr sz="1575"/>
            </a:lvl3pPr>
            <a:lvl4pPr marL="571237" indent="0">
              <a:buNone/>
              <a:defRPr sz="1575"/>
            </a:lvl4pPr>
            <a:lvl5pPr marL="761649" indent="0">
              <a:buNone/>
              <a:defRPr sz="1575"/>
            </a:lvl5pPr>
          </a:lstStyle>
          <a:p>
            <a:pPr lvl="0"/>
            <a:r>
              <a:rPr lang="en-US"/>
              <a:t>Header Goes Here</a:t>
            </a:r>
          </a:p>
        </p:txBody>
      </p:sp>
      <p:sp>
        <p:nvSpPr>
          <p:cNvPr id="19" name="Text Placeholder 2">
            <a:extLst>
              <a:ext uri="{FF2B5EF4-FFF2-40B4-BE49-F238E27FC236}">
                <a16:creationId xmlns:a16="http://schemas.microsoft.com/office/drawing/2014/main" id="{71885463-80BC-3790-D0A9-E133F59FB306}"/>
              </a:ext>
            </a:extLst>
          </p:cNvPr>
          <p:cNvSpPr>
            <a:spLocks noGrp="1"/>
          </p:cNvSpPr>
          <p:nvPr>
            <p:ph type="body" sz="quarter" idx="44" hasCustomPrompt="1"/>
          </p:nvPr>
        </p:nvSpPr>
        <p:spPr>
          <a:xfrm>
            <a:off x="9081879" y="3423974"/>
            <a:ext cx="2527025" cy="2522952"/>
          </a:xfrm>
          <a:prstGeom prst="rect">
            <a:avLst/>
          </a:prstGeom>
        </p:spPr>
        <p:txBody>
          <a:bodyPr>
            <a:normAutofit/>
          </a:bodyPr>
          <a:lstStyle>
            <a:lvl1pPr marL="0" indent="0">
              <a:buNone/>
              <a:defRPr lang="en-US" sz="1400" dirty="0" smtClean="0">
                <a:solidFill>
                  <a:schemeClr val="tx1">
                    <a:lumMod val="75000"/>
                    <a:lumOff val="25000"/>
                  </a:schemeClr>
                </a:solidFill>
              </a:defRPr>
            </a:lvl1pPr>
          </a:lstStyle>
          <a:p>
            <a:pPr lvl="0"/>
            <a:r>
              <a:rPr lang="en-US"/>
              <a:t>Text goes here</a:t>
            </a:r>
          </a:p>
          <a:p>
            <a:pPr lvl="0"/>
            <a:r>
              <a:rPr lang="en-US"/>
              <a:t>Text goes here</a:t>
            </a:r>
          </a:p>
          <a:p>
            <a:pPr lvl="0"/>
            <a:r>
              <a:rPr lang="en-US"/>
              <a:t>Text goes here</a:t>
            </a:r>
          </a:p>
          <a:p>
            <a:pPr lvl="0"/>
            <a:r>
              <a:rPr lang="en-US"/>
              <a:t>Text goes here</a:t>
            </a:r>
          </a:p>
        </p:txBody>
      </p:sp>
      <p:sp>
        <p:nvSpPr>
          <p:cNvPr id="20" name="Picture Placeholder 10">
            <a:extLst>
              <a:ext uri="{FF2B5EF4-FFF2-40B4-BE49-F238E27FC236}">
                <a16:creationId xmlns:a16="http://schemas.microsoft.com/office/drawing/2014/main" id="{0CC86CBA-327F-3000-E920-D1B89069E5B9}"/>
              </a:ext>
            </a:extLst>
          </p:cNvPr>
          <p:cNvSpPr>
            <a:spLocks noGrp="1"/>
          </p:cNvSpPr>
          <p:nvPr>
            <p:ph type="pic" sz="quarter" idx="45"/>
          </p:nvPr>
        </p:nvSpPr>
        <p:spPr>
          <a:xfrm>
            <a:off x="9081880" y="1453693"/>
            <a:ext cx="2536825" cy="1365707"/>
          </a:xfrm>
          <a:prstGeom prst="rect">
            <a:avLst/>
          </a:prstGeom>
          <a:solidFill>
            <a:schemeClr val="tx1">
              <a:lumMod val="75000"/>
              <a:lumOff val="25000"/>
            </a:schemeClr>
          </a:solidFill>
        </p:spPr>
        <p:txBody>
          <a:bodyPr/>
          <a:lstStyle/>
          <a:p>
            <a:r>
              <a:rPr lang="en-US"/>
              <a:t>Click icon to add picture</a:t>
            </a:r>
          </a:p>
        </p:txBody>
      </p:sp>
    </p:spTree>
    <p:extLst>
      <p:ext uri="{BB962C8B-B14F-4D97-AF65-F5344CB8AC3E}">
        <p14:creationId xmlns:p14="http://schemas.microsoft.com/office/powerpoint/2010/main" val="1866289284"/>
      </p:ext>
    </p:extLst>
  </p:cSld>
  <p:clrMapOvr>
    <a:masterClrMapping/>
  </p:clrMapOvr>
  <p:extLst>
    <p:ext uri="{DCECCB84-F9BA-43D5-87BE-67443E8EF086}">
      <p15:sldGuideLst xmlns:p15="http://schemas.microsoft.com/office/powerpoint/2012/main">
        <p15:guide id="1" orient="horz" pos="3861">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Plain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Tree>
    <p:extLst>
      <p:ext uri="{BB962C8B-B14F-4D97-AF65-F5344CB8AC3E}">
        <p14:creationId xmlns:p14="http://schemas.microsoft.com/office/powerpoint/2010/main" val="3943656761"/>
      </p:ext>
    </p:extLst>
  </p:cSld>
  <p:clrMapOvr>
    <a:masterClrMapping/>
  </p:clrMapOvr>
  <p:extLst>
    <p:ext uri="{DCECCB84-F9BA-43D5-87BE-67443E8EF086}">
      <p15:sldGuideLst xmlns:p15="http://schemas.microsoft.com/office/powerpoint/2012/main">
        <p15:guide id="1" orient="horz" pos="3861">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51317CB9-BCBD-2A99-AE5A-FB1333E6B5DC}"/>
              </a:ext>
            </a:extLst>
          </p:cNvPr>
          <p:cNvGrpSpPr/>
          <p:nvPr/>
        </p:nvGrpSpPr>
        <p:grpSpPr>
          <a:xfrm>
            <a:off x="0" y="1364342"/>
            <a:ext cx="12214797" cy="3865705"/>
            <a:chOff x="0" y="1364342"/>
            <a:chExt cx="12214797" cy="3865705"/>
          </a:xfrm>
        </p:grpSpPr>
        <p:sp>
          <p:nvSpPr>
            <p:cNvPr id="16" name="Rectangle 15">
              <a:extLst>
                <a:ext uri="{FF2B5EF4-FFF2-40B4-BE49-F238E27FC236}">
                  <a16:creationId xmlns:a16="http://schemas.microsoft.com/office/drawing/2014/main" id="{38455D5C-7D95-F297-C0C5-8181971005E1}"/>
                </a:ext>
              </a:extLst>
            </p:cNvPr>
            <p:cNvSpPr/>
            <p:nvPr userDrawn="1"/>
          </p:nvSpPr>
          <p:spPr>
            <a:xfrm>
              <a:off x="0" y="1364342"/>
              <a:ext cx="5581650" cy="386570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descr="A colorful squares in a dark room&#10;&#10;Description automatically generated">
              <a:extLst>
                <a:ext uri="{FF2B5EF4-FFF2-40B4-BE49-F238E27FC236}">
                  <a16:creationId xmlns:a16="http://schemas.microsoft.com/office/drawing/2014/main" id="{CA14291A-6C3B-4BF4-6FAB-F8A40F1862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90072" y="1364342"/>
              <a:ext cx="10624725" cy="3865705"/>
            </a:xfrm>
            <a:prstGeom prst="rect">
              <a:avLst/>
            </a:prstGeom>
          </p:spPr>
        </p:pic>
      </p:grpSp>
      <p:pic>
        <p:nvPicPr>
          <p:cNvPr id="3" name="Picture 2" descr="A picture containing light, night sky&#10;&#10;Description automatically generated">
            <a:extLst>
              <a:ext uri="{FF2B5EF4-FFF2-40B4-BE49-F238E27FC236}">
                <a16:creationId xmlns:a16="http://schemas.microsoft.com/office/drawing/2014/main" id="{4F77CED5-F505-D584-E354-7757C47F46D1}"/>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a:stretch/>
        </p:blipFill>
        <p:spPr>
          <a:xfrm>
            <a:off x="0" y="1364342"/>
            <a:ext cx="12214796" cy="3865705"/>
          </a:xfrm>
          <a:prstGeom prst="rect">
            <a:avLst/>
          </a:prstGeom>
        </p:spPr>
      </p:pic>
      <p:sp>
        <p:nvSpPr>
          <p:cNvPr id="14" name="Rectangle 13">
            <a:extLst>
              <a:ext uri="{FF2B5EF4-FFF2-40B4-BE49-F238E27FC236}">
                <a16:creationId xmlns:a16="http://schemas.microsoft.com/office/drawing/2014/main" id="{946DC46E-33DC-C21F-8E4D-3E2259995F4F}"/>
              </a:ext>
            </a:extLst>
          </p:cNvPr>
          <p:cNvSpPr/>
          <p:nvPr/>
        </p:nvSpPr>
        <p:spPr>
          <a:xfrm>
            <a:off x="0" y="1364342"/>
            <a:ext cx="9182100" cy="3865705"/>
          </a:xfrm>
          <a:prstGeom prst="rect">
            <a:avLst/>
          </a:prstGeom>
          <a:gradFill flip="none" rotWithShape="1">
            <a:gsLst>
              <a:gs pos="0">
                <a:schemeClr val="tx1">
                  <a:alpha val="80000"/>
                </a:schemeClr>
              </a:gs>
              <a:gs pos="74000">
                <a:schemeClr val="tx1">
                  <a:alpha val="0"/>
                </a:schemeClr>
              </a:gs>
              <a:gs pos="45000">
                <a:schemeClr val="tx1">
                  <a:alpha val="56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descr="Shape, arrow&#10;&#10;Description automatically generated">
            <a:extLst>
              <a:ext uri="{FF2B5EF4-FFF2-40B4-BE49-F238E27FC236}">
                <a16:creationId xmlns:a16="http://schemas.microsoft.com/office/drawing/2014/main" id="{5F9D5FA2-E94E-573E-D128-9FAD5B75D431}"/>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9208229" y="601155"/>
            <a:ext cx="1786655" cy="1659147"/>
          </a:xfrm>
          <a:prstGeom prst="rect">
            <a:avLst/>
          </a:prstGeom>
          <a:effectLst>
            <a:outerShdw blurRad="558800" dist="241300" dir="6000000" sx="97000" sy="97000" algn="ctr" rotWithShape="0">
              <a:srgbClr val="000000">
                <a:alpha val="73000"/>
              </a:srgbClr>
            </a:outerShdw>
          </a:effectLst>
        </p:spPr>
      </p:pic>
      <p:cxnSp>
        <p:nvCxnSpPr>
          <p:cNvPr id="8" name="Straight Connector 7">
            <a:extLst>
              <a:ext uri="{FF2B5EF4-FFF2-40B4-BE49-F238E27FC236}">
                <a16:creationId xmlns:a16="http://schemas.microsoft.com/office/drawing/2014/main" id="{7027F4A7-ABCD-A451-A1E6-67D3DAEF4EFD}"/>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2AA48E79-1643-F79A-757B-0A8342AD2D32}"/>
              </a:ext>
            </a:extLst>
          </p:cNvPr>
          <p:cNvSpPr txBox="1">
            <a:spLocks/>
          </p:cNvSpPr>
          <p:nvPr/>
        </p:nvSpPr>
        <p:spPr>
          <a:xfrm>
            <a:off x="964395" y="6469640"/>
            <a:ext cx="695326" cy="232668"/>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BEF598-DD41-4849-8A14-1B5F91BEB9F1}" type="datetime1">
              <a:rPr lang="en-US" smtClean="0"/>
              <a:pPr/>
              <a:t>5/25/2026</a:t>
            </a:fld>
            <a:endParaRPr lang="en-US"/>
          </a:p>
        </p:txBody>
      </p:sp>
      <p:sp>
        <p:nvSpPr>
          <p:cNvPr id="10" name="Rectangle 9">
            <a:extLst>
              <a:ext uri="{FF2B5EF4-FFF2-40B4-BE49-F238E27FC236}">
                <a16:creationId xmlns:a16="http://schemas.microsoft.com/office/drawing/2014/main" id="{E569D929-DA21-2C19-DF00-E73EF9348BF3}"/>
              </a:ext>
            </a:extLst>
          </p:cNvPr>
          <p:cNvSpPr/>
          <p:nvPr/>
        </p:nvSpPr>
        <p:spPr>
          <a:xfrm>
            <a:off x="403214" y="6228731"/>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DE0AB947-9EBB-7A7B-8A2F-389B706E6D11}"/>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12" name="Footer Placeholder 6">
            <a:extLst>
              <a:ext uri="{FF2B5EF4-FFF2-40B4-BE49-F238E27FC236}">
                <a16:creationId xmlns:a16="http://schemas.microsoft.com/office/drawing/2014/main" id="{C02A3900-EC4A-8854-3365-D60110620923}"/>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a:solidFill>
                  <a:schemeClr val="tx1">
                    <a:lumMod val="85000"/>
                    <a:lumOff val="15000"/>
                  </a:schemeClr>
                </a:solidFill>
                <a:latin typeface="+mj-lt"/>
                <a:ea typeface="Open Sans" panose="020B0606030504020204" pitchFamily="34" charset="0"/>
                <a:cs typeface="Open Sans" panose="020B0606030504020204" pitchFamily="34" charset="0"/>
              </a:rPr>
              <a:t>© 2024 Birlasoft</a:t>
            </a:r>
          </a:p>
        </p:txBody>
      </p:sp>
      <p:pic>
        <p:nvPicPr>
          <p:cNvPr id="13" name="Picture 12" descr="Shape, arrow&#10;&#10;Description automatically generated">
            <a:extLst>
              <a:ext uri="{FF2B5EF4-FFF2-40B4-BE49-F238E27FC236}">
                <a16:creationId xmlns:a16="http://schemas.microsoft.com/office/drawing/2014/main" id="{A8EAC522-E99A-1F38-C092-E4684C5123C8}"/>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5" name="Title 3">
            <a:extLst>
              <a:ext uri="{FF2B5EF4-FFF2-40B4-BE49-F238E27FC236}">
                <a16:creationId xmlns:a16="http://schemas.microsoft.com/office/drawing/2014/main" id="{F46A1162-2B0B-1A6C-D72E-DA030D7FA520}"/>
              </a:ext>
            </a:extLst>
          </p:cNvPr>
          <p:cNvSpPr>
            <a:spLocks noGrp="1"/>
          </p:cNvSpPr>
          <p:nvPr>
            <p:ph type="title" hasCustomPrompt="1"/>
          </p:nvPr>
        </p:nvSpPr>
        <p:spPr>
          <a:xfrm>
            <a:off x="670843" y="1892938"/>
            <a:ext cx="7932830" cy="2808513"/>
          </a:xfrm>
          <a:prstGeom prst="rect">
            <a:avLst/>
          </a:prstGeom>
        </p:spPr>
        <p:txBody>
          <a:bodyPr anchor="ctr"/>
          <a:lstStyle>
            <a:lvl1pPr marL="0" algn="l" defTabSz="914400" rtl="0" eaLnBrk="1" latinLnBrk="0" hangingPunct="1">
              <a:defRPr lang="en-US" sz="4000" b="1" kern="1200" dirty="0">
                <a:solidFill>
                  <a:schemeClr val="bg1"/>
                </a:solidFill>
                <a:latin typeface="+mn-lt"/>
                <a:ea typeface="+mn-ea"/>
                <a:cs typeface="+mn-cs"/>
              </a:defRPr>
            </a:lvl1pPr>
          </a:lstStyle>
          <a:p>
            <a:r>
              <a:rPr lang="en-US"/>
              <a:t>Title here</a:t>
            </a:r>
          </a:p>
        </p:txBody>
      </p:sp>
    </p:spTree>
    <p:extLst>
      <p:ext uri="{BB962C8B-B14F-4D97-AF65-F5344CB8AC3E}">
        <p14:creationId xmlns:p14="http://schemas.microsoft.com/office/powerpoint/2010/main" val="3767294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Cover 1">
    <p:spTree>
      <p:nvGrpSpPr>
        <p:cNvPr id="1" name=""/>
        <p:cNvGrpSpPr/>
        <p:nvPr/>
      </p:nvGrpSpPr>
      <p:grpSpPr>
        <a:xfrm>
          <a:off x="0" y="0"/>
          <a:ext cx="0" cy="0"/>
          <a:chOff x="0" y="0"/>
          <a:chExt cx="0" cy="0"/>
        </a:xfrm>
      </p:grpSpPr>
      <p:pic>
        <p:nvPicPr>
          <p:cNvPr id="8" name="Picture 7" descr="A picture containing text, person, clothing, screenshot&#10;&#10;Description automatically generated">
            <a:extLst>
              <a:ext uri="{FF2B5EF4-FFF2-40B4-BE49-F238E27FC236}">
                <a16:creationId xmlns:a16="http://schemas.microsoft.com/office/drawing/2014/main" id="{F44966EC-3E48-A4CD-28B8-7F46BD22A5A6}"/>
              </a:ext>
            </a:extLst>
          </p:cNvPr>
          <p:cNvPicPr>
            <a:picLocks noChangeAspect="1"/>
          </p:cNvPicPr>
          <p:nvPr/>
        </p:nvPicPr>
        <p:blipFill rotWithShape="1">
          <a:blip r:embed="rId2">
            <a:extLst>
              <a:ext uri="{28A0092B-C50C-407E-A947-70E740481C1C}">
                <a14:useLocalDpi xmlns:a14="http://schemas.microsoft.com/office/drawing/2010/main" val="0"/>
              </a:ext>
            </a:extLst>
          </a:blip>
          <a:srcRect t="12903" r="13330" b="7399"/>
          <a:stretch/>
        </p:blipFill>
        <p:spPr>
          <a:xfrm>
            <a:off x="0" y="0"/>
            <a:ext cx="12189229" cy="5424750"/>
          </a:xfrm>
          <a:custGeom>
            <a:avLst/>
            <a:gdLst>
              <a:gd name="connsiteX0" fmla="*/ 0 w 12189229"/>
              <a:gd name="connsiteY0" fmla="*/ 0 h 5424750"/>
              <a:gd name="connsiteX1" fmla="*/ 12189229 w 12189229"/>
              <a:gd name="connsiteY1" fmla="*/ 0 h 5424750"/>
              <a:gd name="connsiteX2" fmla="*/ 12189229 w 12189229"/>
              <a:gd name="connsiteY2" fmla="*/ 5424750 h 5424750"/>
              <a:gd name="connsiteX3" fmla="*/ 0 w 12189229"/>
              <a:gd name="connsiteY3" fmla="*/ 5424750 h 5424750"/>
            </a:gdLst>
            <a:ahLst/>
            <a:cxnLst>
              <a:cxn ang="0">
                <a:pos x="connsiteX0" y="connsiteY0"/>
              </a:cxn>
              <a:cxn ang="0">
                <a:pos x="connsiteX1" y="connsiteY1"/>
              </a:cxn>
              <a:cxn ang="0">
                <a:pos x="connsiteX2" y="connsiteY2"/>
              </a:cxn>
              <a:cxn ang="0">
                <a:pos x="connsiteX3" y="connsiteY3"/>
              </a:cxn>
            </a:cxnLst>
            <a:rect l="l" t="t" r="r" b="b"/>
            <a:pathLst>
              <a:path w="12189229" h="5424750">
                <a:moveTo>
                  <a:pt x="0" y="0"/>
                </a:moveTo>
                <a:lnTo>
                  <a:pt x="12189229" y="0"/>
                </a:lnTo>
                <a:lnTo>
                  <a:pt x="12189229" y="5424750"/>
                </a:lnTo>
                <a:lnTo>
                  <a:pt x="0" y="5424750"/>
                </a:lnTo>
                <a:close/>
              </a:path>
            </a:pathLst>
          </a:custGeom>
        </p:spPr>
      </p:pic>
      <p:sp>
        <p:nvSpPr>
          <p:cNvPr id="7" name="Rectangle 6">
            <a:extLst>
              <a:ext uri="{FF2B5EF4-FFF2-40B4-BE49-F238E27FC236}">
                <a16:creationId xmlns:a16="http://schemas.microsoft.com/office/drawing/2014/main" id="{C21BB553-2796-2C46-692D-9221C61A9559}"/>
              </a:ext>
            </a:extLst>
          </p:cNvPr>
          <p:cNvSpPr/>
          <p:nvPr/>
        </p:nvSpPr>
        <p:spPr>
          <a:xfrm>
            <a:off x="0" y="5424750"/>
            <a:ext cx="12192000" cy="1433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8D097650-FAB5-EEAE-2ECF-A02180D5B74E}"/>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01907" y="6266628"/>
            <a:ext cx="398395" cy="96441"/>
          </a:xfrm>
          <a:prstGeom prst="rect">
            <a:avLst/>
          </a:prstGeom>
        </p:spPr>
      </p:pic>
      <p:sp>
        <p:nvSpPr>
          <p:cNvPr id="11" name="Footer Placeholder 6">
            <a:extLst>
              <a:ext uri="{FF2B5EF4-FFF2-40B4-BE49-F238E27FC236}">
                <a16:creationId xmlns:a16="http://schemas.microsoft.com/office/drawing/2014/main" id="{AC82804D-666D-39A5-046D-4A3C084ED394}"/>
              </a:ext>
            </a:extLst>
          </p:cNvPr>
          <p:cNvSpPr txBox="1">
            <a:spLocks/>
          </p:cNvSpPr>
          <p:nvPr/>
        </p:nvSpPr>
        <p:spPr>
          <a:xfrm>
            <a:off x="9964372" y="619991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700">
                <a:solidFill>
                  <a:schemeClr val="tx1">
                    <a:lumMod val="75000"/>
                    <a:lumOff val="25000"/>
                  </a:schemeClr>
                </a:solidFill>
              </a:rPr>
              <a:t>© 2024 Birlasoft</a:t>
            </a:r>
          </a:p>
        </p:txBody>
      </p:sp>
      <p:sp>
        <p:nvSpPr>
          <p:cNvPr id="9" name="Picture Placeholder 4">
            <a:extLst>
              <a:ext uri="{FF2B5EF4-FFF2-40B4-BE49-F238E27FC236}">
                <a16:creationId xmlns:a16="http://schemas.microsoft.com/office/drawing/2014/main" id="{FAADDA8D-209F-EFCA-3FFE-44709473C480}"/>
              </a:ext>
            </a:extLst>
          </p:cNvPr>
          <p:cNvSpPr txBox="1">
            <a:spLocks/>
          </p:cNvSpPr>
          <p:nvPr/>
        </p:nvSpPr>
        <p:spPr>
          <a:xfrm>
            <a:off x="-2771" y="-1"/>
            <a:ext cx="12192000" cy="5424750"/>
          </a:xfrm>
          <a:prstGeom prst="rect">
            <a:avLst/>
          </a:prstGeom>
          <a:gradFill flip="none" rotWithShape="1">
            <a:gsLst>
              <a:gs pos="12000">
                <a:schemeClr val="tx1"/>
              </a:gs>
              <a:gs pos="100000">
                <a:schemeClr val="tx2">
                  <a:alpha val="0"/>
                </a:schemeClr>
              </a:gs>
            </a:gsLst>
            <a:lin ang="0" scaled="1"/>
            <a:tileRect/>
          </a:gra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icon to add picture</a:t>
            </a:r>
          </a:p>
        </p:txBody>
      </p:sp>
      <p:sp>
        <p:nvSpPr>
          <p:cNvPr id="2" name="Title 3">
            <a:extLst>
              <a:ext uri="{FF2B5EF4-FFF2-40B4-BE49-F238E27FC236}">
                <a16:creationId xmlns:a16="http://schemas.microsoft.com/office/drawing/2014/main" id="{4F6A0A5C-2044-8B63-105F-C1BF110C2E77}"/>
              </a:ext>
            </a:extLst>
          </p:cNvPr>
          <p:cNvSpPr>
            <a:spLocks noGrp="1"/>
          </p:cNvSpPr>
          <p:nvPr>
            <p:ph type="title" hasCustomPrompt="1"/>
          </p:nvPr>
        </p:nvSpPr>
        <p:spPr>
          <a:xfrm>
            <a:off x="527511" y="2087837"/>
            <a:ext cx="4473980" cy="12490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a:t>Click to edit Master title style</a:t>
            </a:r>
            <a:endParaRPr lang="en-IN"/>
          </a:p>
        </p:txBody>
      </p:sp>
    </p:spTree>
    <p:extLst>
      <p:ext uri="{BB962C8B-B14F-4D97-AF65-F5344CB8AC3E}">
        <p14:creationId xmlns:p14="http://schemas.microsoft.com/office/powerpoint/2010/main" val="17443977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69D981D-4561-CF87-81C7-50A5FB8D4BA7}"/>
              </a:ext>
            </a:extLst>
          </p:cNvPr>
          <p:cNvGrpSpPr/>
          <p:nvPr/>
        </p:nvGrpSpPr>
        <p:grpSpPr>
          <a:xfrm>
            <a:off x="0" y="1433244"/>
            <a:ext cx="12192000" cy="5723617"/>
            <a:chOff x="0" y="1433244"/>
            <a:chExt cx="12192000" cy="5723617"/>
          </a:xfrm>
        </p:grpSpPr>
        <p:sp>
          <p:nvSpPr>
            <p:cNvPr id="6" name="Rectangle 5">
              <a:extLst>
                <a:ext uri="{FF2B5EF4-FFF2-40B4-BE49-F238E27FC236}">
                  <a16:creationId xmlns:a16="http://schemas.microsoft.com/office/drawing/2014/main" id="{D6F9E53A-5EDE-60D9-3210-62E17F1A12F8}"/>
                </a:ext>
              </a:extLst>
            </p:cNvPr>
            <p:cNvSpPr/>
            <p:nvPr userDrawn="1"/>
          </p:nvSpPr>
          <p:spPr>
            <a:xfrm>
              <a:off x="0" y="1433244"/>
              <a:ext cx="5581650" cy="572229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6" descr="A person touching a large display of colorful squares&#10;&#10;Description automatically generated">
              <a:extLst>
                <a:ext uri="{FF2B5EF4-FFF2-40B4-BE49-F238E27FC236}">
                  <a16:creationId xmlns:a16="http://schemas.microsoft.com/office/drawing/2014/main" id="{46040FDC-B6E2-47C7-49BF-7E79C79701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5717" y="1433245"/>
              <a:ext cx="8586283" cy="5723616"/>
            </a:xfrm>
            <a:prstGeom prst="rect">
              <a:avLst/>
            </a:prstGeom>
          </p:spPr>
        </p:pic>
      </p:grpSp>
      <p:sp>
        <p:nvSpPr>
          <p:cNvPr id="9" name="Rectangle 8">
            <a:extLst>
              <a:ext uri="{FF2B5EF4-FFF2-40B4-BE49-F238E27FC236}">
                <a16:creationId xmlns:a16="http://schemas.microsoft.com/office/drawing/2014/main" id="{F1832A43-6736-EB47-BAA7-423CC961B7A8}"/>
              </a:ext>
            </a:extLst>
          </p:cNvPr>
          <p:cNvSpPr/>
          <p:nvPr/>
        </p:nvSpPr>
        <p:spPr>
          <a:xfrm>
            <a:off x="5194922" y="6250061"/>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69FD3E28-6E4F-3152-5721-A378E00BD5B4}"/>
              </a:ext>
            </a:extLst>
          </p:cNvPr>
          <p:cNvPicPr>
            <a:picLocks noChangeAspect="1"/>
          </p:cNvPicPr>
          <p:nvPr/>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4350" y="185293"/>
            <a:ext cx="2406650" cy="1098688"/>
          </a:xfrm>
          <a:prstGeom prst="rect">
            <a:avLst/>
          </a:prstGeom>
        </p:spPr>
      </p:pic>
      <p:pic>
        <p:nvPicPr>
          <p:cNvPr id="12" name="Graphic 11">
            <a:hlinkClick r:id="rId4"/>
            <a:extLst>
              <a:ext uri="{FF2B5EF4-FFF2-40B4-BE49-F238E27FC236}">
                <a16:creationId xmlns:a16="http://schemas.microsoft.com/office/drawing/2014/main" id="{49A4B0B7-001A-0506-0F58-59244B408800}"/>
              </a:ext>
            </a:extLst>
          </p:cNvPr>
          <p:cNvPicPr>
            <a:picLocks noChangeAspect="1"/>
          </p:cNvPicPr>
          <p:nvPr/>
        </p:nvPicPr>
        <p:blipFill>
          <a:blip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94922" y="6250061"/>
            <a:ext cx="244475" cy="244475"/>
          </a:xfrm>
          <a:prstGeom prst="rect">
            <a:avLst/>
          </a:prstGeom>
        </p:spPr>
      </p:pic>
      <p:sp>
        <p:nvSpPr>
          <p:cNvPr id="13" name="TextBox 12">
            <a:hlinkClick r:id="rId6"/>
            <a:extLst>
              <a:ext uri="{FF2B5EF4-FFF2-40B4-BE49-F238E27FC236}">
                <a16:creationId xmlns:a16="http://schemas.microsoft.com/office/drawing/2014/main" id="{E17582F5-47DB-6177-4DC4-ADD22AFE6B48}"/>
              </a:ext>
            </a:extLst>
          </p:cNvPr>
          <p:cNvSpPr txBox="1"/>
          <p:nvPr/>
        </p:nvSpPr>
        <p:spPr>
          <a:xfrm>
            <a:off x="5098401" y="5706636"/>
            <a:ext cx="2097597" cy="415498"/>
          </a:xfrm>
          <a:prstGeom prst="rect">
            <a:avLst/>
          </a:prstGeom>
          <a:noFill/>
        </p:spPr>
        <p:txBody>
          <a:bodyPr wrap="square" rtlCol="0">
            <a:spAutoFit/>
          </a:bodyPr>
          <a:lstStyle/>
          <a:p>
            <a:r>
              <a:rPr lang="en-US" sz="2100" b="1" i="0" dirty="0">
                <a:solidFill>
                  <a:schemeClr val="bg1"/>
                </a:solidFill>
                <a:latin typeface="+mj-lt"/>
              </a:rPr>
              <a:t>Birlasoft.com</a:t>
            </a:r>
          </a:p>
        </p:txBody>
      </p:sp>
      <p:grpSp>
        <p:nvGrpSpPr>
          <p:cNvPr id="14" name="Group 13">
            <a:extLst>
              <a:ext uri="{FF2B5EF4-FFF2-40B4-BE49-F238E27FC236}">
                <a16:creationId xmlns:a16="http://schemas.microsoft.com/office/drawing/2014/main" id="{14107CFD-F9E6-4FFF-6FD5-DBE2183AC3BB}"/>
              </a:ext>
            </a:extLst>
          </p:cNvPr>
          <p:cNvGrpSpPr/>
          <p:nvPr/>
        </p:nvGrpSpPr>
        <p:grpSpPr>
          <a:xfrm>
            <a:off x="6797590" y="6250060"/>
            <a:ext cx="244475" cy="244478"/>
            <a:chOff x="8003187" y="6080863"/>
            <a:chExt cx="244475" cy="244478"/>
          </a:xfrm>
        </p:grpSpPr>
        <p:sp>
          <p:nvSpPr>
            <p:cNvPr id="15" name="Rectangle 14">
              <a:extLst>
                <a:ext uri="{FF2B5EF4-FFF2-40B4-BE49-F238E27FC236}">
                  <a16:creationId xmlns:a16="http://schemas.microsoft.com/office/drawing/2014/main" id="{54A3D91B-FF3E-FEEA-4515-37F22E981F77}"/>
                </a:ext>
              </a:extLst>
            </p:cNvPr>
            <p:cNvSpPr/>
            <p:nvPr/>
          </p:nvSpPr>
          <p:spPr>
            <a:xfrm>
              <a:off x="8003187" y="6080866"/>
              <a:ext cx="244475" cy="244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hlinkClick r:id="rId7"/>
              <a:extLst>
                <a:ext uri="{FF2B5EF4-FFF2-40B4-BE49-F238E27FC236}">
                  <a16:creationId xmlns:a16="http://schemas.microsoft.com/office/drawing/2014/main" id="{3819CFCB-77F2-FA75-3122-A3F954F265B6}"/>
                </a:ext>
              </a:extLst>
            </p:cNvPr>
            <p:cNvPicPr>
              <a:picLocks noChangeAspect="1"/>
            </p:cNvPicPr>
            <p:nvPr/>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53467" t="-21609" r="-48007" b="-21586"/>
            <a:stretch/>
          </p:blipFill>
          <p:spPr>
            <a:xfrm>
              <a:off x="8003187" y="6080864"/>
              <a:ext cx="244475" cy="244475"/>
            </a:xfrm>
            <a:prstGeom prst="rect">
              <a:avLst/>
            </a:prstGeom>
          </p:spPr>
        </p:pic>
      </p:grpSp>
      <p:sp>
        <p:nvSpPr>
          <p:cNvPr id="17" name="Rectangle 16">
            <a:extLst>
              <a:ext uri="{FF2B5EF4-FFF2-40B4-BE49-F238E27FC236}">
                <a16:creationId xmlns:a16="http://schemas.microsoft.com/office/drawing/2014/main" id="{B8159400-387C-7713-2C61-CF177E146ECD}"/>
              </a:ext>
            </a:extLst>
          </p:cNvPr>
          <p:cNvSpPr/>
          <p:nvPr/>
        </p:nvSpPr>
        <p:spPr>
          <a:xfrm>
            <a:off x="5591797" y="6250064"/>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hlinkClick r:id="rId9"/>
            <a:extLst>
              <a:ext uri="{FF2B5EF4-FFF2-40B4-BE49-F238E27FC236}">
                <a16:creationId xmlns:a16="http://schemas.microsoft.com/office/drawing/2014/main" id="{25E85C23-BAC7-71F3-C3C1-7C1792BDDE27}"/>
              </a:ext>
            </a:extLst>
          </p:cNvPr>
          <p:cNvPicPr>
            <a:picLocks noChangeAspect="1"/>
          </p:cNvPicPr>
          <p:nvPr/>
        </p:nvPicPr>
        <p:blipFill>
          <a:blip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95589" y="6250064"/>
            <a:ext cx="244475" cy="244475"/>
          </a:xfrm>
          <a:prstGeom prst="rect">
            <a:avLst/>
          </a:prstGeom>
        </p:spPr>
      </p:pic>
      <p:sp>
        <p:nvSpPr>
          <p:cNvPr id="19" name="Rectangle 18">
            <a:extLst>
              <a:ext uri="{FF2B5EF4-FFF2-40B4-BE49-F238E27FC236}">
                <a16:creationId xmlns:a16="http://schemas.microsoft.com/office/drawing/2014/main" id="{455422A3-A8C5-CF30-1D82-095EF83F7DA2}"/>
              </a:ext>
            </a:extLst>
          </p:cNvPr>
          <p:cNvSpPr/>
          <p:nvPr/>
        </p:nvSpPr>
        <p:spPr>
          <a:xfrm>
            <a:off x="5996256" y="6250064"/>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hlinkClick r:id="rId11"/>
            <a:extLst>
              <a:ext uri="{FF2B5EF4-FFF2-40B4-BE49-F238E27FC236}">
                <a16:creationId xmlns:a16="http://schemas.microsoft.com/office/drawing/2014/main" id="{E2159F84-3B30-2ACC-50D0-4098358D58F3}"/>
              </a:ext>
            </a:extLst>
          </p:cNvPr>
          <p:cNvPicPr>
            <a:picLocks noChangeAspect="1"/>
          </p:cNvPicPr>
          <p:nvPr/>
        </p:nvPicPr>
        <p:blipFill>
          <a:blip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996256" y="6250064"/>
            <a:ext cx="244475" cy="244475"/>
          </a:xfrm>
          <a:prstGeom prst="rect">
            <a:avLst/>
          </a:prstGeom>
        </p:spPr>
      </p:pic>
      <p:sp>
        <p:nvSpPr>
          <p:cNvPr id="21" name="Rectangle 20">
            <a:extLst>
              <a:ext uri="{FF2B5EF4-FFF2-40B4-BE49-F238E27FC236}">
                <a16:creationId xmlns:a16="http://schemas.microsoft.com/office/drawing/2014/main" id="{66C501EF-D3F3-F26E-34B0-5FF197E4DC51}"/>
              </a:ext>
            </a:extLst>
          </p:cNvPr>
          <p:cNvSpPr/>
          <p:nvPr/>
        </p:nvSpPr>
        <p:spPr>
          <a:xfrm>
            <a:off x="6396923" y="6250061"/>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hlinkClick r:id="rId13"/>
            <a:extLst>
              <a:ext uri="{FF2B5EF4-FFF2-40B4-BE49-F238E27FC236}">
                <a16:creationId xmlns:a16="http://schemas.microsoft.com/office/drawing/2014/main" id="{14DDF214-1F64-81B2-0073-D7330E4C55C0}"/>
              </a:ext>
            </a:extLst>
          </p:cNvPr>
          <p:cNvPicPr>
            <a:picLocks noChangeAspect="1"/>
          </p:cNvPicPr>
          <p:nvPr/>
        </p:nvPicPr>
        <p:blipFill>
          <a:blip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396923" y="6250064"/>
            <a:ext cx="244475" cy="244475"/>
          </a:xfrm>
          <a:prstGeom prst="rect">
            <a:avLst/>
          </a:prstGeom>
        </p:spPr>
      </p:pic>
      <p:cxnSp>
        <p:nvCxnSpPr>
          <p:cNvPr id="23" name="Straight Connector 22">
            <a:extLst>
              <a:ext uri="{FF2B5EF4-FFF2-40B4-BE49-F238E27FC236}">
                <a16:creationId xmlns:a16="http://schemas.microsoft.com/office/drawing/2014/main" id="{90DF5CD8-9117-9E80-4979-B467277D1D3B}"/>
              </a:ext>
            </a:extLst>
          </p:cNvPr>
          <p:cNvCxnSpPr>
            <a:cxnSpLocks/>
          </p:cNvCxnSpPr>
          <p:nvPr/>
        </p:nvCxnSpPr>
        <p:spPr>
          <a:xfrm>
            <a:off x="0" y="6378118"/>
            <a:ext cx="49403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B52560C-E9CB-F026-70E9-EA0525A95FB9}"/>
              </a:ext>
            </a:extLst>
          </p:cNvPr>
          <p:cNvCxnSpPr>
            <a:cxnSpLocks/>
          </p:cNvCxnSpPr>
          <p:nvPr/>
        </p:nvCxnSpPr>
        <p:spPr>
          <a:xfrm>
            <a:off x="7195998" y="6378118"/>
            <a:ext cx="49960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Footer Placeholder 6">
            <a:extLst>
              <a:ext uri="{FF2B5EF4-FFF2-40B4-BE49-F238E27FC236}">
                <a16:creationId xmlns:a16="http://schemas.microsoft.com/office/drawing/2014/main" id="{4405A17F-A515-E9C1-5671-3172AA552672}"/>
              </a:ext>
            </a:extLst>
          </p:cNvPr>
          <p:cNvSpPr txBox="1">
            <a:spLocks/>
          </p:cNvSpPr>
          <p:nvPr/>
        </p:nvSpPr>
        <p:spPr>
          <a:xfrm>
            <a:off x="10556224" y="6486382"/>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a:solidFill>
                  <a:schemeClr val="bg1"/>
                </a:solidFill>
                <a:latin typeface="+mj-lt"/>
                <a:ea typeface="Open Sans" panose="020B0606030504020204" pitchFamily="34" charset="0"/>
                <a:cs typeface="Open Sans" panose="020B0606030504020204" pitchFamily="34" charset="0"/>
              </a:rPr>
              <a:t>© 2024 Birlasoft</a:t>
            </a:r>
          </a:p>
        </p:txBody>
      </p:sp>
      <p:sp>
        <p:nvSpPr>
          <p:cNvPr id="3" name="Title 3">
            <a:extLst>
              <a:ext uri="{FF2B5EF4-FFF2-40B4-BE49-F238E27FC236}">
                <a16:creationId xmlns:a16="http://schemas.microsoft.com/office/drawing/2014/main" id="{1D13F061-2F44-F1E6-CE9A-90790B3AFF14}"/>
              </a:ext>
            </a:extLst>
          </p:cNvPr>
          <p:cNvSpPr>
            <a:spLocks noGrp="1"/>
          </p:cNvSpPr>
          <p:nvPr>
            <p:ph type="title" hasCustomPrompt="1"/>
          </p:nvPr>
        </p:nvSpPr>
        <p:spPr>
          <a:xfrm>
            <a:off x="670844" y="3466142"/>
            <a:ext cx="5425156" cy="1055060"/>
          </a:xfrm>
          <a:prstGeom prst="rect">
            <a:avLst/>
          </a:prstGeom>
        </p:spPr>
        <p:txBody>
          <a:bodyPr/>
          <a:lstStyle>
            <a:lvl1pPr>
              <a:defRPr sz="7200" b="1">
                <a:solidFill>
                  <a:schemeClr val="bg1"/>
                </a:solidFill>
                <a:latin typeface="+mj-lt"/>
                <a:ea typeface="Open Sans SemiBold" panose="020B0706030804020204" pitchFamily="34" charset="0"/>
                <a:cs typeface="Open Sans SemiBold" panose="020B0706030804020204" pitchFamily="34" charset="0"/>
              </a:defRPr>
            </a:lvl1pPr>
          </a:lstStyle>
          <a:p>
            <a:r>
              <a:rPr lang="en-US"/>
              <a:t>Thank You</a:t>
            </a:r>
          </a:p>
        </p:txBody>
      </p:sp>
      <p:pic>
        <p:nvPicPr>
          <p:cNvPr id="8" name="Picture 7" descr="Shape, arrow&#10;&#10;Description automatically generated">
            <a:extLst>
              <a:ext uri="{FF2B5EF4-FFF2-40B4-BE49-F238E27FC236}">
                <a16:creationId xmlns:a16="http://schemas.microsoft.com/office/drawing/2014/main" id="{48DB124B-4A26-FF5B-18D9-4F14551712ED}"/>
              </a:ext>
            </a:extLst>
          </p:cNvPr>
          <p:cNvPicPr>
            <a:picLocks noChangeAspect="1"/>
          </p:cNvPicPr>
          <p:nvPr/>
        </p:nvPicPr>
        <p:blipFill>
          <a:blip r:embed="rId15" cstate="print">
            <a:extLst>
              <a:ext uri="{BEBA8EAE-BF5A-486C-A8C5-ECC9F3942E4B}">
                <a14:imgProps xmlns:a14="http://schemas.microsoft.com/office/drawing/2010/main">
                  <a14:imgLayer r:embed="rId16">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9208229" y="690377"/>
            <a:ext cx="1786655" cy="1659147"/>
          </a:xfrm>
          <a:prstGeom prst="rect">
            <a:avLst/>
          </a:prstGeom>
          <a:effectLst>
            <a:outerShdw blurRad="558800" dist="241300" dir="6000000" sx="97000" sy="97000" algn="ctr" rotWithShape="0">
              <a:srgbClr val="000000">
                <a:alpha val="73000"/>
              </a:srgbClr>
            </a:outerShdw>
          </a:effectLst>
        </p:spPr>
      </p:pic>
    </p:spTree>
    <p:extLst>
      <p:ext uri="{BB962C8B-B14F-4D97-AF65-F5344CB8AC3E}">
        <p14:creationId xmlns:p14="http://schemas.microsoft.com/office/powerpoint/2010/main" val="28456427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02114A-220B-4640-A5BF-0515D4CC8E14}"/>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52649A3-16F9-41C3-BA43-28809743B4F5}"/>
              </a:ext>
            </a:extLst>
          </p:cNvPr>
          <p:cNvSpPr/>
          <p:nvPr/>
        </p:nvSpPr>
        <p:spPr>
          <a:xfrm>
            <a:off x="0" y="1557571"/>
            <a:ext cx="5581650" cy="5391047"/>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3" name="Picture 12" descr="A person touching a large display of colorful squares&#10;&#10;Description automatically generated">
            <a:extLst>
              <a:ext uri="{FF2B5EF4-FFF2-40B4-BE49-F238E27FC236}">
                <a16:creationId xmlns:a16="http://schemas.microsoft.com/office/drawing/2014/main" id="{6407A5F0-3402-41D7-BADE-A8DC1D4A78E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5810"/>
          <a:stretch/>
        </p:blipFill>
        <p:spPr>
          <a:xfrm>
            <a:off x="3605717" y="1557572"/>
            <a:ext cx="8586283" cy="5391046"/>
          </a:xfrm>
          <a:prstGeom prst="rect">
            <a:avLst/>
          </a:prstGeom>
        </p:spPr>
      </p:pic>
      <p:pic>
        <p:nvPicPr>
          <p:cNvPr id="8" name="Graphic 7">
            <a:extLst>
              <a:ext uri="{FF2B5EF4-FFF2-40B4-BE49-F238E27FC236}">
                <a16:creationId xmlns:a16="http://schemas.microsoft.com/office/drawing/2014/main" id="{130562DD-073F-46B6-0AFB-C6AA97B1F9EE}"/>
              </a:ext>
            </a:extLst>
          </p:cNvPr>
          <p:cNvPicPr>
            <a:picLocks noChangeAspect="1"/>
          </p:cNvPicPr>
          <p:nvPr/>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9498" t="26725" r="9235" b="25469"/>
          <a:stretch/>
        </p:blipFill>
        <p:spPr>
          <a:xfrm>
            <a:off x="514350" y="516172"/>
            <a:ext cx="1955800" cy="525227"/>
          </a:xfrm>
          <a:prstGeom prst="rect">
            <a:avLst/>
          </a:prstGeom>
        </p:spPr>
      </p:pic>
      <p:sp>
        <p:nvSpPr>
          <p:cNvPr id="2" name="Title 3">
            <a:extLst>
              <a:ext uri="{FF2B5EF4-FFF2-40B4-BE49-F238E27FC236}">
                <a16:creationId xmlns:a16="http://schemas.microsoft.com/office/drawing/2014/main" id="{181AE752-3AC1-F5D5-B035-A8D128A737F1}"/>
              </a:ext>
            </a:extLst>
          </p:cNvPr>
          <p:cNvSpPr>
            <a:spLocks noGrp="1"/>
          </p:cNvSpPr>
          <p:nvPr>
            <p:ph type="title" hasCustomPrompt="1"/>
          </p:nvPr>
        </p:nvSpPr>
        <p:spPr>
          <a:xfrm>
            <a:off x="514350" y="2164998"/>
            <a:ext cx="3898319" cy="1484881"/>
          </a:xfrm>
          <a:prstGeom prst="rect">
            <a:avLst/>
          </a:prstGeom>
        </p:spPr>
        <p:txBody>
          <a:bodyPr>
            <a:normAutofit/>
          </a:bodyPr>
          <a:lstStyle>
            <a:lvl1pPr>
              <a:defRPr sz="3600" b="1">
                <a:solidFill>
                  <a:schemeClr val="bg1"/>
                </a:solidFill>
              </a:defRPr>
            </a:lvl1pPr>
          </a:lstStyle>
          <a:p>
            <a:r>
              <a:rPr lang="en-US"/>
              <a:t>Title Goes here</a:t>
            </a:r>
            <a:endParaRPr lang="en-IN"/>
          </a:p>
        </p:txBody>
      </p:sp>
      <p:sp>
        <p:nvSpPr>
          <p:cNvPr id="3" name="Text Placeholder 10">
            <a:extLst>
              <a:ext uri="{FF2B5EF4-FFF2-40B4-BE49-F238E27FC236}">
                <a16:creationId xmlns:a16="http://schemas.microsoft.com/office/drawing/2014/main" id="{D9E2A3FF-6B9A-00A4-F27D-721BA5469C79}"/>
              </a:ext>
            </a:extLst>
          </p:cNvPr>
          <p:cNvSpPr>
            <a:spLocks noGrp="1"/>
          </p:cNvSpPr>
          <p:nvPr>
            <p:ph type="body" sz="quarter" idx="10" hasCustomPrompt="1"/>
          </p:nvPr>
        </p:nvSpPr>
        <p:spPr>
          <a:xfrm>
            <a:off x="514350" y="3895952"/>
            <a:ext cx="3898900" cy="341512"/>
          </a:xfrm>
          <a:prstGeom prst="rect">
            <a:avLst/>
          </a:prstGeom>
        </p:spPr>
        <p:txBody>
          <a:bodyPr>
            <a:normAutofit/>
          </a:bodyPr>
          <a:lstStyle>
            <a:lvl1pPr marL="0" indent="0">
              <a:buNone/>
              <a:defRPr lang="en-US" sz="2400" dirty="0">
                <a:solidFill>
                  <a:schemeClr val="bg1"/>
                </a:solidFill>
              </a:defRPr>
            </a:lvl1pPr>
          </a:lstStyle>
          <a:p>
            <a:pPr lvl="0"/>
            <a:r>
              <a:rPr lang="en-US"/>
              <a:t>Sub-Head</a:t>
            </a:r>
          </a:p>
        </p:txBody>
      </p:sp>
      <p:sp>
        <p:nvSpPr>
          <p:cNvPr id="5" name="Text Placeholder 18">
            <a:extLst>
              <a:ext uri="{FF2B5EF4-FFF2-40B4-BE49-F238E27FC236}">
                <a16:creationId xmlns:a16="http://schemas.microsoft.com/office/drawing/2014/main" id="{E388DBB5-2B54-B572-5A45-A4E8C18195B0}"/>
              </a:ext>
            </a:extLst>
          </p:cNvPr>
          <p:cNvSpPr>
            <a:spLocks noGrp="1"/>
          </p:cNvSpPr>
          <p:nvPr>
            <p:ph type="body" sz="quarter" idx="11" hasCustomPrompt="1"/>
          </p:nvPr>
        </p:nvSpPr>
        <p:spPr>
          <a:xfrm>
            <a:off x="514350" y="5357194"/>
            <a:ext cx="3898319" cy="268454"/>
          </a:xfrm>
          <a:prstGeom prst="rect">
            <a:avLst/>
          </a:prstGeom>
        </p:spPr>
        <p:txBody>
          <a:bodyPr>
            <a:noAutofit/>
          </a:bodyPr>
          <a:lstStyle>
            <a:lvl1pPr marL="0" indent="0">
              <a:buFont typeface="Arial" panose="020B0604020202020204" pitchFamily="34" charset="0"/>
              <a:buNone/>
              <a:defRPr lang="en-US" sz="1400"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lvl="0"/>
            <a:r>
              <a:rPr lang="en-US"/>
              <a:t>Date</a:t>
            </a:r>
          </a:p>
        </p:txBody>
      </p:sp>
      <p:sp>
        <p:nvSpPr>
          <p:cNvPr id="14" name="TextBox 13">
            <a:extLst>
              <a:ext uri="{FF2B5EF4-FFF2-40B4-BE49-F238E27FC236}">
                <a16:creationId xmlns:a16="http://schemas.microsoft.com/office/drawing/2014/main" id="{7A2070CA-BD80-F837-1A73-A0D6ED2BDE31}"/>
              </a:ext>
            </a:extLst>
          </p:cNvPr>
          <p:cNvSpPr txBox="1"/>
          <p:nvPr/>
        </p:nvSpPr>
        <p:spPr>
          <a:xfrm>
            <a:off x="514350" y="6401434"/>
            <a:ext cx="1749043" cy="200055"/>
          </a:xfrm>
          <a:prstGeom prst="rect">
            <a:avLst/>
          </a:prstGeom>
          <a:noFill/>
        </p:spPr>
        <p:txBody>
          <a:bodyPr wrap="square" rtlCol="0">
            <a:spAutoFit/>
          </a:bodyPr>
          <a:lstStyle/>
          <a:p>
            <a:r>
              <a:rPr lang="en-IN" sz="700">
                <a:solidFill>
                  <a:schemeClr val="bg1"/>
                </a:solidFill>
              </a:rPr>
              <a:t>© 2024 Birlasoft</a:t>
            </a:r>
          </a:p>
        </p:txBody>
      </p:sp>
      <p:pic>
        <p:nvPicPr>
          <p:cNvPr id="10" name="Graphic 9">
            <a:extLst>
              <a:ext uri="{FF2B5EF4-FFF2-40B4-BE49-F238E27FC236}">
                <a16:creationId xmlns:a16="http://schemas.microsoft.com/office/drawing/2014/main" id="{48034448-A875-2E00-5A76-7ABD669BF4FF}"/>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4350" y="6255269"/>
            <a:ext cx="357573" cy="86559"/>
          </a:xfrm>
          <a:prstGeom prst="rect">
            <a:avLst/>
          </a:prstGeom>
        </p:spPr>
      </p:pic>
    </p:spTree>
    <p:extLst>
      <p:ext uri="{BB962C8B-B14F-4D97-AF65-F5344CB8AC3E}">
        <p14:creationId xmlns:p14="http://schemas.microsoft.com/office/powerpoint/2010/main" val="389825311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Only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lgn="l" defTabSz="914363" rtl="0" eaLnBrk="1" latinLnBrk="0" hangingPunct="1">
              <a:lnSpc>
                <a:spcPct val="90000"/>
              </a:lnSpc>
              <a:spcBef>
                <a:spcPct val="0"/>
              </a:spcBef>
              <a:buNone/>
              <a:defRPr lang="en-IN" sz="3200" b="1" kern="1200" dirty="0">
                <a:solidFill>
                  <a:schemeClr val="accent1"/>
                </a:solidFill>
                <a:latin typeface="+mj-lt"/>
                <a:ea typeface="+mj-ea"/>
                <a:cs typeface="+mj-cs"/>
              </a:defRPr>
            </a:lvl1pPr>
          </a:lstStyle>
          <a:p>
            <a:r>
              <a:rPr lang="en-US"/>
              <a:t>Title</a:t>
            </a:r>
            <a:endParaRPr lang="en-IN"/>
          </a:p>
        </p:txBody>
      </p:sp>
      <p:sp>
        <p:nvSpPr>
          <p:cNvPr id="3" name="Date Placeholder 3">
            <a:extLst>
              <a:ext uri="{FF2B5EF4-FFF2-40B4-BE49-F238E27FC236}">
                <a16:creationId xmlns:a16="http://schemas.microsoft.com/office/drawing/2014/main" id="{268DE237-4905-4F63-A2F8-65F73F8451F5}"/>
              </a:ext>
            </a:extLst>
          </p:cNvPr>
          <p:cNvSpPr>
            <a:spLocks noGrp="1"/>
          </p:cNvSpPr>
          <p:nvPr>
            <p:ph type="dt" sz="half" idx="2"/>
          </p:nvPr>
        </p:nvSpPr>
        <p:spPr>
          <a:xfrm>
            <a:off x="818434" y="6548225"/>
            <a:ext cx="816691" cy="189900"/>
          </a:xfrm>
          <a:prstGeom prst="rect">
            <a:avLst/>
          </a:prstGeom>
        </p:spPr>
        <p:txBody>
          <a:bodyPr vert="horz" lIns="91440" tIns="45720" rIns="91440" bIns="45720" rtlCol="0" anchor="ctr"/>
          <a:lstStyle>
            <a:lvl1pPr marL="0" algn="l" defTabSz="914400" rtl="0" eaLnBrk="1" latinLnBrk="0" hangingPunct="1">
              <a:lnSpc>
                <a:spcPct val="90000"/>
              </a:lnSpc>
              <a:spcBef>
                <a:spcPct val="0"/>
              </a:spcBef>
              <a:buNone/>
              <a:defRPr lang="en-IN" sz="800" kern="1200" smtClean="0">
                <a:solidFill>
                  <a:schemeClr val="tx2"/>
                </a:solidFill>
                <a:latin typeface="+mj-lt"/>
                <a:ea typeface="Cambria" panose="02040503050406030204" pitchFamily="18" charset="0"/>
                <a:cs typeface="Calibri" charset="0"/>
              </a:defRPr>
            </a:lvl1pPr>
          </a:lstStyle>
          <a:p>
            <a:fld id="{EB00846E-F1CE-4A0F-9384-21BC99189835}" type="datetime1">
              <a:rPr lang="en-US" smtClean="0"/>
              <a:t>5/25/2026</a:t>
            </a:fld>
            <a:endParaRPr lang="en-US"/>
          </a:p>
        </p:txBody>
      </p:sp>
    </p:spTree>
    <p:extLst>
      <p:ext uri="{BB962C8B-B14F-4D97-AF65-F5344CB8AC3E}">
        <p14:creationId xmlns:p14="http://schemas.microsoft.com/office/powerpoint/2010/main" val="3293063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vider slide 2">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7FF3FB63-3D02-415C-A2C5-02C3BAA749D9}"/>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1"/>
            <a:ext cx="12192000" cy="637177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8A7095A6-FF7E-4F9F-AFE8-F3A284C32F5E}"/>
              </a:ext>
            </a:extLst>
          </p:cNvPr>
          <p:cNvSpPr/>
          <p:nvPr/>
        </p:nvSpPr>
        <p:spPr>
          <a:xfrm>
            <a:off x="0" y="1"/>
            <a:ext cx="12192000" cy="6386286"/>
          </a:xfrm>
          <a:prstGeom prst="rect">
            <a:avLst/>
          </a:prstGeom>
          <a:solidFill>
            <a:schemeClr val="tx1">
              <a:lumMod val="65000"/>
              <a:lumOff val="35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2A869E75-A486-4EF6-9763-4B8DBE34422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962650" y="4762500"/>
            <a:ext cx="6229350" cy="2095500"/>
          </a:xfrm>
          <a:prstGeom prst="rect">
            <a:avLst/>
          </a:prstGeom>
        </p:spPr>
      </p:pic>
      <p:sp>
        <p:nvSpPr>
          <p:cNvPr id="19" name="Rectangle 18">
            <a:extLst>
              <a:ext uri="{FF2B5EF4-FFF2-40B4-BE49-F238E27FC236}">
                <a16:creationId xmlns:a16="http://schemas.microsoft.com/office/drawing/2014/main" id="{D1491FAA-15B5-4F95-8FDA-D5BFF32EA41F}"/>
              </a:ext>
            </a:extLst>
          </p:cNvPr>
          <p:cNvSpPr/>
          <p:nvPr userDrawn="1"/>
        </p:nvSpPr>
        <p:spPr>
          <a:xfrm>
            <a:off x="956840" y="6414279"/>
            <a:ext cx="5139159" cy="443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2469F6-D9E6-4B7D-A3CE-6DAE592BC6FF}"/>
              </a:ext>
            </a:extLst>
          </p:cNvPr>
          <p:cNvSpPr>
            <a:spLocks noGrp="1"/>
          </p:cNvSpPr>
          <p:nvPr>
            <p:ph type="title" hasCustomPrompt="1"/>
          </p:nvPr>
        </p:nvSpPr>
        <p:spPr>
          <a:xfrm>
            <a:off x="956841" y="2129415"/>
            <a:ext cx="8765857" cy="2231458"/>
          </a:xfrm>
        </p:spPr>
        <p:txBody>
          <a:bodyPr>
            <a:noAutofit/>
          </a:bodyPr>
          <a:lstStyle>
            <a:lvl1pPr>
              <a:defRPr sz="4000" b="1">
                <a:solidFill>
                  <a:schemeClr val="bg1"/>
                </a:solidFill>
              </a:defRPr>
            </a:lvl1pPr>
          </a:lstStyle>
          <a:p>
            <a:r>
              <a:rPr lang="en-US"/>
              <a:t>Divider slide</a:t>
            </a:r>
          </a:p>
        </p:txBody>
      </p:sp>
      <p:pic>
        <p:nvPicPr>
          <p:cNvPr id="20" name="Graphic 19">
            <a:extLst>
              <a:ext uri="{FF2B5EF4-FFF2-40B4-BE49-F238E27FC236}">
                <a16:creationId xmlns:a16="http://schemas.microsoft.com/office/drawing/2014/main" id="{B095D0A0-4EFC-491C-8974-F4783238D9B5}"/>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89165" y="5276442"/>
            <a:ext cx="2232476" cy="1019174"/>
          </a:xfrm>
          <a:prstGeom prst="rect">
            <a:avLst/>
          </a:prstGeom>
        </p:spPr>
      </p:pic>
      <p:grpSp>
        <p:nvGrpSpPr>
          <p:cNvPr id="26" name="Group 25">
            <a:extLst>
              <a:ext uri="{FF2B5EF4-FFF2-40B4-BE49-F238E27FC236}">
                <a16:creationId xmlns:a16="http://schemas.microsoft.com/office/drawing/2014/main" id="{A7DF6795-9669-46CB-B4BF-EBFB5E011375}"/>
              </a:ext>
            </a:extLst>
          </p:cNvPr>
          <p:cNvGrpSpPr/>
          <p:nvPr/>
        </p:nvGrpSpPr>
        <p:grpSpPr>
          <a:xfrm>
            <a:off x="1010144" y="5113648"/>
            <a:ext cx="2296937" cy="52078"/>
            <a:chOff x="1" y="5094650"/>
            <a:chExt cx="3288795" cy="445367"/>
          </a:xfrm>
        </p:grpSpPr>
        <p:sp>
          <p:nvSpPr>
            <p:cNvPr id="27" name="Freeform: Shape 26">
              <a:extLst>
                <a:ext uri="{FF2B5EF4-FFF2-40B4-BE49-F238E27FC236}">
                  <a16:creationId xmlns:a16="http://schemas.microsoft.com/office/drawing/2014/main" id="{06F92297-B182-4F6C-A19C-4B58748F0B31}"/>
                </a:ext>
              </a:extLst>
            </p:cNvPr>
            <p:cNvSpPr/>
            <p:nvPr/>
          </p:nvSpPr>
          <p:spPr>
            <a:xfrm>
              <a:off x="1" y="5094650"/>
              <a:ext cx="986596" cy="445367"/>
            </a:xfrm>
            <a:custGeom>
              <a:avLst/>
              <a:gdLst>
                <a:gd name="connsiteX0" fmla="*/ 0 w 986596"/>
                <a:gd name="connsiteY0" fmla="*/ 0 h 445367"/>
                <a:gd name="connsiteX1" fmla="*/ 986597 w 986596"/>
                <a:gd name="connsiteY1" fmla="*/ 0 h 445367"/>
                <a:gd name="connsiteX2" fmla="*/ 986597 w 986596"/>
                <a:gd name="connsiteY2" fmla="*/ 445368 h 445367"/>
                <a:gd name="connsiteX3" fmla="*/ 0 w 986596"/>
                <a:gd name="connsiteY3" fmla="*/ 445368 h 445367"/>
              </a:gdLst>
              <a:ahLst/>
              <a:cxnLst>
                <a:cxn ang="0">
                  <a:pos x="connsiteX0" y="connsiteY0"/>
                </a:cxn>
                <a:cxn ang="0">
                  <a:pos x="connsiteX1" y="connsiteY1"/>
                </a:cxn>
                <a:cxn ang="0">
                  <a:pos x="connsiteX2" y="connsiteY2"/>
                </a:cxn>
                <a:cxn ang="0">
                  <a:pos x="connsiteX3" y="connsiteY3"/>
                </a:cxn>
              </a:cxnLst>
              <a:rect l="l" t="t" r="r" b="b"/>
              <a:pathLst>
                <a:path w="986596" h="445367">
                  <a:moveTo>
                    <a:pt x="0" y="0"/>
                  </a:moveTo>
                  <a:lnTo>
                    <a:pt x="986597" y="0"/>
                  </a:lnTo>
                  <a:lnTo>
                    <a:pt x="986597" y="445368"/>
                  </a:lnTo>
                  <a:lnTo>
                    <a:pt x="0" y="445368"/>
                  </a:lnTo>
                  <a:close/>
                </a:path>
              </a:pathLst>
            </a:custGeom>
            <a:solidFill>
              <a:srgbClr val="4A4B4C"/>
            </a:solidFill>
            <a:ln w="21004" cap="flat">
              <a:noFill/>
              <a:prstDash val="solid"/>
              <a:miter/>
            </a:ln>
          </p:spPr>
          <p:txBody>
            <a:bodyPr rtlCol="0" anchor="ctr"/>
            <a:lstStyle/>
            <a:p>
              <a:endParaRPr lang="en-US" sz="2160"/>
            </a:p>
          </p:txBody>
        </p:sp>
        <p:sp>
          <p:nvSpPr>
            <p:cNvPr id="28" name="Freeform: Shape 27">
              <a:extLst>
                <a:ext uri="{FF2B5EF4-FFF2-40B4-BE49-F238E27FC236}">
                  <a16:creationId xmlns:a16="http://schemas.microsoft.com/office/drawing/2014/main" id="{43BD15B4-B9FD-4641-961A-B72CE24BF5B4}"/>
                </a:ext>
              </a:extLst>
            </p:cNvPr>
            <p:cNvSpPr/>
            <p:nvPr/>
          </p:nvSpPr>
          <p:spPr>
            <a:xfrm>
              <a:off x="986597" y="5094650"/>
              <a:ext cx="2302199" cy="445367"/>
            </a:xfrm>
            <a:custGeom>
              <a:avLst/>
              <a:gdLst>
                <a:gd name="connsiteX0" fmla="*/ 0 w 2302199"/>
                <a:gd name="connsiteY0" fmla="*/ 0 h 445367"/>
                <a:gd name="connsiteX1" fmla="*/ 2302199 w 2302199"/>
                <a:gd name="connsiteY1" fmla="*/ 0 h 445367"/>
                <a:gd name="connsiteX2" fmla="*/ 2302199 w 2302199"/>
                <a:gd name="connsiteY2" fmla="*/ 445368 h 445367"/>
                <a:gd name="connsiteX3" fmla="*/ 0 w 2302199"/>
                <a:gd name="connsiteY3" fmla="*/ 445368 h 445367"/>
              </a:gdLst>
              <a:ahLst/>
              <a:cxnLst>
                <a:cxn ang="0">
                  <a:pos x="connsiteX0" y="connsiteY0"/>
                </a:cxn>
                <a:cxn ang="0">
                  <a:pos x="connsiteX1" y="connsiteY1"/>
                </a:cxn>
                <a:cxn ang="0">
                  <a:pos x="connsiteX2" y="connsiteY2"/>
                </a:cxn>
                <a:cxn ang="0">
                  <a:pos x="connsiteX3" y="connsiteY3"/>
                </a:cxn>
              </a:cxnLst>
              <a:rect l="l" t="t" r="r" b="b"/>
              <a:pathLst>
                <a:path w="2302199" h="445367">
                  <a:moveTo>
                    <a:pt x="0" y="0"/>
                  </a:moveTo>
                  <a:lnTo>
                    <a:pt x="2302199" y="0"/>
                  </a:lnTo>
                  <a:lnTo>
                    <a:pt x="2302199" y="445368"/>
                  </a:lnTo>
                  <a:lnTo>
                    <a:pt x="0" y="445368"/>
                  </a:lnTo>
                  <a:close/>
                </a:path>
              </a:pathLst>
            </a:custGeom>
            <a:solidFill>
              <a:srgbClr val="E91C24"/>
            </a:solidFill>
            <a:ln w="21004" cap="flat">
              <a:noFill/>
              <a:prstDash val="solid"/>
              <a:miter/>
            </a:ln>
          </p:spPr>
          <p:txBody>
            <a:bodyPr rtlCol="0" anchor="ctr"/>
            <a:lstStyle/>
            <a:p>
              <a:endParaRPr lang="en-US" sz="2160"/>
            </a:p>
          </p:txBody>
        </p:sp>
      </p:grpSp>
      <p:sp>
        <p:nvSpPr>
          <p:cNvPr id="6" name="TextBox 5">
            <a:extLst>
              <a:ext uri="{FF2B5EF4-FFF2-40B4-BE49-F238E27FC236}">
                <a16:creationId xmlns:a16="http://schemas.microsoft.com/office/drawing/2014/main" id="{5095EF4D-872A-0E81-DBFB-AD4F46FF0A47}"/>
              </a:ext>
            </a:extLst>
          </p:cNvPr>
          <p:cNvSpPr txBox="1"/>
          <p:nvPr userDrawn="1"/>
        </p:nvSpPr>
        <p:spPr>
          <a:xfrm>
            <a:off x="859369" y="6495000"/>
            <a:ext cx="990600" cy="200055"/>
          </a:xfrm>
          <a:prstGeom prst="rect">
            <a:avLst/>
          </a:prstGeom>
          <a:noFill/>
        </p:spPr>
        <p:txBody>
          <a:bodyPr wrap="square">
            <a:spAutoFit/>
          </a:bodyPr>
          <a:lstStyle/>
          <a:p>
            <a:r>
              <a:rPr lang="en-IN" sz="700" dirty="0"/>
              <a:t>© 2026 Birlasoft</a:t>
            </a:r>
          </a:p>
        </p:txBody>
      </p:sp>
    </p:spTree>
    <p:extLst>
      <p:ext uri="{BB962C8B-B14F-4D97-AF65-F5344CB8AC3E}">
        <p14:creationId xmlns:p14="http://schemas.microsoft.com/office/powerpoint/2010/main" val="2487806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and Content_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lgn="l" defTabSz="914363" rtl="0" eaLnBrk="1" latinLnBrk="0" hangingPunct="1">
              <a:lnSpc>
                <a:spcPct val="90000"/>
              </a:lnSpc>
              <a:spcBef>
                <a:spcPct val="0"/>
              </a:spcBef>
              <a:buNone/>
              <a:defRPr lang="en-IN" sz="3200" b="1" kern="1200" dirty="0">
                <a:solidFill>
                  <a:schemeClr val="accent1"/>
                </a:solidFill>
                <a:latin typeface="+mj-lt"/>
                <a:ea typeface="+mj-ea"/>
                <a:cs typeface="+mj-cs"/>
              </a:defRPr>
            </a:lvl1pPr>
          </a:lstStyle>
          <a:p>
            <a:r>
              <a:rPr lang="en-US"/>
              <a:t>Title</a:t>
            </a:r>
            <a:endParaRPr lang="en-IN"/>
          </a:p>
        </p:txBody>
      </p:sp>
      <p:sp>
        <p:nvSpPr>
          <p:cNvPr id="3" name="Content Placeholder 2"/>
          <p:cNvSpPr>
            <a:spLocks noGrp="1"/>
          </p:cNvSpPr>
          <p:nvPr>
            <p:ph idx="1"/>
          </p:nvPr>
        </p:nvSpPr>
        <p:spPr>
          <a:xfrm>
            <a:off x="300038" y="981076"/>
            <a:ext cx="11591925" cy="5184775"/>
          </a:xfrm>
        </p:spPr>
        <p:txBody>
          <a:bodyPr/>
          <a:lstStyle>
            <a:lvl1pPr marL="342900" indent="-342900" algn="l" defTabSz="914363" rtl="0" eaLnBrk="1" latinLnBrk="0" hangingPunct="1">
              <a:spcBef>
                <a:spcPts val="600"/>
              </a:spcBef>
              <a:buClr>
                <a:schemeClr val="accent1"/>
              </a:buClr>
              <a:buSzPct val="80000"/>
              <a:buFont typeface="Arial" panose="020B0604020202020204" pitchFamily="34" charset="0"/>
              <a:buChar char="•"/>
              <a:defRPr lang="en-US" sz="2400" kern="1200" dirty="0">
                <a:solidFill>
                  <a:schemeClr val="tx1"/>
                </a:solidFill>
                <a:latin typeface="+mj-lt"/>
                <a:ea typeface="+mn-ea"/>
                <a:cs typeface="+mn-cs"/>
              </a:defRPr>
            </a:lvl1pPr>
            <a:lvl2pPr>
              <a:spcBef>
                <a:spcPts val="600"/>
              </a:spcBef>
              <a:buClr>
                <a:schemeClr val="accent1"/>
              </a:buClr>
              <a:buSzPct val="80000"/>
              <a:defRPr sz="2000">
                <a:solidFill>
                  <a:schemeClr val="tx1"/>
                </a:solidFill>
                <a:latin typeface="+mj-lt"/>
              </a:defRPr>
            </a:lvl2pPr>
            <a:lvl3pPr>
              <a:spcBef>
                <a:spcPts val="600"/>
              </a:spcBef>
              <a:buClr>
                <a:schemeClr val="accent1"/>
              </a:buClr>
              <a:buSzPct val="80000"/>
              <a:defRPr sz="1600">
                <a:solidFill>
                  <a:schemeClr val="tx1"/>
                </a:solidFill>
                <a:latin typeface="+mj-lt"/>
              </a:defRPr>
            </a:lvl3pPr>
            <a:lvl4pPr>
              <a:spcBef>
                <a:spcPts val="600"/>
              </a:spcBef>
              <a:buClr>
                <a:schemeClr val="accent1"/>
              </a:buClr>
              <a:buSzPct val="80000"/>
              <a:defRPr sz="1200">
                <a:solidFill>
                  <a:schemeClr val="tx1"/>
                </a:solidFill>
                <a:latin typeface="+mj-lt"/>
              </a:defRPr>
            </a:lvl4pPr>
            <a:lvl5pPr>
              <a:spcBef>
                <a:spcPts val="600"/>
              </a:spcBef>
              <a:buClr>
                <a:schemeClr val="accent1"/>
              </a:buClr>
              <a:buSzPct val="80000"/>
              <a:defRPr sz="10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Footer Placeholder 3">
            <a:extLst>
              <a:ext uri="{FF2B5EF4-FFF2-40B4-BE49-F238E27FC236}">
                <a16:creationId xmlns:a16="http://schemas.microsoft.com/office/drawing/2014/main" id="{8A1FC4E9-992B-AFDC-3441-76B2F5B04C1B}"/>
              </a:ext>
            </a:extLst>
          </p:cNvPr>
          <p:cNvSpPr>
            <a:spLocks noGrp="1"/>
          </p:cNvSpPr>
          <p:nvPr>
            <p:ph type="ftr" sz="quarter" idx="11"/>
          </p:nvPr>
        </p:nvSpPr>
        <p:spPr>
          <a:xfrm>
            <a:off x="1704974" y="6522535"/>
            <a:ext cx="4114800" cy="229870"/>
          </a:xfrm>
          <a:prstGeom prst="rect">
            <a:avLst/>
          </a:prstGeom>
        </p:spPr>
        <p:txBody>
          <a:bodyPr/>
          <a:lstStyle/>
          <a:p>
            <a:r>
              <a:rPr lang="en-US" dirty="0"/>
              <a:t>© 2023 Birlasoft</a:t>
            </a:r>
          </a:p>
        </p:txBody>
      </p:sp>
      <p:sp>
        <p:nvSpPr>
          <p:cNvPr id="5" name="Slide Number Placeholder 4">
            <a:extLst>
              <a:ext uri="{FF2B5EF4-FFF2-40B4-BE49-F238E27FC236}">
                <a16:creationId xmlns:a16="http://schemas.microsoft.com/office/drawing/2014/main" id="{E1A5F5CE-6079-1D95-AC13-9693FBD38B43}"/>
              </a:ext>
            </a:extLst>
          </p:cNvPr>
          <p:cNvSpPr>
            <a:spLocks noGrp="1"/>
          </p:cNvSpPr>
          <p:nvPr>
            <p:ph type="sldNum" sz="quarter" idx="12"/>
          </p:nvPr>
        </p:nvSpPr>
        <p:spPr>
          <a:xfrm>
            <a:off x="309563" y="6522535"/>
            <a:ext cx="341949" cy="229870"/>
          </a:xfrm>
        </p:spPr>
        <p:txBody>
          <a:bodyPr/>
          <a:lstStyle/>
          <a:p>
            <a:fld id="{CEFFF5CE-EFD5-4053-A4B1-8A29E3AB7AEE}" type="slidenum">
              <a:rPr lang="en-US" smtClean="0"/>
              <a:t>‹#›</a:t>
            </a:fld>
            <a:endParaRPr lang="en-US"/>
          </a:p>
        </p:txBody>
      </p:sp>
      <p:sp>
        <p:nvSpPr>
          <p:cNvPr id="6" name="Date Placeholder 3">
            <a:extLst>
              <a:ext uri="{FF2B5EF4-FFF2-40B4-BE49-F238E27FC236}">
                <a16:creationId xmlns:a16="http://schemas.microsoft.com/office/drawing/2014/main" id="{AF67A043-FE67-FA82-E3B4-A3507EEB10A5}"/>
              </a:ext>
            </a:extLst>
          </p:cNvPr>
          <p:cNvSpPr>
            <a:spLocks noGrp="1"/>
          </p:cNvSpPr>
          <p:nvPr>
            <p:ph type="dt" sz="half" idx="2"/>
          </p:nvPr>
        </p:nvSpPr>
        <p:spPr>
          <a:xfrm>
            <a:off x="830580" y="6519874"/>
            <a:ext cx="695326" cy="232668"/>
          </a:xfrm>
          <a:prstGeom prst="rect">
            <a:avLst/>
          </a:prstGeom>
        </p:spPr>
        <p:txBody>
          <a:bodyPr anchor="ctr"/>
          <a:lstStyle>
            <a:lvl1pPr>
              <a:defRPr sz="800">
                <a:solidFill>
                  <a:schemeClr val="tx1"/>
                </a:solidFill>
                <a:latin typeface="+mn-lt"/>
              </a:defRPr>
            </a:lvl1pPr>
          </a:lstStyle>
          <a:p>
            <a:fld id="{78621726-8D2D-4234-8134-B42FA2F56F6F}" type="datetime1">
              <a:rPr lang="en-US" smtClean="0"/>
              <a:t>5/25/2026</a:t>
            </a:fld>
            <a:endParaRPr lang="en-US"/>
          </a:p>
        </p:txBody>
      </p:sp>
    </p:spTree>
    <p:extLst>
      <p:ext uri="{BB962C8B-B14F-4D97-AF65-F5344CB8AC3E}">
        <p14:creationId xmlns:p14="http://schemas.microsoft.com/office/powerpoint/2010/main" val="30441874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2_Title and Content_Slide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defRPr sz="3200">
                <a:solidFill>
                  <a:schemeClr val="accent1"/>
                </a:solidFill>
              </a:defRPr>
            </a:lvl1pPr>
          </a:lstStyle>
          <a:p>
            <a:r>
              <a:rPr lang="en-US"/>
              <a:t>Title</a:t>
            </a:r>
            <a:endParaRPr lang="en-IN"/>
          </a:p>
        </p:txBody>
      </p:sp>
      <p:sp>
        <p:nvSpPr>
          <p:cNvPr id="3" name="Content Placeholder 2"/>
          <p:cNvSpPr>
            <a:spLocks noGrp="1"/>
          </p:cNvSpPr>
          <p:nvPr>
            <p:ph idx="1"/>
          </p:nvPr>
        </p:nvSpPr>
        <p:spPr>
          <a:xfrm>
            <a:off x="300038" y="1519238"/>
            <a:ext cx="11591925" cy="4646612"/>
          </a:xfrm>
        </p:spPr>
        <p:txBody>
          <a:bodyPr/>
          <a:lstStyle>
            <a:lvl1pPr>
              <a:spcBef>
                <a:spcPts val="600"/>
              </a:spcBef>
              <a:buClr>
                <a:schemeClr val="accent1"/>
              </a:buClr>
              <a:buSzPct val="80000"/>
              <a:defRPr sz="2400">
                <a:solidFill>
                  <a:schemeClr val="tx1"/>
                </a:solidFill>
                <a:latin typeface="+mj-lt"/>
              </a:defRPr>
            </a:lvl1pPr>
            <a:lvl2pPr>
              <a:spcBef>
                <a:spcPts val="600"/>
              </a:spcBef>
              <a:buClr>
                <a:schemeClr val="accent1"/>
              </a:buClr>
              <a:buSzPct val="80000"/>
              <a:defRPr sz="2000">
                <a:solidFill>
                  <a:schemeClr val="tx1"/>
                </a:solidFill>
                <a:latin typeface="+mj-lt"/>
              </a:defRPr>
            </a:lvl2pPr>
            <a:lvl3pPr>
              <a:spcBef>
                <a:spcPts val="600"/>
              </a:spcBef>
              <a:buClr>
                <a:schemeClr val="accent1"/>
              </a:buClr>
              <a:buSzPct val="80000"/>
              <a:defRPr sz="1600">
                <a:solidFill>
                  <a:schemeClr val="tx1"/>
                </a:solidFill>
                <a:latin typeface="+mj-lt"/>
              </a:defRPr>
            </a:lvl3pPr>
            <a:lvl4pPr>
              <a:spcBef>
                <a:spcPts val="600"/>
              </a:spcBef>
              <a:buClr>
                <a:schemeClr val="accent1"/>
              </a:buClr>
              <a:buSzPct val="80000"/>
              <a:defRPr sz="1400">
                <a:solidFill>
                  <a:schemeClr val="tx1"/>
                </a:solidFill>
                <a:latin typeface="+mj-lt"/>
              </a:defRPr>
            </a:lvl4pPr>
            <a:lvl5pPr>
              <a:spcBef>
                <a:spcPts val="600"/>
              </a:spcBef>
              <a:buClr>
                <a:schemeClr val="accent1"/>
              </a:buClr>
              <a:buSzPct val="80000"/>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Text Placeholder 7">
            <a:extLst>
              <a:ext uri="{FF2B5EF4-FFF2-40B4-BE49-F238E27FC236}">
                <a16:creationId xmlns:a16="http://schemas.microsoft.com/office/drawing/2014/main" id="{20EEC7BF-3A77-44B3-843D-BB8C5C0BD32C}"/>
              </a:ext>
            </a:extLst>
          </p:cNvPr>
          <p:cNvSpPr>
            <a:spLocks noGrp="1"/>
          </p:cNvSpPr>
          <p:nvPr>
            <p:ph type="body" sz="quarter" idx="14" hasCustomPrompt="1"/>
          </p:nvPr>
        </p:nvSpPr>
        <p:spPr>
          <a:xfrm>
            <a:off x="300038" y="993776"/>
            <a:ext cx="11591925" cy="365125"/>
          </a:xfrm>
        </p:spPr>
        <p:txBody>
          <a:bodyPr anchor="ctr">
            <a:noAutofit/>
          </a:bodyPr>
          <a:lstStyle>
            <a:lvl1pPr marL="0" indent="0">
              <a:buNone/>
              <a:defRPr sz="2400" b="1">
                <a:solidFill>
                  <a:schemeClr val="tx1"/>
                </a:solidFill>
                <a:latin typeface="+mj-lt"/>
              </a:defRPr>
            </a:lvl1pPr>
          </a:lstStyle>
          <a:p>
            <a:pPr lvl="0"/>
            <a:r>
              <a:rPr lang="en-IN"/>
              <a:t>Subtitle</a:t>
            </a:r>
          </a:p>
        </p:txBody>
      </p:sp>
    </p:spTree>
    <p:extLst>
      <p:ext uri="{BB962C8B-B14F-4D97-AF65-F5344CB8AC3E}">
        <p14:creationId xmlns:p14="http://schemas.microsoft.com/office/powerpoint/2010/main" val="2291186486"/>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over Slide-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02114A-220B-4640-A5BF-0515D4CC8E14}"/>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1EA08266-4E61-462A-95FD-E290ED265623}"/>
              </a:ext>
            </a:extLst>
          </p:cNvPr>
          <p:cNvGrpSpPr/>
          <p:nvPr/>
        </p:nvGrpSpPr>
        <p:grpSpPr>
          <a:xfrm>
            <a:off x="0" y="1557571"/>
            <a:ext cx="12192000" cy="5391047"/>
            <a:chOff x="0" y="1466953"/>
            <a:chExt cx="12192000" cy="5391047"/>
          </a:xfrm>
        </p:grpSpPr>
        <p:sp>
          <p:nvSpPr>
            <p:cNvPr id="12" name="Rectangle 11">
              <a:extLst>
                <a:ext uri="{FF2B5EF4-FFF2-40B4-BE49-F238E27FC236}">
                  <a16:creationId xmlns:a16="http://schemas.microsoft.com/office/drawing/2014/main" id="{452649A3-16F9-41C3-BA43-28809743B4F5}"/>
                </a:ext>
              </a:extLst>
            </p:cNvPr>
            <p:cNvSpPr/>
            <p:nvPr userDrawn="1"/>
          </p:nvSpPr>
          <p:spPr>
            <a:xfrm>
              <a:off x="0" y="1466953"/>
              <a:ext cx="5581650" cy="5391047"/>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3" name="Picture 12" descr="A person touching a large display of colorful squares&#10;&#10;Description automatically generated">
              <a:extLst>
                <a:ext uri="{FF2B5EF4-FFF2-40B4-BE49-F238E27FC236}">
                  <a16:creationId xmlns:a16="http://schemas.microsoft.com/office/drawing/2014/main" id="{6407A5F0-3402-41D7-BADE-A8DC1D4A78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810"/>
            <a:stretch/>
          </p:blipFill>
          <p:spPr>
            <a:xfrm>
              <a:off x="3605717" y="1466954"/>
              <a:ext cx="8586283" cy="5391046"/>
            </a:xfrm>
            <a:prstGeom prst="rect">
              <a:avLst/>
            </a:prstGeom>
          </p:spPr>
        </p:pic>
      </p:grpSp>
      <p:pic>
        <p:nvPicPr>
          <p:cNvPr id="8" name="Graphic 7">
            <a:extLst>
              <a:ext uri="{FF2B5EF4-FFF2-40B4-BE49-F238E27FC236}">
                <a16:creationId xmlns:a16="http://schemas.microsoft.com/office/drawing/2014/main" id="{130562DD-073F-46B6-0AFB-C6AA97B1F9EE}"/>
              </a:ext>
            </a:extLst>
          </p:cNvPr>
          <p:cNvPicPr>
            <a:picLocks noChangeAspect="1"/>
          </p:cNvPicPr>
          <p:nvPr/>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9498" t="26725" r="9235" b="25469"/>
          <a:stretch/>
        </p:blipFill>
        <p:spPr>
          <a:xfrm>
            <a:off x="514350" y="516172"/>
            <a:ext cx="1955800" cy="525227"/>
          </a:xfrm>
          <a:prstGeom prst="rect">
            <a:avLst/>
          </a:prstGeom>
        </p:spPr>
      </p:pic>
      <p:sp>
        <p:nvSpPr>
          <p:cNvPr id="2" name="Title 3">
            <a:extLst>
              <a:ext uri="{FF2B5EF4-FFF2-40B4-BE49-F238E27FC236}">
                <a16:creationId xmlns:a16="http://schemas.microsoft.com/office/drawing/2014/main" id="{181AE752-3AC1-F5D5-B035-A8D128A737F1}"/>
              </a:ext>
            </a:extLst>
          </p:cNvPr>
          <p:cNvSpPr>
            <a:spLocks noGrp="1"/>
          </p:cNvSpPr>
          <p:nvPr>
            <p:ph type="title" hasCustomPrompt="1"/>
          </p:nvPr>
        </p:nvSpPr>
        <p:spPr>
          <a:xfrm>
            <a:off x="514350" y="2164998"/>
            <a:ext cx="3898319" cy="1484881"/>
          </a:xfrm>
          <a:prstGeom prst="rect">
            <a:avLst/>
          </a:prstGeom>
        </p:spPr>
        <p:txBody>
          <a:bodyPr>
            <a:normAutofit/>
          </a:bodyPr>
          <a:lstStyle>
            <a:lvl1pPr>
              <a:defRPr sz="3600" b="1">
                <a:solidFill>
                  <a:schemeClr val="bg1"/>
                </a:solidFill>
              </a:defRPr>
            </a:lvl1pPr>
          </a:lstStyle>
          <a:p>
            <a:r>
              <a:rPr lang="en-US"/>
              <a:t>Title Goes here</a:t>
            </a:r>
            <a:endParaRPr lang="en-IN"/>
          </a:p>
        </p:txBody>
      </p:sp>
      <p:sp>
        <p:nvSpPr>
          <p:cNvPr id="3" name="Text Placeholder 10">
            <a:extLst>
              <a:ext uri="{FF2B5EF4-FFF2-40B4-BE49-F238E27FC236}">
                <a16:creationId xmlns:a16="http://schemas.microsoft.com/office/drawing/2014/main" id="{D9E2A3FF-6B9A-00A4-F27D-721BA5469C79}"/>
              </a:ext>
            </a:extLst>
          </p:cNvPr>
          <p:cNvSpPr>
            <a:spLocks noGrp="1"/>
          </p:cNvSpPr>
          <p:nvPr>
            <p:ph type="body" sz="quarter" idx="10" hasCustomPrompt="1"/>
          </p:nvPr>
        </p:nvSpPr>
        <p:spPr>
          <a:xfrm>
            <a:off x="514350" y="3895952"/>
            <a:ext cx="3898900" cy="341512"/>
          </a:xfrm>
          <a:prstGeom prst="rect">
            <a:avLst/>
          </a:prstGeom>
        </p:spPr>
        <p:txBody>
          <a:bodyPr>
            <a:normAutofit/>
          </a:bodyPr>
          <a:lstStyle>
            <a:lvl1pPr marL="0" indent="0">
              <a:buNone/>
              <a:defRPr lang="en-US" sz="2400" dirty="0">
                <a:solidFill>
                  <a:schemeClr val="bg1"/>
                </a:solidFill>
              </a:defRPr>
            </a:lvl1pPr>
          </a:lstStyle>
          <a:p>
            <a:pPr lvl="0"/>
            <a:r>
              <a:rPr lang="en-US"/>
              <a:t>Sub-Head</a:t>
            </a:r>
          </a:p>
        </p:txBody>
      </p:sp>
      <p:sp>
        <p:nvSpPr>
          <p:cNvPr id="5" name="Text Placeholder 18">
            <a:extLst>
              <a:ext uri="{FF2B5EF4-FFF2-40B4-BE49-F238E27FC236}">
                <a16:creationId xmlns:a16="http://schemas.microsoft.com/office/drawing/2014/main" id="{E388DBB5-2B54-B572-5A45-A4E8C18195B0}"/>
              </a:ext>
            </a:extLst>
          </p:cNvPr>
          <p:cNvSpPr>
            <a:spLocks noGrp="1"/>
          </p:cNvSpPr>
          <p:nvPr>
            <p:ph type="body" sz="quarter" idx="11" hasCustomPrompt="1"/>
          </p:nvPr>
        </p:nvSpPr>
        <p:spPr>
          <a:xfrm>
            <a:off x="514350" y="5357194"/>
            <a:ext cx="3898319" cy="268454"/>
          </a:xfrm>
          <a:prstGeom prst="rect">
            <a:avLst/>
          </a:prstGeom>
        </p:spPr>
        <p:txBody>
          <a:bodyPr>
            <a:noAutofit/>
          </a:bodyPr>
          <a:lstStyle>
            <a:lvl1pPr marL="0" indent="0">
              <a:buFont typeface="Arial" panose="020B0604020202020204" pitchFamily="34" charset="0"/>
              <a:buNone/>
              <a:defRPr lang="en-US" sz="1400"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lvl="0"/>
            <a:r>
              <a:rPr lang="en-US"/>
              <a:t>Date</a:t>
            </a:r>
          </a:p>
        </p:txBody>
      </p:sp>
      <p:sp>
        <p:nvSpPr>
          <p:cNvPr id="14" name="TextBox 13">
            <a:extLst>
              <a:ext uri="{FF2B5EF4-FFF2-40B4-BE49-F238E27FC236}">
                <a16:creationId xmlns:a16="http://schemas.microsoft.com/office/drawing/2014/main" id="{7A2070CA-BD80-F837-1A73-A0D6ED2BDE31}"/>
              </a:ext>
            </a:extLst>
          </p:cNvPr>
          <p:cNvSpPr txBox="1"/>
          <p:nvPr/>
        </p:nvSpPr>
        <p:spPr>
          <a:xfrm>
            <a:off x="514350" y="6401434"/>
            <a:ext cx="1749043" cy="200055"/>
          </a:xfrm>
          <a:prstGeom prst="rect">
            <a:avLst/>
          </a:prstGeom>
          <a:noFill/>
        </p:spPr>
        <p:txBody>
          <a:bodyPr wrap="square" rtlCol="0">
            <a:spAutoFit/>
          </a:bodyPr>
          <a:lstStyle/>
          <a:p>
            <a:r>
              <a:rPr lang="en-IN" sz="700">
                <a:solidFill>
                  <a:schemeClr val="bg1"/>
                </a:solidFill>
              </a:rPr>
              <a:t>© 2024 Birlasoft</a:t>
            </a:r>
          </a:p>
        </p:txBody>
      </p:sp>
      <p:pic>
        <p:nvPicPr>
          <p:cNvPr id="10" name="Graphic 9">
            <a:extLst>
              <a:ext uri="{FF2B5EF4-FFF2-40B4-BE49-F238E27FC236}">
                <a16:creationId xmlns:a16="http://schemas.microsoft.com/office/drawing/2014/main" id="{48034448-A875-2E00-5A76-7ABD669BF4FF}"/>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4350" y="6255269"/>
            <a:ext cx="357573" cy="86559"/>
          </a:xfrm>
          <a:prstGeom prst="rect">
            <a:avLst/>
          </a:prstGeom>
        </p:spPr>
      </p:pic>
    </p:spTree>
    <p:extLst>
      <p:ext uri="{BB962C8B-B14F-4D97-AF65-F5344CB8AC3E}">
        <p14:creationId xmlns:p14="http://schemas.microsoft.com/office/powerpoint/2010/main" val="343430520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_Section Cover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1BB553-2796-2C46-692D-9221C61A9559}"/>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olorful squares in a dark room&#10;&#10;Description automatically generated">
            <a:extLst>
              <a:ext uri="{FF2B5EF4-FFF2-40B4-BE49-F238E27FC236}">
                <a16:creationId xmlns:a16="http://schemas.microsoft.com/office/drawing/2014/main" id="{08C4506A-9AB3-4F66-F9D3-F58F521A5465}"/>
              </a:ext>
            </a:extLst>
          </p:cNvPr>
          <p:cNvPicPr>
            <a:picLocks noChangeAspect="1"/>
          </p:cNvPicPr>
          <p:nvPr/>
        </p:nvPicPr>
        <p:blipFill rotWithShape="1">
          <a:blip r:embed="rId2">
            <a:extLst>
              <a:ext uri="{28A0092B-C50C-407E-A947-70E740481C1C}">
                <a14:useLocalDpi xmlns:a14="http://schemas.microsoft.com/office/drawing/2010/main" val="0"/>
              </a:ext>
            </a:extLst>
          </a:blip>
          <a:srcRect t="15757" b="10338"/>
          <a:stretch/>
        </p:blipFill>
        <p:spPr>
          <a:xfrm>
            <a:off x="0" y="1788534"/>
            <a:ext cx="12192000" cy="3280932"/>
          </a:xfrm>
          <a:prstGeom prst="rect">
            <a:avLst/>
          </a:prstGeom>
        </p:spPr>
      </p:pic>
      <p:pic>
        <p:nvPicPr>
          <p:cNvPr id="3" name="Graphic 2">
            <a:extLst>
              <a:ext uri="{FF2B5EF4-FFF2-40B4-BE49-F238E27FC236}">
                <a16:creationId xmlns:a16="http://schemas.microsoft.com/office/drawing/2014/main" id="{51021C56-D351-32A4-6BFD-290BAD2F6EE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01907" y="6266628"/>
            <a:ext cx="398395" cy="96441"/>
          </a:xfrm>
          <a:prstGeom prst="rect">
            <a:avLst/>
          </a:prstGeom>
        </p:spPr>
      </p:pic>
      <p:sp>
        <p:nvSpPr>
          <p:cNvPr id="4" name="Footer Placeholder 6">
            <a:extLst>
              <a:ext uri="{FF2B5EF4-FFF2-40B4-BE49-F238E27FC236}">
                <a16:creationId xmlns:a16="http://schemas.microsoft.com/office/drawing/2014/main" id="{D02B7327-D402-E3FA-EADD-193B129E5134}"/>
              </a:ext>
            </a:extLst>
          </p:cNvPr>
          <p:cNvSpPr txBox="1">
            <a:spLocks/>
          </p:cNvSpPr>
          <p:nvPr/>
        </p:nvSpPr>
        <p:spPr>
          <a:xfrm>
            <a:off x="9964372" y="619991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700">
                <a:solidFill>
                  <a:schemeClr val="tx1">
                    <a:lumMod val="75000"/>
                    <a:lumOff val="25000"/>
                  </a:schemeClr>
                </a:solidFill>
              </a:rPr>
              <a:t>© 2024 Birlasoft</a:t>
            </a:r>
          </a:p>
        </p:txBody>
      </p:sp>
      <p:sp>
        <p:nvSpPr>
          <p:cNvPr id="6" name="Rectangle 5">
            <a:extLst>
              <a:ext uri="{FF2B5EF4-FFF2-40B4-BE49-F238E27FC236}">
                <a16:creationId xmlns:a16="http://schemas.microsoft.com/office/drawing/2014/main" id="{161D66A6-E05E-3B45-9DC7-B66AA8D42775}"/>
              </a:ext>
            </a:extLst>
          </p:cNvPr>
          <p:cNvSpPr/>
          <p:nvPr/>
        </p:nvSpPr>
        <p:spPr>
          <a:xfrm>
            <a:off x="0" y="1788534"/>
            <a:ext cx="7667897" cy="3280932"/>
          </a:xfrm>
          <a:prstGeom prst="rect">
            <a:avLst/>
          </a:prstGeom>
          <a:gradFill flip="none" rotWithShape="1">
            <a:gsLst>
              <a:gs pos="0">
                <a:schemeClr val="tx1">
                  <a:alpha val="85000"/>
                </a:schemeClr>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599F5A3F-60BB-D0E6-5FEF-613731004EA0}"/>
              </a:ext>
            </a:extLst>
          </p:cNvPr>
          <p:cNvSpPr>
            <a:spLocks noGrp="1"/>
          </p:cNvSpPr>
          <p:nvPr>
            <p:ph type="title" hasCustomPrompt="1"/>
          </p:nvPr>
        </p:nvSpPr>
        <p:spPr>
          <a:xfrm>
            <a:off x="515938" y="2085669"/>
            <a:ext cx="9784680" cy="1232297"/>
          </a:xfrm>
          <a:prstGeom prst="rect">
            <a:avLst/>
          </a:prstGeom>
        </p:spPr>
        <p:txBody>
          <a:bodyPr anchor="t">
            <a:normAutofit/>
          </a:bodyPr>
          <a:lstStyle>
            <a:lvl1pPr algn="l">
              <a:defRPr sz="3600" b="1">
                <a:solidFill>
                  <a:schemeClr val="bg1"/>
                </a:solidFill>
              </a:defRPr>
            </a:lvl1pPr>
          </a:lstStyle>
          <a:p>
            <a:r>
              <a:rPr lang="en-US"/>
              <a:t>Text goes here</a:t>
            </a:r>
            <a:endParaRPr lang="en-IN"/>
          </a:p>
        </p:txBody>
      </p:sp>
    </p:spTree>
    <p:extLst>
      <p:ext uri="{BB962C8B-B14F-4D97-AF65-F5344CB8AC3E}">
        <p14:creationId xmlns:p14="http://schemas.microsoft.com/office/powerpoint/2010/main" val="7948220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Content 3">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CB6DD955-6830-0844-CDE0-C5E4F2CD6960}"/>
              </a:ext>
            </a:extLst>
          </p:cNvPr>
          <p:cNvSpPr>
            <a:spLocks noGrp="1"/>
          </p:cNvSpPr>
          <p:nvPr>
            <p:ph type="body" sz="quarter" idx="14" hasCustomPrompt="1"/>
          </p:nvPr>
        </p:nvSpPr>
        <p:spPr>
          <a:xfrm>
            <a:off x="226423" y="820281"/>
            <a:ext cx="11148550" cy="278847"/>
          </a:xfrm>
          <a:prstGeom prst="rect">
            <a:avLst/>
          </a:prstGeom>
        </p:spPr>
        <p:txBody>
          <a:bodyPr anchor="ctr">
            <a:noAutofit/>
          </a:bodyPr>
          <a:lstStyle>
            <a:lvl1pPr marL="0" indent="0">
              <a:buNone/>
              <a:defRPr sz="1800" b="1">
                <a:solidFill>
                  <a:schemeClr val="tx1">
                    <a:lumMod val="65000"/>
                    <a:lumOff val="35000"/>
                  </a:schemeClr>
                </a:solidFill>
                <a:latin typeface="+mj-lt"/>
              </a:defRPr>
            </a:lvl1pPr>
          </a:lstStyle>
          <a:p>
            <a:pPr lvl="0"/>
            <a:r>
              <a:rPr lang="en-IN"/>
              <a:t>Subtitle</a:t>
            </a:r>
          </a:p>
        </p:txBody>
      </p:sp>
      <p:sp>
        <p:nvSpPr>
          <p:cNvPr id="2" name="Title 1">
            <a:extLst>
              <a:ext uri="{FF2B5EF4-FFF2-40B4-BE49-F238E27FC236}">
                <a16:creationId xmlns:a16="http://schemas.microsoft.com/office/drawing/2014/main" id="{58C53692-85A8-A83F-984B-3483907FBB5F}"/>
              </a:ext>
            </a:extLst>
          </p:cNvPr>
          <p:cNvSpPr>
            <a:spLocks noGrp="1"/>
          </p:cNvSpPr>
          <p:nvPr>
            <p:ph type="title" hasCustomPrompt="1"/>
          </p:nvPr>
        </p:nvSpPr>
        <p:spPr>
          <a:xfrm>
            <a:off x="227067" y="212269"/>
            <a:ext cx="11738510" cy="608012"/>
          </a:xfrm>
          <a:prstGeom prst="rect">
            <a:avLst/>
          </a:prstGeom>
        </p:spPr>
        <p:txBody>
          <a:bodyPr>
            <a:norm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1291909846"/>
      </p:ext>
    </p:extLst>
  </p:cSld>
  <p:clrMapOvr>
    <a:masterClrMapping/>
  </p:clrMapOvr>
  <p:extLst>
    <p:ext uri="{DCECCB84-F9BA-43D5-87BE-67443E8EF086}">
      <p15:sldGuideLst xmlns:p15="http://schemas.microsoft.com/office/powerpoint/2012/main">
        <p15:guide id="2" orient="horz" pos="98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ext Content 4">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7E7A931-2CCE-4D13-832C-91CB256D1A42}"/>
              </a:ext>
            </a:extLst>
          </p:cNvPr>
          <p:cNvSpPr>
            <a:spLocks noGrp="1"/>
          </p:cNvSpPr>
          <p:nvPr>
            <p:ph type="title" hasCustomPrompt="1"/>
          </p:nvPr>
        </p:nvSpPr>
        <p:spPr>
          <a:xfrm>
            <a:off x="227067" y="212269"/>
            <a:ext cx="11738510" cy="608012"/>
          </a:xfrm>
          <a:prstGeom prst="rect">
            <a:avLst/>
          </a:prstGeom>
        </p:spPr>
        <p:txBody>
          <a:bodyPr>
            <a:norm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24323516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_Only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566" y="0"/>
            <a:ext cx="11774397" cy="940526"/>
          </a:xfrm>
        </p:spPr>
        <p:txBody>
          <a:bodyPr tIns="182880" anchor="t">
            <a:normAutofit/>
          </a:bodyPr>
          <a:lstStyle>
            <a:lvl1pPr algn="l" defTabSz="914363" rtl="0" eaLnBrk="1" latinLnBrk="0" hangingPunct="1">
              <a:lnSpc>
                <a:spcPct val="90000"/>
              </a:lnSpc>
              <a:spcBef>
                <a:spcPts val="0"/>
              </a:spcBef>
              <a:buNone/>
              <a:defRPr lang="en-IN" sz="2100" b="1" kern="1200" dirty="0">
                <a:solidFill>
                  <a:srgbClr val="00689B"/>
                </a:solidFill>
                <a:latin typeface="+mj-lt"/>
                <a:ea typeface="+mj-ea"/>
                <a:cs typeface="+mj-cs"/>
              </a:defRPr>
            </a:lvl1pPr>
          </a:lstStyle>
          <a:p>
            <a:r>
              <a:rPr lang="en-US"/>
              <a:t>Title</a:t>
            </a:r>
            <a:endParaRPr lang="en-IN"/>
          </a:p>
        </p:txBody>
      </p:sp>
      <p:sp>
        <p:nvSpPr>
          <p:cNvPr id="6" name="Footer Placeholder 2">
            <a:extLst>
              <a:ext uri="{FF2B5EF4-FFF2-40B4-BE49-F238E27FC236}">
                <a16:creationId xmlns:a16="http://schemas.microsoft.com/office/drawing/2014/main" id="{929CAE08-136F-4EA4-BF6E-8C2BC337833C}"/>
              </a:ext>
            </a:extLst>
          </p:cNvPr>
          <p:cNvSpPr txBox="1">
            <a:spLocks/>
          </p:cNvSpPr>
          <p:nvPr/>
        </p:nvSpPr>
        <p:spPr>
          <a:xfrm>
            <a:off x="1704974" y="6527554"/>
            <a:ext cx="4114800"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a:solidFill>
                  <a:schemeClr val="tx2"/>
                </a:solidFill>
                <a:latin typeface="+mj-lt"/>
              </a:rPr>
              <a:t>© 2023 Birlasoft</a:t>
            </a:r>
          </a:p>
        </p:txBody>
      </p:sp>
      <p:sp>
        <p:nvSpPr>
          <p:cNvPr id="7" name="Slide Number Placeholder 3">
            <a:extLst>
              <a:ext uri="{FF2B5EF4-FFF2-40B4-BE49-F238E27FC236}">
                <a16:creationId xmlns:a16="http://schemas.microsoft.com/office/drawing/2014/main" id="{6794758D-2E2D-4112-BA94-8F44EC569CDC}"/>
              </a:ext>
            </a:extLst>
          </p:cNvPr>
          <p:cNvSpPr txBox="1">
            <a:spLocks/>
          </p:cNvSpPr>
          <p:nvPr/>
        </p:nvSpPr>
        <p:spPr>
          <a:xfrm>
            <a:off x="309563" y="6527554"/>
            <a:ext cx="341949" cy="229870"/>
          </a:xfrm>
          <a:prstGeom prst="rect">
            <a:avLst/>
          </a:prstGeom>
        </p:spPr>
        <p:txBody>
          <a:bodyPr vert="horz" lIns="91440" tIns="45720" rIns="91440" bIns="45720" rtlCol="0" anchor="ctr"/>
          <a:lstStyle>
            <a:defPPr>
              <a:defRPr lang="en-US"/>
            </a:defPPr>
            <a:lvl1pPr marL="0" algn="l" defTabSz="914363" rtl="0" eaLnBrk="1" latinLnBrk="0" hangingPunct="1">
              <a:defRPr sz="800" kern="120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AC1CC88B-8153-4770-B0DF-840C5C37FBC3}" type="slidenum">
              <a:rPr lang="en-IN" smtClean="0">
                <a:solidFill>
                  <a:schemeClr val="tx2"/>
                </a:solidFill>
                <a:latin typeface="+mj-lt"/>
              </a:rPr>
              <a:pPr/>
              <a:t>‹#›</a:t>
            </a:fld>
            <a:endParaRPr lang="en-IN">
              <a:solidFill>
                <a:schemeClr val="tx2"/>
              </a:solidFill>
              <a:latin typeface="+mj-lt"/>
            </a:endParaRPr>
          </a:p>
        </p:txBody>
      </p:sp>
      <p:sp>
        <p:nvSpPr>
          <p:cNvPr id="9" name="Date Placeholder 4">
            <a:extLst>
              <a:ext uri="{FF2B5EF4-FFF2-40B4-BE49-F238E27FC236}">
                <a16:creationId xmlns:a16="http://schemas.microsoft.com/office/drawing/2014/main" id="{E91537D8-C245-4592-9F16-D5674C12F89D}"/>
              </a:ext>
            </a:extLst>
          </p:cNvPr>
          <p:cNvSpPr txBox="1">
            <a:spLocks/>
          </p:cNvSpPr>
          <p:nvPr/>
        </p:nvSpPr>
        <p:spPr>
          <a:xfrm>
            <a:off x="830580" y="6526155"/>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39265380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A0FFF-5CAD-EE2E-0E65-B557B5B4EA5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67F9327-92F5-AA15-4F3D-32ACF2FF8B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86D47FE-46B1-790E-42C5-4F398BD9F16B}"/>
              </a:ext>
            </a:extLst>
          </p:cNvPr>
          <p:cNvSpPr>
            <a:spLocks noGrp="1"/>
          </p:cNvSpPr>
          <p:nvPr>
            <p:ph type="dt" sz="half" idx="10"/>
          </p:nvPr>
        </p:nvSpPr>
        <p:spPr>
          <a:xfrm>
            <a:off x="830580" y="6521136"/>
            <a:ext cx="695326" cy="232668"/>
          </a:xfrm>
          <a:prstGeom prst="rect">
            <a:avLst/>
          </a:prstGeom>
        </p:spPr>
        <p:txBody>
          <a:bodyPr/>
          <a:lstStyle/>
          <a:p>
            <a:fld id="{3022003B-2220-4EC6-B399-6BB2B2EDE355}" type="datetimeFigureOut">
              <a:rPr lang="en-IN" smtClean="0"/>
              <a:t>25-05-2026</a:t>
            </a:fld>
            <a:endParaRPr lang="en-IN"/>
          </a:p>
        </p:txBody>
      </p:sp>
      <p:sp>
        <p:nvSpPr>
          <p:cNvPr id="5" name="Footer Placeholder 4">
            <a:extLst>
              <a:ext uri="{FF2B5EF4-FFF2-40B4-BE49-F238E27FC236}">
                <a16:creationId xmlns:a16="http://schemas.microsoft.com/office/drawing/2014/main" id="{F5C8F8CD-4144-6215-F8E3-FF8A5820F0BD}"/>
              </a:ext>
            </a:extLst>
          </p:cNvPr>
          <p:cNvSpPr>
            <a:spLocks noGrp="1"/>
          </p:cNvSpPr>
          <p:nvPr>
            <p:ph type="ftr" sz="quarter" idx="11"/>
          </p:nvPr>
        </p:nvSpPr>
        <p:spPr>
          <a:xfrm>
            <a:off x="1704974" y="6522535"/>
            <a:ext cx="4114800" cy="22987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7182599-38F5-3499-CA86-846A67E40F28}"/>
              </a:ext>
            </a:extLst>
          </p:cNvPr>
          <p:cNvSpPr>
            <a:spLocks noGrp="1"/>
          </p:cNvSpPr>
          <p:nvPr>
            <p:ph type="sldNum" sz="quarter" idx="12"/>
          </p:nvPr>
        </p:nvSpPr>
        <p:spPr/>
        <p:txBody>
          <a:bodyPr/>
          <a:lstStyle/>
          <a:p>
            <a:fld id="{E0AD047D-C4E2-425D-9699-710B21B09C73}" type="slidenum">
              <a:rPr lang="en-IN" smtClean="0"/>
              <a:t>‹#›</a:t>
            </a:fld>
            <a:endParaRPr lang="en-IN"/>
          </a:p>
        </p:txBody>
      </p:sp>
    </p:spTree>
    <p:extLst>
      <p:ext uri="{BB962C8B-B14F-4D97-AF65-F5344CB8AC3E}">
        <p14:creationId xmlns:p14="http://schemas.microsoft.com/office/powerpoint/2010/main" val="4315943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quote or statement, with phot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D016409-45AB-4024-87B1-0B8AFE8B203D}"/>
              </a:ext>
            </a:extLst>
          </p:cNvPr>
          <p:cNvSpPr/>
          <p:nvPr/>
        </p:nvSpPr>
        <p:spPr>
          <a:xfrm>
            <a:off x="0" y="0"/>
            <a:ext cx="12192000" cy="64166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icture Placeholder 6">
            <a:extLst>
              <a:ext uri="{FF2B5EF4-FFF2-40B4-BE49-F238E27FC236}">
                <a16:creationId xmlns:a16="http://schemas.microsoft.com/office/drawing/2014/main" id="{CEE4F7B8-08BD-4F06-A1D4-9AE42F22EDDF}"/>
              </a:ext>
            </a:extLst>
          </p:cNvPr>
          <p:cNvSpPr>
            <a:spLocks noGrp="1"/>
          </p:cNvSpPr>
          <p:nvPr>
            <p:ph type="pic" sz="quarter" idx="13"/>
          </p:nvPr>
        </p:nvSpPr>
        <p:spPr>
          <a:xfrm>
            <a:off x="1943100" y="2501901"/>
            <a:ext cx="10248900" cy="3914774"/>
          </a:xfrm>
          <a:solidFill>
            <a:schemeClr val="bg2">
              <a:lumMod val="85000"/>
            </a:schemeClr>
          </a:solidFill>
        </p:spPr>
        <p:txBody>
          <a:bodyPr/>
          <a:lstStyle/>
          <a:p>
            <a:r>
              <a:rPr lang="en-US"/>
              <a:t>Click icon to add picture</a:t>
            </a:r>
            <a:endParaRPr lang="en-IN"/>
          </a:p>
        </p:txBody>
      </p:sp>
      <p:sp>
        <p:nvSpPr>
          <p:cNvPr id="8" name="Title 1">
            <a:extLst>
              <a:ext uri="{FF2B5EF4-FFF2-40B4-BE49-F238E27FC236}">
                <a16:creationId xmlns:a16="http://schemas.microsoft.com/office/drawing/2014/main" id="{2A883EBF-314B-4842-881D-A3F788ED71F2}"/>
              </a:ext>
            </a:extLst>
          </p:cNvPr>
          <p:cNvSpPr>
            <a:spLocks noGrp="1"/>
          </p:cNvSpPr>
          <p:nvPr>
            <p:ph type="ctrTitle" hasCustomPrompt="1"/>
          </p:nvPr>
        </p:nvSpPr>
        <p:spPr>
          <a:xfrm>
            <a:off x="1943101" y="530225"/>
            <a:ext cx="9177020" cy="612776"/>
          </a:xfrm>
        </p:spPr>
        <p:txBody>
          <a:bodyPr anchor="ctr">
            <a:normAutofit/>
          </a:bodyPr>
          <a:lstStyle>
            <a:lvl1pPr marL="0" algn="l" defTabSz="914363" rtl="0" eaLnBrk="1" latinLnBrk="0" hangingPunct="1">
              <a:lnSpc>
                <a:spcPct val="90000"/>
              </a:lnSpc>
              <a:spcBef>
                <a:spcPct val="0"/>
              </a:spcBef>
              <a:buNone/>
              <a:defRPr lang="en-US" sz="2800" b="1" kern="1200" dirty="0">
                <a:solidFill>
                  <a:schemeClr val="tx1">
                    <a:lumMod val="65000"/>
                    <a:lumOff val="35000"/>
                  </a:schemeClr>
                </a:solidFill>
                <a:latin typeface="+mj-lt"/>
                <a:ea typeface="+mj-ea"/>
                <a:cs typeface="+mj-cs"/>
              </a:defRPr>
            </a:lvl1pPr>
          </a:lstStyle>
          <a:p>
            <a:r>
              <a:rPr lang="en-US">
                <a:solidFill>
                  <a:schemeClr val="tx1">
                    <a:lumMod val="65000"/>
                    <a:lumOff val="35000"/>
                  </a:schemeClr>
                </a:solidFill>
              </a:rPr>
              <a:t>Slide Title in Calibri Bold, 32 pt. dark grey</a:t>
            </a:r>
            <a:endParaRPr lang="en-US"/>
          </a:p>
        </p:txBody>
      </p:sp>
      <p:sp>
        <p:nvSpPr>
          <p:cNvPr id="9" name="Subtitle 2">
            <a:extLst>
              <a:ext uri="{FF2B5EF4-FFF2-40B4-BE49-F238E27FC236}">
                <a16:creationId xmlns:a16="http://schemas.microsoft.com/office/drawing/2014/main" id="{F125512E-D324-4377-8707-132191939164}"/>
              </a:ext>
            </a:extLst>
          </p:cNvPr>
          <p:cNvSpPr>
            <a:spLocks noGrp="1"/>
          </p:cNvSpPr>
          <p:nvPr>
            <p:ph type="subTitle" idx="1" hasCustomPrompt="1"/>
          </p:nvPr>
        </p:nvSpPr>
        <p:spPr>
          <a:xfrm>
            <a:off x="1943100" y="1322538"/>
            <a:ext cx="9177020" cy="421331"/>
          </a:xfrm>
        </p:spPr>
        <p:txBody>
          <a:bodyPr anchor="t">
            <a:normAutofit/>
          </a:bodyPr>
          <a:lstStyle>
            <a:lvl1pPr marL="0" indent="0" algn="l" defTabSz="914363" rtl="0" eaLnBrk="1" latinLnBrk="0" hangingPunct="1">
              <a:lnSpc>
                <a:spcPct val="90000"/>
              </a:lnSpc>
              <a:spcBef>
                <a:spcPts val="1000"/>
              </a:spcBef>
              <a:buClr>
                <a:schemeClr val="tx1"/>
              </a:buClr>
              <a:buSzPct val="80000"/>
              <a:buFont typeface="Arial" panose="020B0604020202020204" pitchFamily="34" charset="0"/>
              <a:buNone/>
              <a:defRPr lang="en-US" sz="2000" b="1" kern="1200" dirty="0">
                <a:solidFill>
                  <a:srgbClr val="FF0000"/>
                </a:solidFill>
                <a:latin typeface="+mj-lt"/>
                <a:ea typeface="+mn-ea"/>
                <a:cs typeface="+mn-cs"/>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Subtitle (20pt)</a:t>
            </a:r>
          </a:p>
        </p:txBody>
      </p:sp>
      <p:grpSp>
        <p:nvGrpSpPr>
          <p:cNvPr id="19" name="Group 18">
            <a:extLst>
              <a:ext uri="{FF2B5EF4-FFF2-40B4-BE49-F238E27FC236}">
                <a16:creationId xmlns:a16="http://schemas.microsoft.com/office/drawing/2014/main" id="{DAE30A47-9CAC-4A8E-90A9-6658683E6574}"/>
              </a:ext>
            </a:extLst>
          </p:cNvPr>
          <p:cNvGrpSpPr/>
          <p:nvPr/>
        </p:nvGrpSpPr>
        <p:grpSpPr>
          <a:xfrm>
            <a:off x="9347996" y="2187577"/>
            <a:ext cx="2853530" cy="314324"/>
            <a:chOff x="9338470" y="2187576"/>
            <a:chExt cx="2853530" cy="314324"/>
          </a:xfrm>
        </p:grpSpPr>
        <p:pic>
          <p:nvPicPr>
            <p:cNvPr id="10" name="Graphic 9">
              <a:extLst>
                <a:ext uri="{FF2B5EF4-FFF2-40B4-BE49-F238E27FC236}">
                  <a16:creationId xmlns:a16="http://schemas.microsoft.com/office/drawing/2014/main" id="{12862531-A4B3-49AB-814E-92FB92CD774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338470" y="2187576"/>
              <a:ext cx="1581149" cy="157162"/>
            </a:xfrm>
            <a:prstGeom prst="rect">
              <a:avLst/>
            </a:prstGeom>
          </p:spPr>
        </p:pic>
        <p:pic>
          <p:nvPicPr>
            <p:cNvPr id="11" name="Graphic 10">
              <a:extLst>
                <a:ext uri="{FF2B5EF4-FFF2-40B4-BE49-F238E27FC236}">
                  <a16:creationId xmlns:a16="http://schemas.microsoft.com/office/drawing/2014/main" id="{37E785E0-0AFB-40DD-B1FB-E4CC5D5EFC4D}"/>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0897395" y="2344738"/>
              <a:ext cx="1294605" cy="157162"/>
            </a:xfrm>
            <a:prstGeom prst="rect">
              <a:avLst/>
            </a:prstGeom>
          </p:spPr>
        </p:pic>
      </p:grpSp>
      <p:pic>
        <p:nvPicPr>
          <p:cNvPr id="13" name="Graphic 12">
            <a:extLst>
              <a:ext uri="{FF2B5EF4-FFF2-40B4-BE49-F238E27FC236}">
                <a16:creationId xmlns:a16="http://schemas.microsoft.com/office/drawing/2014/main" id="{F82CD851-16D3-4475-B8D5-A5520BEA6F0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0077" y="530225"/>
            <a:ext cx="1294605" cy="157162"/>
          </a:xfrm>
          <a:prstGeom prst="rect">
            <a:avLst/>
          </a:prstGeom>
        </p:spPr>
      </p:pic>
      <p:pic>
        <p:nvPicPr>
          <p:cNvPr id="17" name="Graphic 16">
            <a:extLst>
              <a:ext uri="{FF2B5EF4-FFF2-40B4-BE49-F238E27FC236}">
                <a16:creationId xmlns:a16="http://schemas.microsoft.com/office/drawing/2014/main" id="{432B89DC-86C4-4F91-9A10-4F2A3492368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9053039" y="1587"/>
            <a:ext cx="1059336" cy="157162"/>
          </a:xfrm>
          <a:prstGeom prst="rect">
            <a:avLst/>
          </a:prstGeom>
        </p:spPr>
      </p:pic>
    </p:spTree>
    <p:extLst>
      <p:ext uri="{BB962C8B-B14F-4D97-AF65-F5344CB8AC3E}">
        <p14:creationId xmlns:p14="http://schemas.microsoft.com/office/powerpoint/2010/main" val="13136127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371600" y="6392285"/>
            <a:ext cx="2133600" cy="365125"/>
          </a:xfrm>
        </p:spPr>
        <p:txBody>
          <a:bodyPr/>
          <a:lstStyle>
            <a:lvl1pPr>
              <a:defRPr>
                <a:solidFill>
                  <a:schemeClr val="bg1"/>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506410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2B3FB8-4B17-F04F-EC4E-7EDFBC53CE64}"/>
              </a:ext>
            </a:extLst>
          </p:cNvPr>
          <p:cNvPicPr>
            <a:picLocks noChangeAspect="1"/>
          </p:cNvPicPr>
          <p:nvPr userDrawn="1"/>
        </p:nvPicPr>
        <p:blipFill>
          <a:blip r:embed="rId2" cstate="email">
            <a:alphaModFix amt="92000"/>
            <a:extLst>
              <a:ext uri="{28A0092B-C50C-407E-A947-70E740481C1C}">
                <a14:useLocalDpi xmlns:a14="http://schemas.microsoft.com/office/drawing/2010/main"/>
              </a:ext>
            </a:extLst>
          </a:blip>
          <a:stretch>
            <a:fillRect/>
          </a:stretch>
        </p:blipFill>
        <p:spPr>
          <a:xfrm>
            <a:off x="0" y="-692"/>
            <a:ext cx="12192001" cy="6858692"/>
          </a:xfrm>
          <a:prstGeom prst="rect">
            <a:avLst/>
          </a:prstGeom>
        </p:spPr>
      </p:pic>
      <p:sp>
        <p:nvSpPr>
          <p:cNvPr id="10" name="Rectangle 9">
            <a:extLst>
              <a:ext uri="{FF2B5EF4-FFF2-40B4-BE49-F238E27FC236}">
                <a16:creationId xmlns:a16="http://schemas.microsoft.com/office/drawing/2014/main" id="{E5A5A4C3-81B1-7F3E-DFCE-E3ABBE4B4AE3}"/>
              </a:ext>
            </a:extLst>
          </p:cNvPr>
          <p:cNvSpPr/>
          <p:nvPr/>
        </p:nvSpPr>
        <p:spPr>
          <a:xfrm>
            <a:off x="0" y="6344994"/>
            <a:ext cx="12192000" cy="525227"/>
          </a:xfrm>
          <a:prstGeom prst="rect">
            <a:avLst/>
          </a:prstGeom>
          <a:gradFill flip="none" rotWithShape="1">
            <a:gsLst>
              <a:gs pos="100000">
                <a:srgbClr val="1D0C2A"/>
              </a:gs>
              <a:gs pos="65000">
                <a:srgbClr val="6B0E2F"/>
              </a:gs>
              <a:gs pos="0">
                <a:schemeClr val="accent1"/>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0BB63ED3-A2CD-5823-423D-F6F46142969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60884" y="6193906"/>
            <a:ext cx="1310949" cy="317346"/>
          </a:xfrm>
          <a:prstGeom prst="rect">
            <a:avLst/>
          </a:prstGeom>
        </p:spPr>
      </p:pic>
      <p:sp>
        <p:nvSpPr>
          <p:cNvPr id="27" name="TextBox 26">
            <a:extLst>
              <a:ext uri="{FF2B5EF4-FFF2-40B4-BE49-F238E27FC236}">
                <a16:creationId xmlns:a16="http://schemas.microsoft.com/office/drawing/2014/main" id="{203CB3A1-7A42-C762-E58D-043DE603BFA3}"/>
              </a:ext>
            </a:extLst>
          </p:cNvPr>
          <p:cNvSpPr txBox="1"/>
          <p:nvPr/>
        </p:nvSpPr>
        <p:spPr>
          <a:xfrm>
            <a:off x="9460884" y="6499886"/>
            <a:ext cx="1421006" cy="200055"/>
          </a:xfrm>
          <a:prstGeom prst="rect">
            <a:avLst/>
          </a:prstGeom>
          <a:noFill/>
        </p:spPr>
        <p:txBody>
          <a:bodyPr wrap="square">
            <a:spAutoFit/>
          </a:bodyPr>
          <a:lstStyle/>
          <a:p>
            <a:r>
              <a:rPr lang="en-IN" sz="700" dirty="0">
                <a:solidFill>
                  <a:schemeClr val="bg1"/>
                </a:solidFill>
              </a:rPr>
              <a:t>© 2026 Birlasoft</a:t>
            </a:r>
          </a:p>
        </p:txBody>
      </p:sp>
      <p:sp>
        <p:nvSpPr>
          <p:cNvPr id="9" name="Rectangle 8">
            <a:extLst>
              <a:ext uri="{FF2B5EF4-FFF2-40B4-BE49-F238E27FC236}">
                <a16:creationId xmlns:a16="http://schemas.microsoft.com/office/drawing/2014/main" id="{F1832A43-6736-EB47-BAA7-423CC961B7A8}"/>
              </a:ext>
            </a:extLst>
          </p:cNvPr>
          <p:cNvSpPr/>
          <p:nvPr/>
        </p:nvSpPr>
        <p:spPr>
          <a:xfrm>
            <a:off x="731580"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7">
            <a:extLst>
              <a:ext uri="{FF2B5EF4-FFF2-40B4-BE49-F238E27FC236}">
                <a16:creationId xmlns:a16="http://schemas.microsoft.com/office/drawing/2014/main" id="{902AAF8C-FAD1-9C40-3CFC-958B6A419EE5}"/>
              </a:ext>
            </a:extLst>
          </p:cNvPr>
          <p:cNvSpPr txBox="1">
            <a:spLocks/>
          </p:cNvSpPr>
          <p:nvPr/>
        </p:nvSpPr>
        <p:spPr>
          <a:xfrm>
            <a:off x="514351" y="2394826"/>
            <a:ext cx="4013044" cy="1190112"/>
          </a:xfrm>
          <a:prstGeom prst="rect">
            <a:avLst/>
          </a:prstGeom>
          <a:effectLst/>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lnSpc>
                <a:spcPts val="10560"/>
              </a:lnSpc>
            </a:pPr>
            <a:r>
              <a:rPr lang="en-US" sz="5400" b="1">
                <a:solidFill>
                  <a:schemeClr val="tx1">
                    <a:lumMod val="75000"/>
                    <a:lumOff val="25000"/>
                  </a:schemeClr>
                </a:solidFill>
                <a:effectLst/>
              </a:rPr>
              <a:t>Thank You</a:t>
            </a:r>
            <a:endParaRPr lang="en-IN" sz="5400" b="1">
              <a:solidFill>
                <a:schemeClr val="tx1">
                  <a:lumMod val="75000"/>
                  <a:lumOff val="25000"/>
                </a:schemeClr>
              </a:solidFill>
              <a:effectLst/>
            </a:endParaRPr>
          </a:p>
        </p:txBody>
      </p:sp>
      <p:pic>
        <p:nvPicPr>
          <p:cNvPr id="12" name="Graphic 11">
            <a:hlinkClick r:id="rId4"/>
            <a:extLst>
              <a:ext uri="{FF2B5EF4-FFF2-40B4-BE49-F238E27FC236}">
                <a16:creationId xmlns:a16="http://schemas.microsoft.com/office/drawing/2014/main" id="{49A4B0B7-001A-0506-0F58-59244B40880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1580" y="5136438"/>
            <a:ext cx="244475" cy="244475"/>
          </a:xfrm>
          <a:prstGeom prst="rect">
            <a:avLst/>
          </a:prstGeom>
        </p:spPr>
      </p:pic>
      <p:sp>
        <p:nvSpPr>
          <p:cNvPr id="13" name="TextBox 12">
            <a:hlinkClick r:id="rId6"/>
            <a:extLst>
              <a:ext uri="{FF2B5EF4-FFF2-40B4-BE49-F238E27FC236}">
                <a16:creationId xmlns:a16="http://schemas.microsoft.com/office/drawing/2014/main" id="{E17582F5-47DB-6177-4DC4-ADD22AFE6B48}"/>
              </a:ext>
            </a:extLst>
          </p:cNvPr>
          <p:cNvSpPr txBox="1"/>
          <p:nvPr/>
        </p:nvSpPr>
        <p:spPr>
          <a:xfrm>
            <a:off x="635059" y="4593013"/>
            <a:ext cx="2097597" cy="415498"/>
          </a:xfrm>
          <a:prstGeom prst="rect">
            <a:avLst/>
          </a:prstGeom>
          <a:noFill/>
        </p:spPr>
        <p:txBody>
          <a:bodyPr wrap="square" rtlCol="0">
            <a:spAutoFit/>
          </a:bodyPr>
          <a:lstStyle/>
          <a:p>
            <a:r>
              <a:rPr lang="en-US" sz="2000" b="0" i="0" dirty="0">
                <a:solidFill>
                  <a:schemeClr val="accent2"/>
                </a:solidFill>
                <a:latin typeface="+mj-lt"/>
              </a:rPr>
              <a:t>Birlasoft.com</a:t>
            </a:r>
          </a:p>
        </p:txBody>
      </p:sp>
      <p:sp>
        <p:nvSpPr>
          <p:cNvPr id="17" name="Rectangle 16">
            <a:extLst>
              <a:ext uri="{FF2B5EF4-FFF2-40B4-BE49-F238E27FC236}">
                <a16:creationId xmlns:a16="http://schemas.microsoft.com/office/drawing/2014/main" id="{B8159400-387C-7713-2C61-CF177E146ECD}"/>
              </a:ext>
            </a:extLst>
          </p:cNvPr>
          <p:cNvSpPr/>
          <p:nvPr/>
        </p:nvSpPr>
        <p:spPr>
          <a:xfrm>
            <a:off x="1030995" y="5136441"/>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hlinkClick r:id="rId7"/>
            <a:extLst>
              <a:ext uri="{FF2B5EF4-FFF2-40B4-BE49-F238E27FC236}">
                <a16:creationId xmlns:a16="http://schemas.microsoft.com/office/drawing/2014/main" id="{25E85C23-BAC7-71F3-C3C1-7C1792BDDE27}"/>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41425" r="-1"/>
          <a:stretch/>
        </p:blipFill>
        <p:spPr>
          <a:xfrm>
            <a:off x="928151" y="5136441"/>
            <a:ext cx="351111" cy="244475"/>
          </a:xfrm>
          <a:prstGeom prst="rect">
            <a:avLst/>
          </a:prstGeom>
        </p:spPr>
      </p:pic>
      <p:sp>
        <p:nvSpPr>
          <p:cNvPr id="19" name="Rectangle 18">
            <a:extLst>
              <a:ext uri="{FF2B5EF4-FFF2-40B4-BE49-F238E27FC236}">
                <a16:creationId xmlns:a16="http://schemas.microsoft.com/office/drawing/2014/main" id="{455422A3-A8C5-CF30-1D82-095EF83F7DA2}"/>
              </a:ext>
            </a:extLst>
          </p:cNvPr>
          <p:cNvSpPr/>
          <p:nvPr/>
        </p:nvSpPr>
        <p:spPr>
          <a:xfrm>
            <a:off x="1330410" y="5136441"/>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6C501EF-D3F3-F26E-34B0-5FF197E4DC51}"/>
              </a:ext>
            </a:extLst>
          </p:cNvPr>
          <p:cNvSpPr/>
          <p:nvPr/>
        </p:nvSpPr>
        <p:spPr>
          <a:xfrm>
            <a:off x="1626033"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hlinkClick r:id="rId9"/>
            <a:extLst>
              <a:ext uri="{FF2B5EF4-FFF2-40B4-BE49-F238E27FC236}">
                <a16:creationId xmlns:a16="http://schemas.microsoft.com/office/drawing/2014/main" id="{14DDF214-1F64-81B2-0073-D7330E4C55C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26033" y="5136441"/>
            <a:ext cx="244475" cy="244475"/>
          </a:xfrm>
          <a:prstGeom prst="rect">
            <a:avLst/>
          </a:prstGeom>
        </p:spPr>
      </p:pic>
      <p:pic>
        <p:nvPicPr>
          <p:cNvPr id="7" name="Graphic 6">
            <a:extLst>
              <a:ext uri="{FF2B5EF4-FFF2-40B4-BE49-F238E27FC236}">
                <a16:creationId xmlns:a16="http://schemas.microsoft.com/office/drawing/2014/main" id="{794D225B-AAA5-6D4E-5409-7B3017DD1FED}"/>
              </a:ext>
            </a:extLst>
          </p:cNvPr>
          <p:cNvPicPr>
            <a:picLocks noChangeAspect="1"/>
          </p:cNvPicPr>
          <p:nvPr/>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l="9498" t="26725" r="9235" b="25469"/>
          <a:stretch/>
        </p:blipFill>
        <p:spPr>
          <a:xfrm>
            <a:off x="514350" y="516172"/>
            <a:ext cx="1955800" cy="525227"/>
          </a:xfrm>
          <a:prstGeom prst="rect">
            <a:avLst/>
          </a:prstGeom>
        </p:spPr>
      </p:pic>
      <p:pic>
        <p:nvPicPr>
          <p:cNvPr id="3" name="Graphic 2">
            <a:extLst>
              <a:ext uri="{FF2B5EF4-FFF2-40B4-BE49-F238E27FC236}">
                <a16:creationId xmlns:a16="http://schemas.microsoft.com/office/drawing/2014/main" id="{384F9D83-C855-C907-425A-7095683D763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63479" y="5166743"/>
            <a:ext cx="182206" cy="186306"/>
          </a:xfrm>
          <a:prstGeom prst="rect">
            <a:avLst/>
          </a:prstGeom>
        </p:spPr>
      </p:pic>
    </p:spTree>
    <p:extLst>
      <p:ext uri="{BB962C8B-B14F-4D97-AF65-F5344CB8AC3E}">
        <p14:creationId xmlns:p14="http://schemas.microsoft.com/office/powerpoint/2010/main" val="16484250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Devider slide 2">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7FF3FB63-3D02-415C-A2C5-02C3BAA749D9}"/>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1"/>
            <a:ext cx="12192000" cy="637177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8A7095A6-FF7E-4F9F-AFE8-F3A284C32F5E}"/>
              </a:ext>
            </a:extLst>
          </p:cNvPr>
          <p:cNvSpPr/>
          <p:nvPr/>
        </p:nvSpPr>
        <p:spPr>
          <a:xfrm>
            <a:off x="0" y="1"/>
            <a:ext cx="12192000" cy="6386286"/>
          </a:xfrm>
          <a:prstGeom prst="rect">
            <a:avLst/>
          </a:prstGeom>
          <a:solidFill>
            <a:schemeClr val="tx1">
              <a:lumMod val="65000"/>
              <a:lumOff val="35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2A869E75-A486-4EF6-9763-4B8DBE34422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962650" y="4762500"/>
            <a:ext cx="6229350" cy="2095500"/>
          </a:xfrm>
          <a:prstGeom prst="rect">
            <a:avLst/>
          </a:prstGeom>
        </p:spPr>
      </p:pic>
      <p:sp>
        <p:nvSpPr>
          <p:cNvPr id="19" name="Rectangle 18">
            <a:extLst>
              <a:ext uri="{FF2B5EF4-FFF2-40B4-BE49-F238E27FC236}">
                <a16:creationId xmlns:a16="http://schemas.microsoft.com/office/drawing/2014/main" id="{D1491FAA-15B5-4F95-8FDA-D5BFF32EA41F}"/>
              </a:ext>
            </a:extLst>
          </p:cNvPr>
          <p:cNvSpPr/>
          <p:nvPr/>
        </p:nvSpPr>
        <p:spPr>
          <a:xfrm>
            <a:off x="956840" y="6414279"/>
            <a:ext cx="5139159" cy="443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2469F6-D9E6-4B7D-A3CE-6DAE592BC6FF}"/>
              </a:ext>
            </a:extLst>
          </p:cNvPr>
          <p:cNvSpPr>
            <a:spLocks noGrp="1"/>
          </p:cNvSpPr>
          <p:nvPr>
            <p:ph type="title" hasCustomPrompt="1"/>
          </p:nvPr>
        </p:nvSpPr>
        <p:spPr>
          <a:xfrm>
            <a:off x="956841" y="2129415"/>
            <a:ext cx="8765857" cy="2231458"/>
          </a:xfrm>
        </p:spPr>
        <p:txBody>
          <a:bodyPr>
            <a:noAutofit/>
          </a:bodyPr>
          <a:lstStyle>
            <a:lvl1pPr>
              <a:defRPr sz="4000" b="1">
                <a:solidFill>
                  <a:schemeClr val="bg1"/>
                </a:solidFill>
              </a:defRPr>
            </a:lvl1pPr>
          </a:lstStyle>
          <a:p>
            <a:r>
              <a:rPr lang="en-US"/>
              <a:t>Divider slide</a:t>
            </a:r>
          </a:p>
        </p:txBody>
      </p:sp>
      <p:pic>
        <p:nvPicPr>
          <p:cNvPr id="20" name="Graphic 19">
            <a:extLst>
              <a:ext uri="{FF2B5EF4-FFF2-40B4-BE49-F238E27FC236}">
                <a16:creationId xmlns:a16="http://schemas.microsoft.com/office/drawing/2014/main" id="{B095D0A0-4EFC-491C-8974-F4783238D9B5}"/>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89165" y="5276442"/>
            <a:ext cx="2232476" cy="1019174"/>
          </a:xfrm>
          <a:prstGeom prst="rect">
            <a:avLst/>
          </a:prstGeom>
        </p:spPr>
      </p:pic>
      <p:grpSp>
        <p:nvGrpSpPr>
          <p:cNvPr id="26" name="Group 25">
            <a:extLst>
              <a:ext uri="{FF2B5EF4-FFF2-40B4-BE49-F238E27FC236}">
                <a16:creationId xmlns:a16="http://schemas.microsoft.com/office/drawing/2014/main" id="{A7DF6795-9669-46CB-B4BF-EBFB5E011375}"/>
              </a:ext>
            </a:extLst>
          </p:cNvPr>
          <p:cNvGrpSpPr/>
          <p:nvPr/>
        </p:nvGrpSpPr>
        <p:grpSpPr>
          <a:xfrm>
            <a:off x="1010144" y="5113648"/>
            <a:ext cx="2296937" cy="52078"/>
            <a:chOff x="1" y="5094650"/>
            <a:chExt cx="3288795" cy="445367"/>
          </a:xfrm>
        </p:grpSpPr>
        <p:sp>
          <p:nvSpPr>
            <p:cNvPr id="27" name="Freeform: Shape 26">
              <a:extLst>
                <a:ext uri="{FF2B5EF4-FFF2-40B4-BE49-F238E27FC236}">
                  <a16:creationId xmlns:a16="http://schemas.microsoft.com/office/drawing/2014/main" id="{06F92297-B182-4F6C-A19C-4B58748F0B31}"/>
                </a:ext>
              </a:extLst>
            </p:cNvPr>
            <p:cNvSpPr/>
            <p:nvPr/>
          </p:nvSpPr>
          <p:spPr>
            <a:xfrm>
              <a:off x="1" y="5094650"/>
              <a:ext cx="986596" cy="445367"/>
            </a:xfrm>
            <a:custGeom>
              <a:avLst/>
              <a:gdLst>
                <a:gd name="connsiteX0" fmla="*/ 0 w 986596"/>
                <a:gd name="connsiteY0" fmla="*/ 0 h 445367"/>
                <a:gd name="connsiteX1" fmla="*/ 986597 w 986596"/>
                <a:gd name="connsiteY1" fmla="*/ 0 h 445367"/>
                <a:gd name="connsiteX2" fmla="*/ 986597 w 986596"/>
                <a:gd name="connsiteY2" fmla="*/ 445368 h 445367"/>
                <a:gd name="connsiteX3" fmla="*/ 0 w 986596"/>
                <a:gd name="connsiteY3" fmla="*/ 445368 h 445367"/>
              </a:gdLst>
              <a:ahLst/>
              <a:cxnLst>
                <a:cxn ang="0">
                  <a:pos x="connsiteX0" y="connsiteY0"/>
                </a:cxn>
                <a:cxn ang="0">
                  <a:pos x="connsiteX1" y="connsiteY1"/>
                </a:cxn>
                <a:cxn ang="0">
                  <a:pos x="connsiteX2" y="connsiteY2"/>
                </a:cxn>
                <a:cxn ang="0">
                  <a:pos x="connsiteX3" y="connsiteY3"/>
                </a:cxn>
              </a:cxnLst>
              <a:rect l="l" t="t" r="r" b="b"/>
              <a:pathLst>
                <a:path w="986596" h="445367">
                  <a:moveTo>
                    <a:pt x="0" y="0"/>
                  </a:moveTo>
                  <a:lnTo>
                    <a:pt x="986597" y="0"/>
                  </a:lnTo>
                  <a:lnTo>
                    <a:pt x="986597" y="445368"/>
                  </a:lnTo>
                  <a:lnTo>
                    <a:pt x="0" y="445368"/>
                  </a:lnTo>
                  <a:close/>
                </a:path>
              </a:pathLst>
            </a:custGeom>
            <a:solidFill>
              <a:srgbClr val="4A4B4C"/>
            </a:solidFill>
            <a:ln w="21004" cap="flat">
              <a:noFill/>
              <a:prstDash val="solid"/>
              <a:miter/>
            </a:ln>
          </p:spPr>
          <p:txBody>
            <a:bodyPr rtlCol="0" anchor="ctr"/>
            <a:lstStyle/>
            <a:p>
              <a:endParaRPr lang="en-US" sz="2160"/>
            </a:p>
          </p:txBody>
        </p:sp>
        <p:sp>
          <p:nvSpPr>
            <p:cNvPr id="28" name="Freeform: Shape 27">
              <a:extLst>
                <a:ext uri="{FF2B5EF4-FFF2-40B4-BE49-F238E27FC236}">
                  <a16:creationId xmlns:a16="http://schemas.microsoft.com/office/drawing/2014/main" id="{43BD15B4-B9FD-4641-961A-B72CE24BF5B4}"/>
                </a:ext>
              </a:extLst>
            </p:cNvPr>
            <p:cNvSpPr/>
            <p:nvPr/>
          </p:nvSpPr>
          <p:spPr>
            <a:xfrm>
              <a:off x="986597" y="5094650"/>
              <a:ext cx="2302199" cy="445367"/>
            </a:xfrm>
            <a:custGeom>
              <a:avLst/>
              <a:gdLst>
                <a:gd name="connsiteX0" fmla="*/ 0 w 2302199"/>
                <a:gd name="connsiteY0" fmla="*/ 0 h 445367"/>
                <a:gd name="connsiteX1" fmla="*/ 2302199 w 2302199"/>
                <a:gd name="connsiteY1" fmla="*/ 0 h 445367"/>
                <a:gd name="connsiteX2" fmla="*/ 2302199 w 2302199"/>
                <a:gd name="connsiteY2" fmla="*/ 445368 h 445367"/>
                <a:gd name="connsiteX3" fmla="*/ 0 w 2302199"/>
                <a:gd name="connsiteY3" fmla="*/ 445368 h 445367"/>
              </a:gdLst>
              <a:ahLst/>
              <a:cxnLst>
                <a:cxn ang="0">
                  <a:pos x="connsiteX0" y="connsiteY0"/>
                </a:cxn>
                <a:cxn ang="0">
                  <a:pos x="connsiteX1" y="connsiteY1"/>
                </a:cxn>
                <a:cxn ang="0">
                  <a:pos x="connsiteX2" y="connsiteY2"/>
                </a:cxn>
                <a:cxn ang="0">
                  <a:pos x="connsiteX3" y="connsiteY3"/>
                </a:cxn>
              </a:cxnLst>
              <a:rect l="l" t="t" r="r" b="b"/>
              <a:pathLst>
                <a:path w="2302199" h="445367">
                  <a:moveTo>
                    <a:pt x="0" y="0"/>
                  </a:moveTo>
                  <a:lnTo>
                    <a:pt x="2302199" y="0"/>
                  </a:lnTo>
                  <a:lnTo>
                    <a:pt x="2302199" y="445368"/>
                  </a:lnTo>
                  <a:lnTo>
                    <a:pt x="0" y="445368"/>
                  </a:lnTo>
                  <a:close/>
                </a:path>
              </a:pathLst>
            </a:custGeom>
            <a:solidFill>
              <a:srgbClr val="E91C24"/>
            </a:solidFill>
            <a:ln w="21004" cap="flat">
              <a:noFill/>
              <a:prstDash val="solid"/>
              <a:miter/>
            </a:ln>
          </p:spPr>
          <p:txBody>
            <a:bodyPr rtlCol="0" anchor="ctr"/>
            <a:lstStyle/>
            <a:p>
              <a:endParaRPr lang="en-US" sz="2160"/>
            </a:p>
          </p:txBody>
        </p:sp>
      </p:grpSp>
      <p:sp>
        <p:nvSpPr>
          <p:cNvPr id="6" name="TextBox 5">
            <a:extLst>
              <a:ext uri="{FF2B5EF4-FFF2-40B4-BE49-F238E27FC236}">
                <a16:creationId xmlns:a16="http://schemas.microsoft.com/office/drawing/2014/main" id="{5095EF4D-872A-0E81-DBFB-AD4F46FF0A47}"/>
              </a:ext>
            </a:extLst>
          </p:cNvPr>
          <p:cNvSpPr txBox="1"/>
          <p:nvPr/>
        </p:nvSpPr>
        <p:spPr>
          <a:xfrm>
            <a:off x="859369" y="6495000"/>
            <a:ext cx="990600" cy="200055"/>
          </a:xfrm>
          <a:prstGeom prst="rect">
            <a:avLst/>
          </a:prstGeom>
          <a:noFill/>
        </p:spPr>
        <p:txBody>
          <a:bodyPr wrap="square">
            <a:spAutoFit/>
          </a:bodyPr>
          <a:lstStyle/>
          <a:p>
            <a:r>
              <a:rPr lang="en-IN" sz="700" dirty="0"/>
              <a:t>© 2026 Birlasoft</a:t>
            </a:r>
          </a:p>
        </p:txBody>
      </p:sp>
    </p:spTree>
    <p:extLst>
      <p:ext uri="{BB962C8B-B14F-4D97-AF65-F5344CB8AC3E}">
        <p14:creationId xmlns:p14="http://schemas.microsoft.com/office/powerpoint/2010/main" val="2841259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ext Content 4">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7E7A931-2CCE-4D13-832C-91CB256D1A42}"/>
              </a:ext>
            </a:extLst>
          </p:cNvPr>
          <p:cNvSpPr>
            <a:spLocks noGrp="1"/>
          </p:cNvSpPr>
          <p:nvPr>
            <p:ph type="title" hasCustomPrompt="1"/>
          </p:nvPr>
        </p:nvSpPr>
        <p:spPr>
          <a:xfrm>
            <a:off x="527513" y="342898"/>
            <a:ext cx="11148550" cy="608012"/>
          </a:xfrm>
        </p:spPr>
        <p:txBody>
          <a:bodyPr>
            <a:norm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169492225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40453463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ext Content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3B07871-61F5-1E36-E68E-0972C4164582}"/>
              </a:ext>
            </a:extLst>
          </p:cNvPr>
          <p:cNvSpPr>
            <a:spLocks noGrp="1"/>
          </p:cNvSpPr>
          <p:nvPr>
            <p:ph type="title" hasCustomPrompt="1"/>
          </p:nvPr>
        </p:nvSpPr>
        <p:spPr>
          <a:xfrm>
            <a:off x="514349" y="342898"/>
            <a:ext cx="11032475" cy="360099"/>
          </a:xfrm>
        </p:spPr>
        <p:txBody>
          <a:bodyPr lIns="0" tIns="0" rIns="0" bIns="0" anchor="t" anchorCtr="0">
            <a:sp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3107352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2B3FB8-4B17-F04F-EC4E-7EDFBC53CE64}"/>
              </a:ext>
            </a:extLst>
          </p:cNvPr>
          <p:cNvPicPr>
            <a:picLocks noChangeAspect="1"/>
          </p:cNvPicPr>
          <p:nvPr/>
        </p:nvPicPr>
        <p:blipFill>
          <a:blip r:embed="rId2" cstate="email">
            <a:alphaModFix amt="92000"/>
            <a:extLst>
              <a:ext uri="{28A0092B-C50C-407E-A947-70E740481C1C}">
                <a14:useLocalDpi xmlns:a14="http://schemas.microsoft.com/office/drawing/2010/main"/>
              </a:ext>
            </a:extLst>
          </a:blip>
          <a:stretch>
            <a:fillRect/>
          </a:stretch>
        </p:blipFill>
        <p:spPr>
          <a:xfrm>
            <a:off x="0" y="-692"/>
            <a:ext cx="12192001" cy="6858692"/>
          </a:xfrm>
          <a:prstGeom prst="rect">
            <a:avLst/>
          </a:prstGeom>
        </p:spPr>
      </p:pic>
      <p:sp>
        <p:nvSpPr>
          <p:cNvPr id="10" name="Rectangle 9">
            <a:extLst>
              <a:ext uri="{FF2B5EF4-FFF2-40B4-BE49-F238E27FC236}">
                <a16:creationId xmlns:a16="http://schemas.microsoft.com/office/drawing/2014/main" id="{E5A5A4C3-81B1-7F3E-DFCE-E3ABBE4B4AE3}"/>
              </a:ext>
            </a:extLst>
          </p:cNvPr>
          <p:cNvSpPr/>
          <p:nvPr/>
        </p:nvSpPr>
        <p:spPr>
          <a:xfrm>
            <a:off x="0" y="6344994"/>
            <a:ext cx="12192000" cy="525227"/>
          </a:xfrm>
          <a:prstGeom prst="rect">
            <a:avLst/>
          </a:prstGeom>
          <a:gradFill flip="none" rotWithShape="1">
            <a:gsLst>
              <a:gs pos="100000">
                <a:srgbClr val="1D0C2A"/>
              </a:gs>
              <a:gs pos="65000">
                <a:srgbClr val="6B0E2F"/>
              </a:gs>
              <a:gs pos="0">
                <a:schemeClr val="accent1"/>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0BB63ED3-A2CD-5823-423D-F6F46142969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60884" y="6193906"/>
            <a:ext cx="1310949" cy="317346"/>
          </a:xfrm>
          <a:prstGeom prst="rect">
            <a:avLst/>
          </a:prstGeom>
        </p:spPr>
      </p:pic>
      <p:sp>
        <p:nvSpPr>
          <p:cNvPr id="27" name="TextBox 26">
            <a:extLst>
              <a:ext uri="{FF2B5EF4-FFF2-40B4-BE49-F238E27FC236}">
                <a16:creationId xmlns:a16="http://schemas.microsoft.com/office/drawing/2014/main" id="{203CB3A1-7A42-C762-E58D-043DE603BFA3}"/>
              </a:ext>
            </a:extLst>
          </p:cNvPr>
          <p:cNvSpPr txBox="1"/>
          <p:nvPr/>
        </p:nvSpPr>
        <p:spPr>
          <a:xfrm>
            <a:off x="9460884" y="6499886"/>
            <a:ext cx="1421006" cy="200055"/>
          </a:xfrm>
          <a:prstGeom prst="rect">
            <a:avLst/>
          </a:prstGeom>
          <a:noFill/>
        </p:spPr>
        <p:txBody>
          <a:bodyPr wrap="square">
            <a:spAutoFit/>
          </a:bodyPr>
          <a:lstStyle/>
          <a:p>
            <a:r>
              <a:rPr lang="en-IN" sz="700">
                <a:solidFill>
                  <a:schemeClr val="bg1"/>
                </a:solidFill>
              </a:rPr>
              <a:t>© 2023 Birlasoft</a:t>
            </a:r>
          </a:p>
        </p:txBody>
      </p:sp>
      <p:sp>
        <p:nvSpPr>
          <p:cNvPr id="9" name="Rectangle 8">
            <a:extLst>
              <a:ext uri="{FF2B5EF4-FFF2-40B4-BE49-F238E27FC236}">
                <a16:creationId xmlns:a16="http://schemas.microsoft.com/office/drawing/2014/main" id="{F1832A43-6736-EB47-BAA7-423CC961B7A8}"/>
              </a:ext>
            </a:extLst>
          </p:cNvPr>
          <p:cNvSpPr/>
          <p:nvPr/>
        </p:nvSpPr>
        <p:spPr>
          <a:xfrm>
            <a:off x="731580"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7">
            <a:extLst>
              <a:ext uri="{FF2B5EF4-FFF2-40B4-BE49-F238E27FC236}">
                <a16:creationId xmlns:a16="http://schemas.microsoft.com/office/drawing/2014/main" id="{902AAF8C-FAD1-9C40-3CFC-958B6A419EE5}"/>
              </a:ext>
            </a:extLst>
          </p:cNvPr>
          <p:cNvSpPr txBox="1">
            <a:spLocks/>
          </p:cNvSpPr>
          <p:nvPr/>
        </p:nvSpPr>
        <p:spPr>
          <a:xfrm>
            <a:off x="514351" y="2394826"/>
            <a:ext cx="4013044" cy="1190112"/>
          </a:xfrm>
          <a:prstGeom prst="rect">
            <a:avLst/>
          </a:prstGeom>
          <a:effectLst/>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lnSpc>
                <a:spcPts val="10560"/>
              </a:lnSpc>
            </a:pPr>
            <a:r>
              <a:rPr lang="en-US" sz="5400" b="1">
                <a:solidFill>
                  <a:schemeClr val="tx1">
                    <a:lumMod val="75000"/>
                    <a:lumOff val="25000"/>
                  </a:schemeClr>
                </a:solidFill>
                <a:effectLst/>
              </a:rPr>
              <a:t>Thank You</a:t>
            </a:r>
            <a:endParaRPr lang="en-IN" sz="5400" b="1">
              <a:solidFill>
                <a:schemeClr val="tx1">
                  <a:lumMod val="75000"/>
                  <a:lumOff val="25000"/>
                </a:schemeClr>
              </a:solidFill>
              <a:effectLst/>
            </a:endParaRPr>
          </a:p>
        </p:txBody>
      </p:sp>
      <p:pic>
        <p:nvPicPr>
          <p:cNvPr id="12" name="Graphic 11">
            <a:hlinkClick r:id="rId4"/>
            <a:extLst>
              <a:ext uri="{FF2B5EF4-FFF2-40B4-BE49-F238E27FC236}">
                <a16:creationId xmlns:a16="http://schemas.microsoft.com/office/drawing/2014/main" id="{49A4B0B7-001A-0506-0F58-59244B40880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1580" y="5136438"/>
            <a:ext cx="244475" cy="244475"/>
          </a:xfrm>
          <a:prstGeom prst="rect">
            <a:avLst/>
          </a:prstGeom>
        </p:spPr>
      </p:pic>
      <p:sp>
        <p:nvSpPr>
          <p:cNvPr id="13" name="TextBox 12">
            <a:hlinkClick r:id="rId6"/>
            <a:extLst>
              <a:ext uri="{FF2B5EF4-FFF2-40B4-BE49-F238E27FC236}">
                <a16:creationId xmlns:a16="http://schemas.microsoft.com/office/drawing/2014/main" id="{E17582F5-47DB-6177-4DC4-ADD22AFE6B48}"/>
              </a:ext>
            </a:extLst>
          </p:cNvPr>
          <p:cNvSpPr txBox="1"/>
          <p:nvPr/>
        </p:nvSpPr>
        <p:spPr>
          <a:xfrm>
            <a:off x="635059" y="4593013"/>
            <a:ext cx="2097597" cy="415498"/>
          </a:xfrm>
          <a:prstGeom prst="rect">
            <a:avLst/>
          </a:prstGeom>
          <a:noFill/>
        </p:spPr>
        <p:txBody>
          <a:bodyPr wrap="square" rtlCol="0">
            <a:spAutoFit/>
          </a:bodyPr>
          <a:lstStyle/>
          <a:p>
            <a:r>
              <a:rPr lang="en-US" sz="2000" b="0" i="0" dirty="0">
                <a:solidFill>
                  <a:schemeClr val="accent2"/>
                </a:solidFill>
                <a:latin typeface="+mj-lt"/>
              </a:rPr>
              <a:t>Birlasoft.com</a:t>
            </a:r>
          </a:p>
        </p:txBody>
      </p:sp>
      <p:sp>
        <p:nvSpPr>
          <p:cNvPr id="17" name="Rectangle 16">
            <a:extLst>
              <a:ext uri="{FF2B5EF4-FFF2-40B4-BE49-F238E27FC236}">
                <a16:creationId xmlns:a16="http://schemas.microsoft.com/office/drawing/2014/main" id="{B8159400-387C-7713-2C61-CF177E146ECD}"/>
              </a:ext>
            </a:extLst>
          </p:cNvPr>
          <p:cNvSpPr/>
          <p:nvPr/>
        </p:nvSpPr>
        <p:spPr>
          <a:xfrm>
            <a:off x="1030995" y="5136441"/>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hlinkClick r:id="rId7"/>
            <a:extLst>
              <a:ext uri="{FF2B5EF4-FFF2-40B4-BE49-F238E27FC236}">
                <a16:creationId xmlns:a16="http://schemas.microsoft.com/office/drawing/2014/main" id="{25E85C23-BAC7-71F3-C3C1-7C1792BDDE27}"/>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41425" r="-1"/>
          <a:stretch/>
        </p:blipFill>
        <p:spPr>
          <a:xfrm>
            <a:off x="928151" y="5136441"/>
            <a:ext cx="351111" cy="244475"/>
          </a:xfrm>
          <a:prstGeom prst="rect">
            <a:avLst/>
          </a:prstGeom>
        </p:spPr>
      </p:pic>
      <p:sp>
        <p:nvSpPr>
          <p:cNvPr id="19" name="Rectangle 18">
            <a:extLst>
              <a:ext uri="{FF2B5EF4-FFF2-40B4-BE49-F238E27FC236}">
                <a16:creationId xmlns:a16="http://schemas.microsoft.com/office/drawing/2014/main" id="{455422A3-A8C5-CF30-1D82-095EF83F7DA2}"/>
              </a:ext>
            </a:extLst>
          </p:cNvPr>
          <p:cNvSpPr/>
          <p:nvPr/>
        </p:nvSpPr>
        <p:spPr>
          <a:xfrm>
            <a:off x="1330410" y="5136441"/>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6C501EF-D3F3-F26E-34B0-5FF197E4DC51}"/>
              </a:ext>
            </a:extLst>
          </p:cNvPr>
          <p:cNvSpPr/>
          <p:nvPr/>
        </p:nvSpPr>
        <p:spPr>
          <a:xfrm>
            <a:off x="1626033"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hlinkClick r:id="rId9"/>
            <a:extLst>
              <a:ext uri="{FF2B5EF4-FFF2-40B4-BE49-F238E27FC236}">
                <a16:creationId xmlns:a16="http://schemas.microsoft.com/office/drawing/2014/main" id="{14DDF214-1F64-81B2-0073-D7330E4C55C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26033" y="5136441"/>
            <a:ext cx="244475" cy="244475"/>
          </a:xfrm>
          <a:prstGeom prst="rect">
            <a:avLst/>
          </a:prstGeom>
        </p:spPr>
      </p:pic>
      <p:pic>
        <p:nvPicPr>
          <p:cNvPr id="7" name="Graphic 6">
            <a:extLst>
              <a:ext uri="{FF2B5EF4-FFF2-40B4-BE49-F238E27FC236}">
                <a16:creationId xmlns:a16="http://schemas.microsoft.com/office/drawing/2014/main" id="{794D225B-AAA5-6D4E-5409-7B3017DD1FED}"/>
              </a:ext>
            </a:extLst>
          </p:cNvPr>
          <p:cNvPicPr>
            <a:picLocks noChangeAspect="1"/>
          </p:cNvPicPr>
          <p:nvPr/>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l="9498" t="26725" r="9235" b="25469"/>
          <a:stretch/>
        </p:blipFill>
        <p:spPr>
          <a:xfrm>
            <a:off x="514350" y="516172"/>
            <a:ext cx="1955800" cy="525227"/>
          </a:xfrm>
          <a:prstGeom prst="rect">
            <a:avLst/>
          </a:prstGeom>
        </p:spPr>
      </p:pic>
      <p:pic>
        <p:nvPicPr>
          <p:cNvPr id="3" name="Graphic 2">
            <a:extLst>
              <a:ext uri="{FF2B5EF4-FFF2-40B4-BE49-F238E27FC236}">
                <a16:creationId xmlns:a16="http://schemas.microsoft.com/office/drawing/2014/main" id="{384F9D83-C855-C907-425A-7095683D763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63479" y="5166743"/>
            <a:ext cx="182206" cy="186306"/>
          </a:xfrm>
          <a:prstGeom prst="rect">
            <a:avLst/>
          </a:prstGeom>
        </p:spPr>
      </p:pic>
    </p:spTree>
    <p:extLst>
      <p:ext uri="{BB962C8B-B14F-4D97-AF65-F5344CB8AC3E}">
        <p14:creationId xmlns:p14="http://schemas.microsoft.com/office/powerpoint/2010/main" val="14176146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over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D437788-DC96-F6C5-A832-96D2945F35FC}"/>
              </a:ext>
            </a:extLst>
          </p:cNvPr>
          <p:cNvGrpSpPr/>
          <p:nvPr userDrawn="1"/>
        </p:nvGrpSpPr>
        <p:grpSpPr>
          <a:xfrm>
            <a:off x="0" y="1433244"/>
            <a:ext cx="12192000" cy="5723617"/>
            <a:chOff x="0" y="1433244"/>
            <a:chExt cx="12192000" cy="5723617"/>
          </a:xfrm>
        </p:grpSpPr>
        <p:sp>
          <p:nvSpPr>
            <p:cNvPr id="6" name="Rectangle 5">
              <a:extLst>
                <a:ext uri="{FF2B5EF4-FFF2-40B4-BE49-F238E27FC236}">
                  <a16:creationId xmlns:a16="http://schemas.microsoft.com/office/drawing/2014/main" id="{4996152D-0857-F5D7-6A2C-B54B05F4A690}"/>
                </a:ext>
              </a:extLst>
            </p:cNvPr>
            <p:cNvSpPr/>
            <p:nvPr userDrawn="1"/>
          </p:nvSpPr>
          <p:spPr>
            <a:xfrm>
              <a:off x="0" y="1433244"/>
              <a:ext cx="5581650" cy="572229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descr="A person touching a large display of colorful squares&#10;&#10;Description automatically generated">
              <a:extLst>
                <a:ext uri="{FF2B5EF4-FFF2-40B4-BE49-F238E27FC236}">
                  <a16:creationId xmlns:a16="http://schemas.microsoft.com/office/drawing/2014/main" id="{484CF8CB-A2E7-0C55-715B-CD96047A4B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5717" y="1433245"/>
              <a:ext cx="8586283" cy="5723616"/>
            </a:xfrm>
            <a:prstGeom prst="rect">
              <a:avLst/>
            </a:prstGeom>
          </p:spPr>
        </p:pic>
      </p:grpSp>
      <p:pic>
        <p:nvPicPr>
          <p:cNvPr id="8" name="Graphic 7">
            <a:extLst>
              <a:ext uri="{FF2B5EF4-FFF2-40B4-BE49-F238E27FC236}">
                <a16:creationId xmlns:a16="http://schemas.microsoft.com/office/drawing/2014/main" id="{130562DD-073F-46B6-0AFB-C6AA97B1F9EE}"/>
              </a:ext>
            </a:extLst>
          </p:cNvPr>
          <p:cNvPicPr>
            <a:picLocks noChangeAspect="1"/>
          </p:cNvPicPr>
          <p:nvPr/>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4350" y="222534"/>
            <a:ext cx="2406650" cy="1098688"/>
          </a:xfrm>
          <a:prstGeom prst="rect">
            <a:avLst/>
          </a:prstGeom>
        </p:spPr>
      </p:pic>
      <p:pic>
        <p:nvPicPr>
          <p:cNvPr id="9" name="Picture 8" descr="Shape, arrow&#10;&#10;Description automatically generated">
            <a:extLst>
              <a:ext uri="{FF2B5EF4-FFF2-40B4-BE49-F238E27FC236}">
                <a16:creationId xmlns:a16="http://schemas.microsoft.com/office/drawing/2014/main" id="{50BAED42-4D59-CD90-8589-703444827B26}"/>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9208229" y="690377"/>
            <a:ext cx="1786655" cy="1659147"/>
          </a:xfrm>
          <a:prstGeom prst="rect">
            <a:avLst/>
          </a:prstGeom>
          <a:effectLst>
            <a:outerShdw blurRad="558800" dist="241300" dir="6000000" sx="97000" sy="97000" algn="ctr" rotWithShape="0">
              <a:srgbClr val="000000">
                <a:alpha val="73000"/>
              </a:srgbClr>
            </a:outerShdw>
          </a:effectLst>
        </p:spPr>
      </p:pic>
      <p:sp>
        <p:nvSpPr>
          <p:cNvPr id="3" name="Title 3">
            <a:extLst>
              <a:ext uri="{FF2B5EF4-FFF2-40B4-BE49-F238E27FC236}">
                <a16:creationId xmlns:a16="http://schemas.microsoft.com/office/drawing/2014/main" id="{9B10BDFB-7C05-CE46-414B-4F03975F4283}"/>
              </a:ext>
            </a:extLst>
          </p:cNvPr>
          <p:cNvSpPr>
            <a:spLocks noGrp="1"/>
          </p:cNvSpPr>
          <p:nvPr>
            <p:ph type="title" hasCustomPrompt="1"/>
          </p:nvPr>
        </p:nvSpPr>
        <p:spPr>
          <a:xfrm>
            <a:off x="569770" y="2037806"/>
            <a:ext cx="4524376" cy="2539021"/>
          </a:xfrm>
          <a:prstGeom prst="rect">
            <a:avLst/>
          </a:prstGeom>
        </p:spPr>
        <p:txBody>
          <a:bodyPr anchor="t"/>
          <a:lstStyle>
            <a:lvl1pPr marL="0" algn="l" defTabSz="914400" rtl="0" eaLnBrk="1" latinLnBrk="0" hangingPunct="1">
              <a:defRPr lang="en-US" sz="4400" b="1" kern="1200" dirty="0">
                <a:solidFill>
                  <a:schemeClr val="bg1"/>
                </a:solidFill>
                <a:latin typeface="+mn-lt"/>
                <a:ea typeface="+mn-ea"/>
                <a:cs typeface="+mn-cs"/>
              </a:defRPr>
            </a:lvl1pPr>
          </a:lstStyle>
          <a:p>
            <a:r>
              <a:rPr lang="en-US"/>
              <a:t>Title here</a:t>
            </a:r>
          </a:p>
        </p:txBody>
      </p:sp>
      <p:sp>
        <p:nvSpPr>
          <p:cNvPr id="20" name="Text Placeholder 19">
            <a:extLst>
              <a:ext uri="{FF2B5EF4-FFF2-40B4-BE49-F238E27FC236}">
                <a16:creationId xmlns:a16="http://schemas.microsoft.com/office/drawing/2014/main" id="{91FBA647-6D3B-4009-FBD3-04AD0A66E34F}"/>
              </a:ext>
            </a:extLst>
          </p:cNvPr>
          <p:cNvSpPr>
            <a:spLocks noGrp="1"/>
          </p:cNvSpPr>
          <p:nvPr>
            <p:ph type="body" sz="quarter" idx="10"/>
          </p:nvPr>
        </p:nvSpPr>
        <p:spPr>
          <a:xfrm>
            <a:off x="570439" y="5332297"/>
            <a:ext cx="4524375" cy="369549"/>
          </a:xfrm>
          <a:prstGeom prst="rect">
            <a:avLst/>
          </a:prstGeom>
        </p:spPr>
        <p:txBody>
          <a:bodyPr/>
          <a:lstStyle>
            <a:lvl1pPr marL="0" indent="0" algn="l" defTabSz="914400" rtl="0" eaLnBrk="1" latinLnBrk="0" hangingPunct="1">
              <a:buNone/>
              <a:defRPr lang="en-US" sz="2000" b="1" kern="1200" dirty="0" smtClean="0">
                <a:solidFill>
                  <a:srgbClr val="FF0000"/>
                </a:solidFill>
                <a:latin typeface="+mn-lt"/>
                <a:ea typeface="+mn-ea"/>
                <a:cs typeface="+mn-cs"/>
              </a:defRPr>
            </a:lvl1pPr>
            <a:lvl2pPr marL="0" indent="0" algn="l" defTabSz="914400" rtl="0" eaLnBrk="1" latinLnBrk="0" hangingPunct="1">
              <a:buFont typeface="Arial" panose="020B0604020202020204" pitchFamily="34" charset="0"/>
              <a:buNone/>
              <a:defRPr lang="en-US" sz="2000" b="1" kern="1200" dirty="0" smtClean="0">
                <a:solidFill>
                  <a:srgbClr val="FF0000"/>
                </a:solidFill>
                <a:latin typeface="+mn-lt"/>
                <a:ea typeface="+mn-ea"/>
                <a:cs typeface="+mn-cs"/>
              </a:defRPr>
            </a:lvl2pPr>
            <a:lvl3pPr marL="0" algn="l" defTabSz="914400" rtl="0" eaLnBrk="1" latinLnBrk="0" hangingPunct="1">
              <a:defRPr lang="en-US" sz="2000" b="1" kern="1200" dirty="0" smtClean="0">
                <a:solidFill>
                  <a:srgbClr val="FF0000"/>
                </a:solidFill>
                <a:latin typeface="+mn-lt"/>
                <a:ea typeface="+mn-ea"/>
                <a:cs typeface="+mn-cs"/>
              </a:defRPr>
            </a:lvl3pPr>
            <a:lvl4pPr marL="0" algn="l" defTabSz="914400" rtl="0" eaLnBrk="1" latinLnBrk="0" hangingPunct="1">
              <a:defRPr lang="en-US" sz="2000" b="1" kern="1200" dirty="0" smtClean="0">
                <a:solidFill>
                  <a:srgbClr val="FF0000"/>
                </a:solidFill>
                <a:latin typeface="+mn-lt"/>
                <a:ea typeface="+mn-ea"/>
                <a:cs typeface="+mn-cs"/>
              </a:defRPr>
            </a:lvl4pPr>
            <a:lvl5pPr marL="0" algn="l" defTabSz="914400" rtl="0" eaLnBrk="1" latinLnBrk="0" hangingPunct="1">
              <a:defRPr lang="en-IN" sz="2000" b="1" kern="1200" dirty="0">
                <a:solidFill>
                  <a:srgbClr val="FF0000"/>
                </a:solidFill>
                <a:latin typeface="+mn-lt"/>
                <a:ea typeface="+mn-ea"/>
                <a:cs typeface="+mn-cs"/>
              </a:defRPr>
            </a:lvl5pPr>
          </a:lstStyle>
          <a:p>
            <a:pPr lvl="0"/>
            <a:r>
              <a:rPr lang="en-US"/>
              <a:t>Click to edit Master text styles</a:t>
            </a:r>
          </a:p>
        </p:txBody>
      </p:sp>
      <p:sp>
        <p:nvSpPr>
          <p:cNvPr id="25" name="Text Placeholder 19">
            <a:extLst>
              <a:ext uri="{FF2B5EF4-FFF2-40B4-BE49-F238E27FC236}">
                <a16:creationId xmlns:a16="http://schemas.microsoft.com/office/drawing/2014/main" id="{180D0A4C-8712-B15E-D543-D24AAFBA2AAB}"/>
              </a:ext>
            </a:extLst>
          </p:cNvPr>
          <p:cNvSpPr>
            <a:spLocks noGrp="1"/>
          </p:cNvSpPr>
          <p:nvPr>
            <p:ph type="body" sz="quarter" idx="12"/>
          </p:nvPr>
        </p:nvSpPr>
        <p:spPr>
          <a:xfrm>
            <a:off x="570439" y="3239414"/>
            <a:ext cx="4524375" cy="1069349"/>
          </a:xfrm>
          <a:prstGeom prst="rect">
            <a:avLst/>
          </a:prstGeom>
        </p:spPr>
        <p:txBody>
          <a:bodyPr anchor="ctr"/>
          <a:lstStyle>
            <a:lvl1pPr marL="0" indent="0" algn="l" defTabSz="914400" rtl="0" eaLnBrk="1" latinLnBrk="0" hangingPunct="1">
              <a:lnSpc>
                <a:spcPct val="90000"/>
              </a:lnSpc>
              <a:spcBef>
                <a:spcPct val="0"/>
              </a:spcBef>
              <a:buNone/>
              <a:defRPr lang="en-US" sz="2400" b="1" kern="1200" dirty="0" smtClean="0">
                <a:solidFill>
                  <a:schemeClr val="bg1"/>
                </a:solidFill>
                <a:latin typeface="+mn-lt"/>
                <a:ea typeface="+mn-ea"/>
                <a:cs typeface="+mn-cs"/>
              </a:defRPr>
            </a:lvl1pPr>
            <a:lvl2pPr marL="0" indent="0" algn="l" defTabSz="914400" rtl="0" eaLnBrk="1" latinLnBrk="0" hangingPunct="1">
              <a:buFont typeface="Arial" panose="020B0604020202020204" pitchFamily="34" charset="0"/>
              <a:buNone/>
              <a:defRPr lang="en-US" sz="2000" b="1" kern="1200" dirty="0" smtClean="0">
                <a:solidFill>
                  <a:srgbClr val="FF0000"/>
                </a:solidFill>
                <a:latin typeface="+mn-lt"/>
                <a:ea typeface="+mn-ea"/>
                <a:cs typeface="+mn-cs"/>
              </a:defRPr>
            </a:lvl2pPr>
            <a:lvl3pPr marL="0" algn="l" defTabSz="914400" rtl="0" eaLnBrk="1" latinLnBrk="0" hangingPunct="1">
              <a:defRPr lang="en-US" sz="2000" b="1" kern="1200" dirty="0" smtClean="0">
                <a:solidFill>
                  <a:srgbClr val="FF0000"/>
                </a:solidFill>
                <a:latin typeface="+mn-lt"/>
                <a:ea typeface="+mn-ea"/>
                <a:cs typeface="+mn-cs"/>
              </a:defRPr>
            </a:lvl3pPr>
            <a:lvl4pPr marL="0" algn="l" defTabSz="914400" rtl="0" eaLnBrk="1" latinLnBrk="0" hangingPunct="1">
              <a:defRPr lang="en-US" sz="2000" b="1" kern="1200" dirty="0" smtClean="0">
                <a:solidFill>
                  <a:srgbClr val="FF0000"/>
                </a:solidFill>
                <a:latin typeface="+mn-lt"/>
                <a:ea typeface="+mn-ea"/>
                <a:cs typeface="+mn-cs"/>
              </a:defRPr>
            </a:lvl4pPr>
            <a:lvl5pPr marL="0" algn="l" defTabSz="914400" rtl="0" eaLnBrk="1" latinLnBrk="0" hangingPunct="1">
              <a:defRPr lang="en-IN" sz="2000" b="1" kern="1200" dirty="0">
                <a:solidFill>
                  <a:srgbClr val="FF0000"/>
                </a:solidFill>
                <a:latin typeface="+mn-lt"/>
                <a:ea typeface="+mn-ea"/>
                <a:cs typeface="+mn-cs"/>
              </a:defRPr>
            </a:lvl5pPr>
          </a:lstStyle>
          <a:p>
            <a:pPr lvl="0"/>
            <a:r>
              <a:rPr lang="en-US"/>
              <a:t>Click to edit Master text styles</a:t>
            </a:r>
          </a:p>
        </p:txBody>
      </p:sp>
      <p:pic>
        <p:nvPicPr>
          <p:cNvPr id="2" name="Picture 1" descr="Shape, arrow&#10;&#10;Description automatically generated">
            <a:extLst>
              <a:ext uri="{FF2B5EF4-FFF2-40B4-BE49-F238E27FC236}">
                <a16:creationId xmlns:a16="http://schemas.microsoft.com/office/drawing/2014/main" id="{D2008B1E-4E35-3FAE-2E3C-B63132505C4A}"/>
              </a:ext>
            </a:extLst>
          </p:cNvPr>
          <p:cNvPicPr>
            <a:picLocks noChangeAspect="1"/>
          </p:cNvPicPr>
          <p:nvPr userDrawn="1"/>
        </p:nvPicPr>
        <p:blipFill>
          <a:blip r:embed="rId6" cstate="screen">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714610" y="5952698"/>
            <a:ext cx="365760" cy="339656"/>
          </a:xfrm>
          <a:prstGeom prst="rect">
            <a:avLst/>
          </a:prstGeom>
          <a:effectLst>
            <a:outerShdw blurRad="558800" dist="241300" dir="6000000" sx="97000" sy="97000" algn="ctr" rotWithShape="0">
              <a:srgbClr val="000000">
                <a:alpha val="73000"/>
              </a:srgbClr>
            </a:outerShdw>
          </a:effectLst>
        </p:spPr>
      </p:pic>
      <p:pic>
        <p:nvPicPr>
          <p:cNvPr id="4" name="Picture 2">
            <a:extLst>
              <a:ext uri="{FF2B5EF4-FFF2-40B4-BE49-F238E27FC236}">
                <a16:creationId xmlns:a16="http://schemas.microsoft.com/office/drawing/2014/main" id="{85993883-79BE-1F26-36A8-35EF0EE949D6}"/>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388581" y="429878"/>
            <a:ext cx="684000" cy="684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AEEC54B7-C816-369D-6DEB-660D7DB664F9}"/>
              </a:ext>
            </a:extLst>
          </p:cNvPr>
          <p:cNvCxnSpPr>
            <a:cxnSpLocks/>
          </p:cNvCxnSpPr>
          <p:nvPr userDrawn="1"/>
        </p:nvCxnSpPr>
        <p:spPr>
          <a:xfrm>
            <a:off x="3085235" y="447801"/>
            <a:ext cx="0" cy="64815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Footer Placeholder 6">
            <a:extLst>
              <a:ext uri="{FF2B5EF4-FFF2-40B4-BE49-F238E27FC236}">
                <a16:creationId xmlns:a16="http://schemas.microsoft.com/office/drawing/2014/main" id="{27E11736-171A-62F9-CB9A-EB60C40064AC}"/>
              </a:ext>
            </a:extLst>
          </p:cNvPr>
          <p:cNvSpPr txBox="1">
            <a:spLocks/>
          </p:cNvSpPr>
          <p:nvPr userDrawn="1"/>
        </p:nvSpPr>
        <p:spPr>
          <a:xfrm>
            <a:off x="598015"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bg1"/>
                </a:solidFill>
                <a:latin typeface="+mj-lt"/>
                <a:ea typeface="Open Sans" panose="020B0606030504020204" pitchFamily="34" charset="0"/>
                <a:cs typeface="Open Sans" panose="020B0606030504020204" pitchFamily="34" charset="0"/>
              </a:rPr>
              <a:t>© 2026 Birlasoft</a:t>
            </a:r>
          </a:p>
        </p:txBody>
      </p:sp>
    </p:spTree>
    <p:extLst>
      <p:ext uri="{BB962C8B-B14F-4D97-AF65-F5344CB8AC3E}">
        <p14:creationId xmlns:p14="http://schemas.microsoft.com/office/powerpoint/2010/main" val="304486723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lain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85264-246E-79C9-9F96-6AB32AC8E1BB}"/>
              </a:ext>
            </a:extLst>
          </p:cNvPr>
          <p:cNvSpPr>
            <a:spLocks noGrp="1"/>
          </p:cNvSpPr>
          <p:nvPr>
            <p:ph type="title" hasCustomPrompt="1"/>
          </p:nvPr>
        </p:nvSpPr>
        <p:spPr>
          <a:xfrm>
            <a:off x="227067" y="210454"/>
            <a:ext cx="11738510" cy="34574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0" name="Text Placeholder 7">
            <a:extLst>
              <a:ext uri="{FF2B5EF4-FFF2-40B4-BE49-F238E27FC236}">
                <a16:creationId xmlns:a16="http://schemas.microsoft.com/office/drawing/2014/main" id="{EF6FBE1B-15C2-0260-5C03-7A8B67378C8E}"/>
              </a:ext>
            </a:extLst>
          </p:cNvPr>
          <p:cNvSpPr>
            <a:spLocks noGrp="1"/>
          </p:cNvSpPr>
          <p:nvPr>
            <p:ph type="body" sz="quarter" idx="14" hasCustomPrompt="1"/>
          </p:nvPr>
        </p:nvSpPr>
        <p:spPr>
          <a:xfrm>
            <a:off x="226423" y="508291"/>
            <a:ext cx="11738510" cy="278847"/>
          </a:xfrm>
          <a:prstGeom prst="rect">
            <a:avLst/>
          </a:prstGeom>
        </p:spPr>
        <p:txBody>
          <a:bodyPr anchor="t" anchorCtr="0">
            <a:noAutofit/>
          </a:bodyPr>
          <a:lstStyle>
            <a:lvl1pPr marL="0" indent="0">
              <a:buNone/>
              <a:defRPr sz="1800" b="0">
                <a:solidFill>
                  <a:schemeClr val="tx1">
                    <a:lumMod val="50000"/>
                    <a:lumOff val="50000"/>
                  </a:schemeClr>
                </a:solidFill>
                <a:latin typeface="+mj-lt"/>
              </a:defRPr>
            </a:lvl1pPr>
          </a:lstStyle>
          <a:p>
            <a:pPr lvl="0"/>
            <a:r>
              <a:rPr lang="en-IN"/>
              <a:t>Subtitle</a:t>
            </a:r>
          </a:p>
        </p:txBody>
      </p:sp>
      <p:sp>
        <p:nvSpPr>
          <p:cNvPr id="4" name="Rectangle 3">
            <a:extLst>
              <a:ext uri="{FF2B5EF4-FFF2-40B4-BE49-F238E27FC236}">
                <a16:creationId xmlns:a16="http://schemas.microsoft.com/office/drawing/2014/main" id="{15867A8D-F8A5-1C93-5D2D-9E8F56628DE1}"/>
              </a:ext>
            </a:extLst>
          </p:cNvPr>
          <p:cNvSpPr/>
          <p:nvPr userDrawn="1"/>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02DA7CC0-EFF5-9FB2-5E3F-E8E9994B095E}"/>
              </a:ext>
            </a:extLst>
          </p:cNvPr>
          <p:cNvSpPr txBox="1">
            <a:spLocks/>
          </p:cNvSpPr>
          <p:nvPr userDrawn="1"/>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11" name="Date Placeholder 4">
            <a:extLst>
              <a:ext uri="{FF2B5EF4-FFF2-40B4-BE49-F238E27FC236}">
                <a16:creationId xmlns:a16="http://schemas.microsoft.com/office/drawing/2014/main" id="{DE4CF521-B575-E9C6-9543-1413E433129F}"/>
              </a:ext>
            </a:extLst>
          </p:cNvPr>
          <p:cNvSpPr txBox="1">
            <a:spLocks/>
          </p:cNvSpPr>
          <p:nvPr userDrawn="1"/>
        </p:nvSpPr>
        <p:spPr>
          <a:xfrm>
            <a:off x="964395" y="6469640"/>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909281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guide id="7" orient="horz" pos="383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Plain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9F622-B598-95F7-D6BA-FC957F2BAD9D}"/>
              </a:ext>
            </a:extLst>
          </p:cNvPr>
          <p:cNvSpPr>
            <a:spLocks noGrp="1"/>
          </p:cNvSpPr>
          <p:nvPr>
            <p:ph type="title" hasCustomPrompt="1"/>
          </p:nvPr>
        </p:nvSpPr>
        <p:spPr>
          <a:xfrm>
            <a:off x="227067" y="210454"/>
            <a:ext cx="11738510" cy="73152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0" name="Text Placeholder 7">
            <a:extLst>
              <a:ext uri="{FF2B5EF4-FFF2-40B4-BE49-F238E27FC236}">
                <a16:creationId xmlns:a16="http://schemas.microsoft.com/office/drawing/2014/main" id="{EF6FBE1B-15C2-0260-5C03-7A8B67378C8E}"/>
              </a:ext>
            </a:extLst>
          </p:cNvPr>
          <p:cNvSpPr>
            <a:spLocks noGrp="1"/>
          </p:cNvSpPr>
          <p:nvPr>
            <p:ph type="body" sz="quarter" idx="14" hasCustomPrompt="1"/>
          </p:nvPr>
        </p:nvSpPr>
        <p:spPr>
          <a:xfrm>
            <a:off x="226423" y="901162"/>
            <a:ext cx="11738510" cy="278847"/>
          </a:xfrm>
          <a:prstGeom prst="rect">
            <a:avLst/>
          </a:prstGeom>
        </p:spPr>
        <p:txBody>
          <a:bodyPr anchor="t" anchorCtr="0">
            <a:noAutofit/>
          </a:bodyPr>
          <a:lstStyle>
            <a:lvl1pPr marL="0" indent="0">
              <a:buNone/>
              <a:defRPr sz="1800" b="0">
                <a:solidFill>
                  <a:schemeClr val="tx1">
                    <a:lumMod val="50000"/>
                    <a:lumOff val="50000"/>
                  </a:schemeClr>
                </a:solidFill>
                <a:latin typeface="+mj-lt"/>
              </a:defRPr>
            </a:lvl1pPr>
          </a:lstStyle>
          <a:p>
            <a:pPr lvl="0"/>
            <a:r>
              <a:rPr lang="en-IN"/>
              <a:t>Subtitle</a:t>
            </a:r>
          </a:p>
        </p:txBody>
      </p:sp>
    </p:spTree>
    <p:extLst>
      <p:ext uri="{BB962C8B-B14F-4D97-AF65-F5344CB8AC3E}">
        <p14:creationId xmlns:p14="http://schemas.microsoft.com/office/powerpoint/2010/main" val="3593651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guide id="7" orient="horz" pos="383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lain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 Birlasoft</a:t>
            </a:r>
          </a:p>
        </p:txBody>
      </p:sp>
      <p:sp>
        <p:nvSpPr>
          <p:cNvPr id="2" name="Title 1">
            <a:extLst>
              <a:ext uri="{FF2B5EF4-FFF2-40B4-BE49-F238E27FC236}">
                <a16:creationId xmlns:a16="http://schemas.microsoft.com/office/drawing/2014/main" id="{25F0C5E9-375F-389B-56B9-020D9DC3B09A}"/>
              </a:ext>
            </a:extLst>
          </p:cNvPr>
          <p:cNvSpPr>
            <a:spLocks noGrp="1"/>
          </p:cNvSpPr>
          <p:nvPr>
            <p:ph type="title" hasCustomPrompt="1"/>
          </p:nvPr>
        </p:nvSpPr>
        <p:spPr>
          <a:xfrm>
            <a:off x="227067" y="235854"/>
            <a:ext cx="11738510" cy="64800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sp>
        <p:nvSpPr>
          <p:cNvPr id="11" name="Date Placeholder 4">
            <a:extLst>
              <a:ext uri="{FF2B5EF4-FFF2-40B4-BE49-F238E27FC236}">
                <a16:creationId xmlns:a16="http://schemas.microsoft.com/office/drawing/2014/main" id="{9D1CE560-6040-93E9-9EE7-086515BBF30A}"/>
              </a:ext>
            </a:extLst>
          </p:cNvPr>
          <p:cNvSpPr txBox="1">
            <a:spLocks/>
          </p:cNvSpPr>
          <p:nvPr userDrawn="1"/>
        </p:nvSpPr>
        <p:spPr>
          <a:xfrm>
            <a:off x="964395" y="6469640"/>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3102250797"/>
      </p:ext>
    </p:extLst>
  </p:cSld>
  <p:clrMapOvr>
    <a:masterClrMapping/>
  </p:clrMapOvr>
  <p:hf sldNum="0" hdr="0" ftr="0"/>
  <p:extLst>
    <p:ext uri="{DCECCB84-F9BA-43D5-87BE-67443E8EF086}">
      <p15:sldGuideLst xmlns:p15="http://schemas.microsoft.com/office/powerpoint/2012/main">
        <p15:guide id="1" orient="horz" pos="3861">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51317CB9-BCBD-2A99-AE5A-FB1333E6B5DC}"/>
              </a:ext>
            </a:extLst>
          </p:cNvPr>
          <p:cNvGrpSpPr/>
          <p:nvPr userDrawn="1"/>
        </p:nvGrpSpPr>
        <p:grpSpPr>
          <a:xfrm>
            <a:off x="0" y="1364342"/>
            <a:ext cx="12214797" cy="3865705"/>
            <a:chOff x="0" y="1364342"/>
            <a:chExt cx="12214797" cy="3865705"/>
          </a:xfrm>
        </p:grpSpPr>
        <p:sp>
          <p:nvSpPr>
            <p:cNvPr id="16" name="Rectangle 15">
              <a:extLst>
                <a:ext uri="{FF2B5EF4-FFF2-40B4-BE49-F238E27FC236}">
                  <a16:creationId xmlns:a16="http://schemas.microsoft.com/office/drawing/2014/main" id="{38455D5C-7D95-F297-C0C5-8181971005E1}"/>
                </a:ext>
              </a:extLst>
            </p:cNvPr>
            <p:cNvSpPr/>
            <p:nvPr userDrawn="1"/>
          </p:nvSpPr>
          <p:spPr>
            <a:xfrm>
              <a:off x="0" y="1364342"/>
              <a:ext cx="5581650" cy="386570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descr="A colorful squares in a dark room&#10;&#10;Description automatically generated">
              <a:extLst>
                <a:ext uri="{FF2B5EF4-FFF2-40B4-BE49-F238E27FC236}">
                  <a16:creationId xmlns:a16="http://schemas.microsoft.com/office/drawing/2014/main" id="{CA14291A-6C3B-4BF4-6FAB-F8A40F1862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90072" y="1364342"/>
              <a:ext cx="10624725" cy="3865705"/>
            </a:xfrm>
            <a:prstGeom prst="rect">
              <a:avLst/>
            </a:prstGeom>
          </p:spPr>
        </p:pic>
      </p:grpSp>
      <p:pic>
        <p:nvPicPr>
          <p:cNvPr id="3" name="Picture 2" descr="A picture containing light, night sky&#10;&#10;Description automatically generated">
            <a:extLst>
              <a:ext uri="{FF2B5EF4-FFF2-40B4-BE49-F238E27FC236}">
                <a16:creationId xmlns:a16="http://schemas.microsoft.com/office/drawing/2014/main" id="{4F77CED5-F505-D584-E354-7757C47F46D1}"/>
              </a:ext>
            </a:extLst>
          </p:cNvPr>
          <p:cNvPicPr>
            <a:picLocks noChangeAspect="1"/>
          </p:cNvPicPr>
          <p:nvPr userDrawn="1"/>
        </p:nvPicPr>
        <p:blipFill rotWithShape="1">
          <a:blip r:embed="rId3" cstate="screen">
            <a:alphaModFix amt="35000"/>
            <a:extLst>
              <a:ext uri="{28A0092B-C50C-407E-A947-70E740481C1C}">
                <a14:useLocalDpi xmlns:a14="http://schemas.microsoft.com/office/drawing/2010/main"/>
              </a:ext>
            </a:extLst>
          </a:blip>
          <a:srcRect/>
          <a:stretch/>
        </p:blipFill>
        <p:spPr>
          <a:xfrm>
            <a:off x="0" y="1364342"/>
            <a:ext cx="12214796" cy="3865705"/>
          </a:xfrm>
          <a:prstGeom prst="rect">
            <a:avLst/>
          </a:prstGeom>
        </p:spPr>
      </p:pic>
      <p:sp>
        <p:nvSpPr>
          <p:cNvPr id="14" name="Rectangle 13">
            <a:extLst>
              <a:ext uri="{FF2B5EF4-FFF2-40B4-BE49-F238E27FC236}">
                <a16:creationId xmlns:a16="http://schemas.microsoft.com/office/drawing/2014/main" id="{946DC46E-33DC-C21F-8E4D-3E2259995F4F}"/>
              </a:ext>
            </a:extLst>
          </p:cNvPr>
          <p:cNvSpPr/>
          <p:nvPr/>
        </p:nvSpPr>
        <p:spPr>
          <a:xfrm>
            <a:off x="0" y="1364342"/>
            <a:ext cx="9182100" cy="3865705"/>
          </a:xfrm>
          <a:prstGeom prst="rect">
            <a:avLst/>
          </a:prstGeom>
          <a:gradFill flip="none" rotWithShape="1">
            <a:gsLst>
              <a:gs pos="0">
                <a:schemeClr val="tx1">
                  <a:alpha val="80000"/>
                </a:schemeClr>
              </a:gs>
              <a:gs pos="74000">
                <a:schemeClr val="tx1">
                  <a:alpha val="0"/>
                </a:schemeClr>
              </a:gs>
              <a:gs pos="45000">
                <a:schemeClr val="tx1">
                  <a:alpha val="56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descr="Shape, arrow&#10;&#10;Description automatically generated">
            <a:extLst>
              <a:ext uri="{FF2B5EF4-FFF2-40B4-BE49-F238E27FC236}">
                <a16:creationId xmlns:a16="http://schemas.microsoft.com/office/drawing/2014/main" id="{5F9D5FA2-E94E-573E-D128-9FAD5B75D431}"/>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9208229" y="601155"/>
            <a:ext cx="1786655" cy="1659147"/>
          </a:xfrm>
          <a:prstGeom prst="rect">
            <a:avLst/>
          </a:prstGeom>
          <a:effectLst>
            <a:outerShdw blurRad="558800" dist="241300" dir="6000000" sx="97000" sy="97000" algn="ctr" rotWithShape="0">
              <a:srgbClr val="000000">
                <a:alpha val="73000"/>
              </a:srgbClr>
            </a:outerShdw>
          </a:effectLst>
        </p:spPr>
      </p:pic>
      <p:cxnSp>
        <p:nvCxnSpPr>
          <p:cNvPr id="8" name="Straight Connector 7">
            <a:extLst>
              <a:ext uri="{FF2B5EF4-FFF2-40B4-BE49-F238E27FC236}">
                <a16:creationId xmlns:a16="http://schemas.microsoft.com/office/drawing/2014/main" id="{7027F4A7-ABCD-A451-A1E6-67D3DAEF4EFD}"/>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2AA48E79-1643-F79A-757B-0A8342AD2D32}"/>
              </a:ext>
            </a:extLst>
          </p:cNvPr>
          <p:cNvSpPr txBox="1">
            <a:spLocks/>
          </p:cNvSpPr>
          <p:nvPr/>
        </p:nvSpPr>
        <p:spPr>
          <a:xfrm>
            <a:off x="964395" y="6469640"/>
            <a:ext cx="695326" cy="232668"/>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BEF598-DD41-4849-8A14-1B5F91BEB9F1}" type="datetime1">
              <a:rPr lang="en-US" smtClean="0"/>
              <a:pPr/>
              <a:t>5/25/2026</a:t>
            </a:fld>
            <a:endParaRPr lang="en-US"/>
          </a:p>
        </p:txBody>
      </p:sp>
      <p:sp>
        <p:nvSpPr>
          <p:cNvPr id="10" name="Rectangle 9">
            <a:extLst>
              <a:ext uri="{FF2B5EF4-FFF2-40B4-BE49-F238E27FC236}">
                <a16:creationId xmlns:a16="http://schemas.microsoft.com/office/drawing/2014/main" id="{E569D929-DA21-2C19-DF00-E73EF9348BF3}"/>
              </a:ext>
            </a:extLst>
          </p:cNvPr>
          <p:cNvSpPr/>
          <p:nvPr/>
        </p:nvSpPr>
        <p:spPr>
          <a:xfrm>
            <a:off x="403214" y="6228731"/>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DE0AB947-9EBB-7A7B-8A2F-389B706E6D11}"/>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12" name="Footer Placeholder 6">
            <a:extLst>
              <a:ext uri="{FF2B5EF4-FFF2-40B4-BE49-F238E27FC236}">
                <a16:creationId xmlns:a16="http://schemas.microsoft.com/office/drawing/2014/main" id="{C02A3900-EC4A-8854-3365-D60110620923}"/>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a:solidFill>
                  <a:schemeClr val="tx1">
                    <a:lumMod val="85000"/>
                    <a:lumOff val="15000"/>
                  </a:schemeClr>
                </a:solidFill>
                <a:latin typeface="+mj-lt"/>
                <a:ea typeface="Open Sans" panose="020B0606030504020204" pitchFamily="34" charset="0"/>
                <a:cs typeface="Open Sans" panose="020B0606030504020204" pitchFamily="34" charset="0"/>
              </a:rPr>
              <a:t>© 2024 Birlasoft</a:t>
            </a:r>
          </a:p>
        </p:txBody>
      </p:sp>
      <p:pic>
        <p:nvPicPr>
          <p:cNvPr id="13" name="Picture 12" descr="Shape, arrow&#10;&#10;Description automatically generated">
            <a:extLst>
              <a:ext uri="{FF2B5EF4-FFF2-40B4-BE49-F238E27FC236}">
                <a16:creationId xmlns:a16="http://schemas.microsoft.com/office/drawing/2014/main" id="{A8EAC522-E99A-1F38-C092-E4684C5123C8}"/>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5" name="Title 3">
            <a:extLst>
              <a:ext uri="{FF2B5EF4-FFF2-40B4-BE49-F238E27FC236}">
                <a16:creationId xmlns:a16="http://schemas.microsoft.com/office/drawing/2014/main" id="{F46A1162-2B0B-1A6C-D72E-DA030D7FA520}"/>
              </a:ext>
            </a:extLst>
          </p:cNvPr>
          <p:cNvSpPr>
            <a:spLocks noGrp="1"/>
          </p:cNvSpPr>
          <p:nvPr>
            <p:ph type="title" hasCustomPrompt="1"/>
          </p:nvPr>
        </p:nvSpPr>
        <p:spPr>
          <a:xfrm>
            <a:off x="670843" y="1892938"/>
            <a:ext cx="7932830" cy="2808513"/>
          </a:xfrm>
          <a:prstGeom prst="rect">
            <a:avLst/>
          </a:prstGeom>
        </p:spPr>
        <p:txBody>
          <a:bodyPr anchor="ctr"/>
          <a:lstStyle>
            <a:lvl1pPr marL="0" algn="l" defTabSz="914400" rtl="0" eaLnBrk="1" latinLnBrk="0" hangingPunct="1">
              <a:defRPr lang="en-US" sz="4000" b="1" kern="1200" dirty="0">
                <a:solidFill>
                  <a:schemeClr val="bg1"/>
                </a:solidFill>
                <a:latin typeface="+mn-lt"/>
                <a:ea typeface="+mn-ea"/>
                <a:cs typeface="+mn-cs"/>
              </a:defRPr>
            </a:lvl1pPr>
          </a:lstStyle>
          <a:p>
            <a:r>
              <a:rPr lang="en-US"/>
              <a:t>Title here</a:t>
            </a:r>
          </a:p>
        </p:txBody>
      </p:sp>
    </p:spTree>
    <p:extLst>
      <p:ext uri="{BB962C8B-B14F-4D97-AF65-F5344CB8AC3E}">
        <p14:creationId xmlns:p14="http://schemas.microsoft.com/office/powerpoint/2010/main" val="1809458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lain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rgbClr val="C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tx1">
                    <a:lumMod val="85000"/>
                    <a:lumOff val="15000"/>
                  </a:schemeClr>
                </a:solidFill>
                <a:latin typeface="+mj-lt"/>
                <a:ea typeface="Open Sans" panose="020B0606030504020204" pitchFamily="34" charset="0"/>
                <a:cs typeface="Open Sans" panose="020B0606030504020204" pitchFamily="34" charset="0"/>
              </a:rPr>
              <a:t>© 2026 Birlasoft</a:t>
            </a:r>
          </a:p>
        </p:txBody>
      </p:sp>
      <p:sp>
        <p:nvSpPr>
          <p:cNvPr id="2" name="Title 1">
            <a:extLst>
              <a:ext uri="{FF2B5EF4-FFF2-40B4-BE49-F238E27FC236}">
                <a16:creationId xmlns:a16="http://schemas.microsoft.com/office/drawing/2014/main" id="{25F0C5E9-375F-389B-56B9-020D9DC3B09A}"/>
              </a:ext>
            </a:extLst>
          </p:cNvPr>
          <p:cNvSpPr>
            <a:spLocks noGrp="1"/>
          </p:cNvSpPr>
          <p:nvPr>
            <p:ph type="title" hasCustomPrompt="1"/>
          </p:nvPr>
        </p:nvSpPr>
        <p:spPr>
          <a:xfrm>
            <a:off x="227067" y="210454"/>
            <a:ext cx="11738510" cy="648000"/>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400" b="1" kern="1200" dirty="0">
                <a:solidFill>
                  <a:schemeClr val="tx1">
                    <a:lumMod val="50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2515601828"/>
      </p:ext>
    </p:extLst>
  </p:cSld>
  <p:clrMapOvr>
    <a:masterClrMapping/>
  </p:clrMapOvr>
  <p:extLst>
    <p:ext uri="{DCECCB84-F9BA-43D5-87BE-67443E8EF086}">
      <p15:sldGuideLst xmlns:p15="http://schemas.microsoft.com/office/powerpoint/2012/main">
        <p15:guide id="1" orient="horz" pos="3861">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4_Only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lgn="l" defTabSz="914363" rtl="0" eaLnBrk="1" latinLnBrk="0" hangingPunct="1">
              <a:lnSpc>
                <a:spcPct val="90000"/>
              </a:lnSpc>
              <a:spcBef>
                <a:spcPct val="0"/>
              </a:spcBef>
              <a:buNone/>
              <a:defRPr lang="en-IN" sz="3200" b="1" kern="1200" dirty="0">
                <a:solidFill>
                  <a:schemeClr val="accent1"/>
                </a:solidFill>
                <a:latin typeface="+mj-lt"/>
                <a:ea typeface="+mj-ea"/>
                <a:cs typeface="+mj-cs"/>
              </a:defRPr>
            </a:lvl1pPr>
          </a:lstStyle>
          <a:p>
            <a:r>
              <a:rPr lang="en-US"/>
              <a:t>Title</a:t>
            </a:r>
            <a:endParaRPr lang="en-IN"/>
          </a:p>
        </p:txBody>
      </p:sp>
      <p:sp>
        <p:nvSpPr>
          <p:cNvPr id="3" name="Date Placeholder 3">
            <a:extLst>
              <a:ext uri="{FF2B5EF4-FFF2-40B4-BE49-F238E27FC236}">
                <a16:creationId xmlns:a16="http://schemas.microsoft.com/office/drawing/2014/main" id="{268DE237-4905-4F63-A2F8-65F73F8451F5}"/>
              </a:ext>
            </a:extLst>
          </p:cNvPr>
          <p:cNvSpPr>
            <a:spLocks noGrp="1"/>
          </p:cNvSpPr>
          <p:nvPr>
            <p:ph type="dt" sz="half" idx="2"/>
          </p:nvPr>
        </p:nvSpPr>
        <p:spPr>
          <a:xfrm>
            <a:off x="818434" y="6548225"/>
            <a:ext cx="816691" cy="189900"/>
          </a:xfrm>
          <a:prstGeom prst="rect">
            <a:avLst/>
          </a:prstGeom>
        </p:spPr>
        <p:txBody>
          <a:bodyPr vert="horz" lIns="91440" tIns="45720" rIns="91440" bIns="45720" rtlCol="0" anchor="ctr"/>
          <a:lstStyle>
            <a:lvl1pPr marL="0" algn="l" defTabSz="914400" rtl="0" eaLnBrk="1" latinLnBrk="0" hangingPunct="1">
              <a:lnSpc>
                <a:spcPct val="90000"/>
              </a:lnSpc>
              <a:spcBef>
                <a:spcPct val="0"/>
              </a:spcBef>
              <a:buNone/>
              <a:defRPr lang="en-IN" sz="800" kern="1200" smtClean="0">
                <a:solidFill>
                  <a:schemeClr val="tx2"/>
                </a:solidFill>
                <a:latin typeface="+mj-lt"/>
                <a:ea typeface="Cambria" panose="02040503050406030204" pitchFamily="18" charset="0"/>
                <a:cs typeface="Calibri" charset="0"/>
              </a:defRPr>
            </a:lvl1pPr>
          </a:lstStyle>
          <a:p>
            <a:fld id="{EB00846E-F1CE-4A0F-9384-21BC99189835}" type="datetime1">
              <a:rPr lang="en-US" smtClean="0"/>
              <a:t>5/25/2026</a:t>
            </a:fld>
            <a:endParaRPr lang="en-US"/>
          </a:p>
        </p:txBody>
      </p:sp>
    </p:spTree>
    <p:extLst>
      <p:ext uri="{BB962C8B-B14F-4D97-AF65-F5344CB8AC3E}">
        <p14:creationId xmlns:p14="http://schemas.microsoft.com/office/powerpoint/2010/main" val="26760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le and Content_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lgn="l" defTabSz="914363" rtl="0" eaLnBrk="1" latinLnBrk="0" hangingPunct="1">
              <a:lnSpc>
                <a:spcPct val="90000"/>
              </a:lnSpc>
              <a:spcBef>
                <a:spcPct val="0"/>
              </a:spcBef>
              <a:buNone/>
              <a:defRPr lang="en-IN" sz="3200" b="1" kern="1200" dirty="0">
                <a:solidFill>
                  <a:schemeClr val="accent1"/>
                </a:solidFill>
                <a:latin typeface="+mj-lt"/>
                <a:ea typeface="+mj-ea"/>
                <a:cs typeface="+mj-cs"/>
              </a:defRPr>
            </a:lvl1pPr>
          </a:lstStyle>
          <a:p>
            <a:r>
              <a:rPr lang="en-US"/>
              <a:t>Title</a:t>
            </a:r>
            <a:endParaRPr lang="en-IN"/>
          </a:p>
        </p:txBody>
      </p:sp>
      <p:sp>
        <p:nvSpPr>
          <p:cNvPr id="3" name="Content Placeholder 2"/>
          <p:cNvSpPr>
            <a:spLocks noGrp="1"/>
          </p:cNvSpPr>
          <p:nvPr>
            <p:ph idx="1"/>
          </p:nvPr>
        </p:nvSpPr>
        <p:spPr>
          <a:xfrm>
            <a:off x="300038" y="981076"/>
            <a:ext cx="11591925" cy="5184775"/>
          </a:xfrm>
        </p:spPr>
        <p:txBody>
          <a:bodyPr/>
          <a:lstStyle>
            <a:lvl1pPr marL="342900" indent="-342900" algn="l" defTabSz="914363" rtl="0" eaLnBrk="1" latinLnBrk="0" hangingPunct="1">
              <a:spcBef>
                <a:spcPts val="600"/>
              </a:spcBef>
              <a:buClr>
                <a:schemeClr val="accent1"/>
              </a:buClr>
              <a:buSzPct val="80000"/>
              <a:buFont typeface="Arial" panose="020B0604020202020204" pitchFamily="34" charset="0"/>
              <a:buChar char="•"/>
              <a:defRPr lang="en-US" sz="2400" kern="1200" dirty="0">
                <a:solidFill>
                  <a:schemeClr val="tx1"/>
                </a:solidFill>
                <a:latin typeface="+mj-lt"/>
                <a:ea typeface="+mn-ea"/>
                <a:cs typeface="+mn-cs"/>
              </a:defRPr>
            </a:lvl1pPr>
            <a:lvl2pPr>
              <a:spcBef>
                <a:spcPts val="600"/>
              </a:spcBef>
              <a:buClr>
                <a:schemeClr val="accent1"/>
              </a:buClr>
              <a:buSzPct val="80000"/>
              <a:defRPr sz="2000">
                <a:solidFill>
                  <a:schemeClr val="tx1"/>
                </a:solidFill>
                <a:latin typeface="+mj-lt"/>
              </a:defRPr>
            </a:lvl2pPr>
            <a:lvl3pPr>
              <a:spcBef>
                <a:spcPts val="600"/>
              </a:spcBef>
              <a:buClr>
                <a:schemeClr val="accent1"/>
              </a:buClr>
              <a:buSzPct val="80000"/>
              <a:defRPr sz="1600">
                <a:solidFill>
                  <a:schemeClr val="tx1"/>
                </a:solidFill>
                <a:latin typeface="+mj-lt"/>
              </a:defRPr>
            </a:lvl3pPr>
            <a:lvl4pPr>
              <a:spcBef>
                <a:spcPts val="600"/>
              </a:spcBef>
              <a:buClr>
                <a:schemeClr val="accent1"/>
              </a:buClr>
              <a:buSzPct val="80000"/>
              <a:defRPr sz="1200">
                <a:solidFill>
                  <a:schemeClr val="tx1"/>
                </a:solidFill>
                <a:latin typeface="+mj-lt"/>
              </a:defRPr>
            </a:lvl4pPr>
            <a:lvl5pPr>
              <a:spcBef>
                <a:spcPts val="600"/>
              </a:spcBef>
              <a:buClr>
                <a:schemeClr val="accent1"/>
              </a:buClr>
              <a:buSzPct val="80000"/>
              <a:defRPr sz="10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Footer Placeholder 3">
            <a:extLst>
              <a:ext uri="{FF2B5EF4-FFF2-40B4-BE49-F238E27FC236}">
                <a16:creationId xmlns:a16="http://schemas.microsoft.com/office/drawing/2014/main" id="{8A1FC4E9-992B-AFDC-3441-76B2F5B04C1B}"/>
              </a:ext>
            </a:extLst>
          </p:cNvPr>
          <p:cNvSpPr>
            <a:spLocks noGrp="1"/>
          </p:cNvSpPr>
          <p:nvPr>
            <p:ph type="ftr" sz="quarter" idx="11"/>
          </p:nvPr>
        </p:nvSpPr>
        <p:spPr>
          <a:xfrm>
            <a:off x="1704974" y="6522535"/>
            <a:ext cx="4114800" cy="229870"/>
          </a:xfrm>
          <a:prstGeom prst="rect">
            <a:avLst/>
          </a:prstGeom>
        </p:spPr>
        <p:txBody>
          <a:bodyPr/>
          <a:lstStyle/>
          <a:p>
            <a:r>
              <a:rPr lang="en-US" dirty="0"/>
              <a:t>© 2023 Birlasoft</a:t>
            </a:r>
          </a:p>
        </p:txBody>
      </p:sp>
      <p:sp>
        <p:nvSpPr>
          <p:cNvPr id="5" name="Slide Number Placeholder 4">
            <a:extLst>
              <a:ext uri="{FF2B5EF4-FFF2-40B4-BE49-F238E27FC236}">
                <a16:creationId xmlns:a16="http://schemas.microsoft.com/office/drawing/2014/main" id="{E1A5F5CE-6079-1D95-AC13-9693FBD38B43}"/>
              </a:ext>
            </a:extLst>
          </p:cNvPr>
          <p:cNvSpPr>
            <a:spLocks noGrp="1"/>
          </p:cNvSpPr>
          <p:nvPr>
            <p:ph type="sldNum" sz="quarter" idx="12"/>
          </p:nvPr>
        </p:nvSpPr>
        <p:spPr>
          <a:xfrm>
            <a:off x="309563" y="6522535"/>
            <a:ext cx="341949" cy="229870"/>
          </a:xfrm>
        </p:spPr>
        <p:txBody>
          <a:bodyPr/>
          <a:lstStyle/>
          <a:p>
            <a:fld id="{CEFFF5CE-EFD5-4053-A4B1-8A29E3AB7AEE}" type="slidenum">
              <a:rPr lang="en-US" smtClean="0"/>
              <a:t>‹#›</a:t>
            </a:fld>
            <a:endParaRPr lang="en-US"/>
          </a:p>
        </p:txBody>
      </p:sp>
      <p:sp>
        <p:nvSpPr>
          <p:cNvPr id="6" name="Date Placeholder 3">
            <a:extLst>
              <a:ext uri="{FF2B5EF4-FFF2-40B4-BE49-F238E27FC236}">
                <a16:creationId xmlns:a16="http://schemas.microsoft.com/office/drawing/2014/main" id="{AF67A043-FE67-FA82-E3B4-A3507EEB10A5}"/>
              </a:ext>
            </a:extLst>
          </p:cNvPr>
          <p:cNvSpPr>
            <a:spLocks noGrp="1"/>
          </p:cNvSpPr>
          <p:nvPr>
            <p:ph type="dt" sz="half" idx="2"/>
          </p:nvPr>
        </p:nvSpPr>
        <p:spPr>
          <a:xfrm>
            <a:off x="830580" y="6519874"/>
            <a:ext cx="695326" cy="232668"/>
          </a:xfrm>
          <a:prstGeom prst="rect">
            <a:avLst/>
          </a:prstGeom>
        </p:spPr>
        <p:txBody>
          <a:bodyPr anchor="ctr"/>
          <a:lstStyle>
            <a:lvl1pPr>
              <a:defRPr sz="800">
                <a:solidFill>
                  <a:schemeClr val="tx1"/>
                </a:solidFill>
                <a:latin typeface="+mn-lt"/>
              </a:defRPr>
            </a:lvl1pPr>
          </a:lstStyle>
          <a:p>
            <a:fld id="{78621726-8D2D-4234-8134-B42FA2F56F6F}" type="datetime1">
              <a:rPr lang="en-US" smtClean="0"/>
              <a:t>5/25/2026</a:t>
            </a:fld>
            <a:endParaRPr lang="en-US"/>
          </a:p>
        </p:txBody>
      </p:sp>
    </p:spTree>
    <p:extLst>
      <p:ext uri="{BB962C8B-B14F-4D97-AF65-F5344CB8AC3E}">
        <p14:creationId xmlns:p14="http://schemas.microsoft.com/office/powerpoint/2010/main" val="36134275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_Slide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038" y="225425"/>
            <a:ext cx="11591925" cy="608012"/>
          </a:xfrm>
        </p:spPr>
        <p:txBody>
          <a:bodyPr>
            <a:normAutofit/>
          </a:bodyPr>
          <a:lstStyle>
            <a:lvl1pPr>
              <a:defRPr sz="3200">
                <a:solidFill>
                  <a:schemeClr val="accent1"/>
                </a:solidFill>
              </a:defRPr>
            </a:lvl1pPr>
          </a:lstStyle>
          <a:p>
            <a:r>
              <a:rPr lang="en-US"/>
              <a:t>Title</a:t>
            </a:r>
            <a:endParaRPr lang="en-IN"/>
          </a:p>
        </p:txBody>
      </p:sp>
      <p:sp>
        <p:nvSpPr>
          <p:cNvPr id="3" name="Content Placeholder 2"/>
          <p:cNvSpPr>
            <a:spLocks noGrp="1"/>
          </p:cNvSpPr>
          <p:nvPr>
            <p:ph idx="1"/>
          </p:nvPr>
        </p:nvSpPr>
        <p:spPr>
          <a:xfrm>
            <a:off x="300038" y="1519238"/>
            <a:ext cx="11591925" cy="4646612"/>
          </a:xfrm>
        </p:spPr>
        <p:txBody>
          <a:bodyPr/>
          <a:lstStyle>
            <a:lvl1pPr>
              <a:spcBef>
                <a:spcPts val="600"/>
              </a:spcBef>
              <a:buClr>
                <a:schemeClr val="accent1"/>
              </a:buClr>
              <a:buSzPct val="80000"/>
              <a:defRPr sz="2400">
                <a:solidFill>
                  <a:schemeClr val="tx1"/>
                </a:solidFill>
                <a:latin typeface="+mj-lt"/>
              </a:defRPr>
            </a:lvl1pPr>
            <a:lvl2pPr>
              <a:spcBef>
                <a:spcPts val="600"/>
              </a:spcBef>
              <a:buClr>
                <a:schemeClr val="accent1"/>
              </a:buClr>
              <a:buSzPct val="80000"/>
              <a:defRPr sz="2000">
                <a:solidFill>
                  <a:schemeClr val="tx1"/>
                </a:solidFill>
                <a:latin typeface="+mj-lt"/>
              </a:defRPr>
            </a:lvl2pPr>
            <a:lvl3pPr>
              <a:spcBef>
                <a:spcPts val="600"/>
              </a:spcBef>
              <a:buClr>
                <a:schemeClr val="accent1"/>
              </a:buClr>
              <a:buSzPct val="80000"/>
              <a:defRPr sz="1600">
                <a:solidFill>
                  <a:schemeClr val="tx1"/>
                </a:solidFill>
                <a:latin typeface="+mj-lt"/>
              </a:defRPr>
            </a:lvl3pPr>
            <a:lvl4pPr>
              <a:spcBef>
                <a:spcPts val="600"/>
              </a:spcBef>
              <a:buClr>
                <a:schemeClr val="accent1"/>
              </a:buClr>
              <a:buSzPct val="80000"/>
              <a:defRPr sz="1400">
                <a:solidFill>
                  <a:schemeClr val="tx1"/>
                </a:solidFill>
                <a:latin typeface="+mj-lt"/>
              </a:defRPr>
            </a:lvl4pPr>
            <a:lvl5pPr>
              <a:spcBef>
                <a:spcPts val="600"/>
              </a:spcBef>
              <a:buClr>
                <a:schemeClr val="accent1"/>
              </a:buClr>
              <a:buSzPct val="80000"/>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Text Placeholder 7">
            <a:extLst>
              <a:ext uri="{FF2B5EF4-FFF2-40B4-BE49-F238E27FC236}">
                <a16:creationId xmlns:a16="http://schemas.microsoft.com/office/drawing/2014/main" id="{20EEC7BF-3A77-44B3-843D-BB8C5C0BD32C}"/>
              </a:ext>
            </a:extLst>
          </p:cNvPr>
          <p:cNvSpPr>
            <a:spLocks noGrp="1"/>
          </p:cNvSpPr>
          <p:nvPr>
            <p:ph type="body" sz="quarter" idx="14" hasCustomPrompt="1"/>
          </p:nvPr>
        </p:nvSpPr>
        <p:spPr>
          <a:xfrm>
            <a:off x="300038" y="993776"/>
            <a:ext cx="11591925" cy="365125"/>
          </a:xfrm>
        </p:spPr>
        <p:txBody>
          <a:bodyPr anchor="ctr">
            <a:noAutofit/>
          </a:bodyPr>
          <a:lstStyle>
            <a:lvl1pPr marL="0" indent="0">
              <a:buNone/>
              <a:defRPr sz="2400" b="1">
                <a:solidFill>
                  <a:schemeClr val="tx1"/>
                </a:solidFill>
                <a:latin typeface="+mj-lt"/>
              </a:defRPr>
            </a:lvl1pPr>
          </a:lstStyle>
          <a:p>
            <a:pPr lvl="0"/>
            <a:r>
              <a:rPr lang="en-IN"/>
              <a:t>Subtitle</a:t>
            </a:r>
          </a:p>
        </p:txBody>
      </p:sp>
    </p:spTree>
    <p:extLst>
      <p:ext uri="{BB962C8B-B14F-4D97-AF65-F5344CB8AC3E}">
        <p14:creationId xmlns:p14="http://schemas.microsoft.com/office/powerpoint/2010/main" val="4245169653"/>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ver Slide-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02114A-220B-4640-A5BF-0515D4CC8E14}"/>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1EA08266-4E61-462A-95FD-E290ED265623}"/>
              </a:ext>
            </a:extLst>
          </p:cNvPr>
          <p:cNvGrpSpPr/>
          <p:nvPr userDrawn="1"/>
        </p:nvGrpSpPr>
        <p:grpSpPr>
          <a:xfrm>
            <a:off x="0" y="1557571"/>
            <a:ext cx="12192000" cy="5391047"/>
            <a:chOff x="0" y="1466953"/>
            <a:chExt cx="12192000" cy="5391047"/>
          </a:xfrm>
        </p:grpSpPr>
        <p:sp>
          <p:nvSpPr>
            <p:cNvPr id="12" name="Rectangle 11">
              <a:extLst>
                <a:ext uri="{FF2B5EF4-FFF2-40B4-BE49-F238E27FC236}">
                  <a16:creationId xmlns:a16="http://schemas.microsoft.com/office/drawing/2014/main" id="{452649A3-16F9-41C3-BA43-28809743B4F5}"/>
                </a:ext>
              </a:extLst>
            </p:cNvPr>
            <p:cNvSpPr/>
            <p:nvPr userDrawn="1"/>
          </p:nvSpPr>
          <p:spPr>
            <a:xfrm>
              <a:off x="0" y="1466953"/>
              <a:ext cx="5581650" cy="5391047"/>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3" name="Picture 12" descr="A person touching a large display of colorful squares&#10;&#10;Description automatically generated">
              <a:extLst>
                <a:ext uri="{FF2B5EF4-FFF2-40B4-BE49-F238E27FC236}">
                  <a16:creationId xmlns:a16="http://schemas.microsoft.com/office/drawing/2014/main" id="{6407A5F0-3402-41D7-BADE-A8DC1D4A78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810"/>
            <a:stretch/>
          </p:blipFill>
          <p:spPr>
            <a:xfrm>
              <a:off x="3605717" y="1466954"/>
              <a:ext cx="8586283" cy="5391046"/>
            </a:xfrm>
            <a:prstGeom prst="rect">
              <a:avLst/>
            </a:prstGeom>
          </p:spPr>
        </p:pic>
      </p:grpSp>
      <p:pic>
        <p:nvPicPr>
          <p:cNvPr id="8" name="Graphic 7">
            <a:extLst>
              <a:ext uri="{FF2B5EF4-FFF2-40B4-BE49-F238E27FC236}">
                <a16:creationId xmlns:a16="http://schemas.microsoft.com/office/drawing/2014/main" id="{130562DD-073F-46B6-0AFB-C6AA97B1F9EE}"/>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9498" t="26725" r="9235" b="25469"/>
          <a:stretch/>
        </p:blipFill>
        <p:spPr>
          <a:xfrm>
            <a:off x="514350" y="516172"/>
            <a:ext cx="1955800" cy="525227"/>
          </a:xfrm>
          <a:prstGeom prst="rect">
            <a:avLst/>
          </a:prstGeom>
        </p:spPr>
      </p:pic>
      <p:sp>
        <p:nvSpPr>
          <p:cNvPr id="2" name="Title 3">
            <a:extLst>
              <a:ext uri="{FF2B5EF4-FFF2-40B4-BE49-F238E27FC236}">
                <a16:creationId xmlns:a16="http://schemas.microsoft.com/office/drawing/2014/main" id="{181AE752-3AC1-F5D5-B035-A8D128A737F1}"/>
              </a:ext>
            </a:extLst>
          </p:cNvPr>
          <p:cNvSpPr>
            <a:spLocks noGrp="1"/>
          </p:cNvSpPr>
          <p:nvPr>
            <p:ph type="title" hasCustomPrompt="1"/>
          </p:nvPr>
        </p:nvSpPr>
        <p:spPr>
          <a:xfrm>
            <a:off x="514350" y="2164998"/>
            <a:ext cx="3898319" cy="1484881"/>
          </a:xfrm>
          <a:prstGeom prst="rect">
            <a:avLst/>
          </a:prstGeom>
        </p:spPr>
        <p:txBody>
          <a:bodyPr>
            <a:normAutofit/>
          </a:bodyPr>
          <a:lstStyle>
            <a:lvl1pPr>
              <a:defRPr sz="3600" b="1">
                <a:solidFill>
                  <a:schemeClr val="bg1"/>
                </a:solidFill>
              </a:defRPr>
            </a:lvl1pPr>
          </a:lstStyle>
          <a:p>
            <a:r>
              <a:rPr lang="en-US"/>
              <a:t>Title Goes here</a:t>
            </a:r>
            <a:endParaRPr lang="en-IN"/>
          </a:p>
        </p:txBody>
      </p:sp>
      <p:sp>
        <p:nvSpPr>
          <p:cNvPr id="3" name="Text Placeholder 10">
            <a:extLst>
              <a:ext uri="{FF2B5EF4-FFF2-40B4-BE49-F238E27FC236}">
                <a16:creationId xmlns:a16="http://schemas.microsoft.com/office/drawing/2014/main" id="{D9E2A3FF-6B9A-00A4-F27D-721BA5469C79}"/>
              </a:ext>
            </a:extLst>
          </p:cNvPr>
          <p:cNvSpPr>
            <a:spLocks noGrp="1"/>
          </p:cNvSpPr>
          <p:nvPr>
            <p:ph type="body" sz="quarter" idx="10" hasCustomPrompt="1"/>
          </p:nvPr>
        </p:nvSpPr>
        <p:spPr>
          <a:xfrm>
            <a:off x="514350" y="3895952"/>
            <a:ext cx="3898900" cy="341512"/>
          </a:xfrm>
          <a:prstGeom prst="rect">
            <a:avLst/>
          </a:prstGeom>
        </p:spPr>
        <p:txBody>
          <a:bodyPr>
            <a:normAutofit/>
          </a:bodyPr>
          <a:lstStyle>
            <a:lvl1pPr marL="0" indent="0">
              <a:buNone/>
              <a:defRPr lang="en-US" sz="2400" dirty="0">
                <a:solidFill>
                  <a:schemeClr val="bg1"/>
                </a:solidFill>
              </a:defRPr>
            </a:lvl1pPr>
          </a:lstStyle>
          <a:p>
            <a:pPr lvl="0"/>
            <a:r>
              <a:rPr lang="en-US"/>
              <a:t>Sub-Head</a:t>
            </a:r>
          </a:p>
        </p:txBody>
      </p:sp>
      <p:sp>
        <p:nvSpPr>
          <p:cNvPr id="5" name="Text Placeholder 18">
            <a:extLst>
              <a:ext uri="{FF2B5EF4-FFF2-40B4-BE49-F238E27FC236}">
                <a16:creationId xmlns:a16="http://schemas.microsoft.com/office/drawing/2014/main" id="{E388DBB5-2B54-B572-5A45-A4E8C18195B0}"/>
              </a:ext>
            </a:extLst>
          </p:cNvPr>
          <p:cNvSpPr>
            <a:spLocks noGrp="1"/>
          </p:cNvSpPr>
          <p:nvPr>
            <p:ph type="body" sz="quarter" idx="11" hasCustomPrompt="1"/>
          </p:nvPr>
        </p:nvSpPr>
        <p:spPr>
          <a:xfrm>
            <a:off x="514350" y="5357194"/>
            <a:ext cx="3898319" cy="268454"/>
          </a:xfrm>
          <a:prstGeom prst="rect">
            <a:avLst/>
          </a:prstGeom>
        </p:spPr>
        <p:txBody>
          <a:bodyPr>
            <a:noAutofit/>
          </a:bodyPr>
          <a:lstStyle>
            <a:lvl1pPr marL="0" indent="0">
              <a:buFont typeface="Arial" panose="020B0604020202020204" pitchFamily="34" charset="0"/>
              <a:buNone/>
              <a:defRPr lang="en-US" sz="1400"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lvl="0"/>
            <a:r>
              <a:rPr lang="en-US"/>
              <a:t>Date</a:t>
            </a:r>
          </a:p>
        </p:txBody>
      </p:sp>
      <p:sp>
        <p:nvSpPr>
          <p:cNvPr id="14" name="TextBox 13">
            <a:extLst>
              <a:ext uri="{FF2B5EF4-FFF2-40B4-BE49-F238E27FC236}">
                <a16:creationId xmlns:a16="http://schemas.microsoft.com/office/drawing/2014/main" id="{7A2070CA-BD80-F837-1A73-A0D6ED2BDE31}"/>
              </a:ext>
            </a:extLst>
          </p:cNvPr>
          <p:cNvSpPr txBox="1"/>
          <p:nvPr userDrawn="1"/>
        </p:nvSpPr>
        <p:spPr>
          <a:xfrm>
            <a:off x="514350" y="6401434"/>
            <a:ext cx="1749043" cy="200055"/>
          </a:xfrm>
          <a:prstGeom prst="rect">
            <a:avLst/>
          </a:prstGeom>
          <a:noFill/>
        </p:spPr>
        <p:txBody>
          <a:bodyPr wrap="square" rtlCol="0">
            <a:spAutoFit/>
          </a:bodyPr>
          <a:lstStyle/>
          <a:p>
            <a:r>
              <a:rPr lang="en-IN" sz="700">
                <a:solidFill>
                  <a:schemeClr val="bg1"/>
                </a:solidFill>
              </a:rPr>
              <a:t>© 2024 Birlasoft</a:t>
            </a:r>
          </a:p>
        </p:txBody>
      </p:sp>
      <p:pic>
        <p:nvPicPr>
          <p:cNvPr id="10" name="Graphic 9">
            <a:extLst>
              <a:ext uri="{FF2B5EF4-FFF2-40B4-BE49-F238E27FC236}">
                <a16:creationId xmlns:a16="http://schemas.microsoft.com/office/drawing/2014/main" id="{48034448-A875-2E00-5A76-7ABD669BF4FF}"/>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4350" y="6255269"/>
            <a:ext cx="357573" cy="86559"/>
          </a:xfrm>
          <a:prstGeom prst="rect">
            <a:avLst/>
          </a:prstGeom>
        </p:spPr>
      </p:pic>
    </p:spTree>
    <p:extLst>
      <p:ext uri="{BB962C8B-B14F-4D97-AF65-F5344CB8AC3E}">
        <p14:creationId xmlns:p14="http://schemas.microsoft.com/office/powerpoint/2010/main" val="424432921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Section Cover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1BB553-2796-2C46-692D-9221C61A9559}"/>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olorful squares in a dark room&#10;&#10;Description automatically generated">
            <a:extLst>
              <a:ext uri="{FF2B5EF4-FFF2-40B4-BE49-F238E27FC236}">
                <a16:creationId xmlns:a16="http://schemas.microsoft.com/office/drawing/2014/main" id="{08C4506A-9AB3-4F66-F9D3-F58F521A546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757" b="10338"/>
          <a:stretch/>
        </p:blipFill>
        <p:spPr>
          <a:xfrm>
            <a:off x="0" y="1788534"/>
            <a:ext cx="12192000" cy="3280932"/>
          </a:xfrm>
          <a:prstGeom prst="rect">
            <a:avLst/>
          </a:prstGeom>
        </p:spPr>
      </p:pic>
      <p:pic>
        <p:nvPicPr>
          <p:cNvPr id="3" name="Graphic 2">
            <a:extLst>
              <a:ext uri="{FF2B5EF4-FFF2-40B4-BE49-F238E27FC236}">
                <a16:creationId xmlns:a16="http://schemas.microsoft.com/office/drawing/2014/main" id="{51021C56-D351-32A4-6BFD-290BAD2F6EED}"/>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01907" y="6266628"/>
            <a:ext cx="398395" cy="96441"/>
          </a:xfrm>
          <a:prstGeom prst="rect">
            <a:avLst/>
          </a:prstGeom>
        </p:spPr>
      </p:pic>
      <p:sp>
        <p:nvSpPr>
          <p:cNvPr id="4" name="Footer Placeholder 6">
            <a:extLst>
              <a:ext uri="{FF2B5EF4-FFF2-40B4-BE49-F238E27FC236}">
                <a16:creationId xmlns:a16="http://schemas.microsoft.com/office/drawing/2014/main" id="{D02B7327-D402-E3FA-EADD-193B129E5134}"/>
              </a:ext>
            </a:extLst>
          </p:cNvPr>
          <p:cNvSpPr txBox="1">
            <a:spLocks/>
          </p:cNvSpPr>
          <p:nvPr userDrawn="1"/>
        </p:nvSpPr>
        <p:spPr>
          <a:xfrm>
            <a:off x="9964372" y="619991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700">
                <a:solidFill>
                  <a:schemeClr val="tx1">
                    <a:lumMod val="75000"/>
                    <a:lumOff val="25000"/>
                  </a:schemeClr>
                </a:solidFill>
              </a:rPr>
              <a:t>© 2024 Birlasoft</a:t>
            </a:r>
          </a:p>
        </p:txBody>
      </p:sp>
      <p:sp>
        <p:nvSpPr>
          <p:cNvPr id="6" name="Rectangle 5">
            <a:extLst>
              <a:ext uri="{FF2B5EF4-FFF2-40B4-BE49-F238E27FC236}">
                <a16:creationId xmlns:a16="http://schemas.microsoft.com/office/drawing/2014/main" id="{161D66A6-E05E-3B45-9DC7-B66AA8D42775}"/>
              </a:ext>
            </a:extLst>
          </p:cNvPr>
          <p:cNvSpPr/>
          <p:nvPr userDrawn="1"/>
        </p:nvSpPr>
        <p:spPr>
          <a:xfrm>
            <a:off x="0" y="1788534"/>
            <a:ext cx="7667897" cy="3280932"/>
          </a:xfrm>
          <a:prstGeom prst="rect">
            <a:avLst/>
          </a:prstGeom>
          <a:gradFill flip="none" rotWithShape="1">
            <a:gsLst>
              <a:gs pos="0">
                <a:schemeClr val="tx1">
                  <a:alpha val="85000"/>
                </a:schemeClr>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599F5A3F-60BB-D0E6-5FEF-613731004EA0}"/>
              </a:ext>
            </a:extLst>
          </p:cNvPr>
          <p:cNvSpPr>
            <a:spLocks noGrp="1"/>
          </p:cNvSpPr>
          <p:nvPr>
            <p:ph type="title" hasCustomPrompt="1"/>
          </p:nvPr>
        </p:nvSpPr>
        <p:spPr>
          <a:xfrm>
            <a:off x="515938" y="2085669"/>
            <a:ext cx="9784680" cy="1232297"/>
          </a:xfrm>
          <a:prstGeom prst="rect">
            <a:avLst/>
          </a:prstGeom>
        </p:spPr>
        <p:txBody>
          <a:bodyPr anchor="t">
            <a:normAutofit/>
          </a:bodyPr>
          <a:lstStyle>
            <a:lvl1pPr algn="l">
              <a:defRPr sz="3600" b="1">
                <a:solidFill>
                  <a:schemeClr val="bg1"/>
                </a:solidFill>
              </a:defRPr>
            </a:lvl1pPr>
          </a:lstStyle>
          <a:p>
            <a:r>
              <a:rPr lang="en-US"/>
              <a:t>Text goes here</a:t>
            </a:r>
            <a:endParaRPr lang="en-IN"/>
          </a:p>
        </p:txBody>
      </p:sp>
    </p:spTree>
    <p:extLst>
      <p:ext uri="{BB962C8B-B14F-4D97-AF65-F5344CB8AC3E}">
        <p14:creationId xmlns:p14="http://schemas.microsoft.com/office/powerpoint/2010/main" val="10402335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Content 3">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CB6DD955-6830-0844-CDE0-C5E4F2CD6960}"/>
              </a:ext>
            </a:extLst>
          </p:cNvPr>
          <p:cNvSpPr>
            <a:spLocks noGrp="1"/>
          </p:cNvSpPr>
          <p:nvPr>
            <p:ph type="body" sz="quarter" idx="14" hasCustomPrompt="1"/>
          </p:nvPr>
        </p:nvSpPr>
        <p:spPr>
          <a:xfrm>
            <a:off x="226423" y="820281"/>
            <a:ext cx="11148550" cy="278847"/>
          </a:xfrm>
          <a:prstGeom prst="rect">
            <a:avLst/>
          </a:prstGeom>
        </p:spPr>
        <p:txBody>
          <a:bodyPr anchor="ctr">
            <a:noAutofit/>
          </a:bodyPr>
          <a:lstStyle>
            <a:lvl1pPr marL="0" indent="0">
              <a:buNone/>
              <a:defRPr sz="1800" b="1">
                <a:solidFill>
                  <a:schemeClr val="tx1">
                    <a:lumMod val="65000"/>
                    <a:lumOff val="35000"/>
                  </a:schemeClr>
                </a:solidFill>
                <a:latin typeface="+mj-lt"/>
              </a:defRPr>
            </a:lvl1pPr>
          </a:lstStyle>
          <a:p>
            <a:pPr lvl="0"/>
            <a:r>
              <a:rPr lang="en-IN"/>
              <a:t>Subtitle</a:t>
            </a:r>
          </a:p>
        </p:txBody>
      </p:sp>
      <p:sp>
        <p:nvSpPr>
          <p:cNvPr id="2" name="Title 1">
            <a:extLst>
              <a:ext uri="{FF2B5EF4-FFF2-40B4-BE49-F238E27FC236}">
                <a16:creationId xmlns:a16="http://schemas.microsoft.com/office/drawing/2014/main" id="{58C53692-85A8-A83F-984B-3483907FBB5F}"/>
              </a:ext>
            </a:extLst>
          </p:cNvPr>
          <p:cNvSpPr>
            <a:spLocks noGrp="1"/>
          </p:cNvSpPr>
          <p:nvPr>
            <p:ph type="title" hasCustomPrompt="1"/>
          </p:nvPr>
        </p:nvSpPr>
        <p:spPr>
          <a:xfrm>
            <a:off x="227067" y="212269"/>
            <a:ext cx="11738510" cy="608012"/>
          </a:xfrm>
          <a:prstGeom prst="rect">
            <a:avLst/>
          </a:prstGeom>
        </p:spPr>
        <p:txBody>
          <a:bodyPr>
            <a:norm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1312028097"/>
      </p:ext>
    </p:extLst>
  </p:cSld>
  <p:clrMapOvr>
    <a:masterClrMapping/>
  </p:clrMapOvr>
  <p:extLst>
    <p:ext uri="{DCECCB84-F9BA-43D5-87BE-67443E8EF086}">
      <p15:sldGuideLst xmlns:p15="http://schemas.microsoft.com/office/powerpoint/2012/main">
        <p15:guide id="2" orient="horz" pos="98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xt Content 4">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7E7A931-2CCE-4D13-832C-91CB256D1A42}"/>
              </a:ext>
            </a:extLst>
          </p:cNvPr>
          <p:cNvSpPr>
            <a:spLocks noGrp="1"/>
          </p:cNvSpPr>
          <p:nvPr>
            <p:ph type="title" hasCustomPrompt="1"/>
          </p:nvPr>
        </p:nvSpPr>
        <p:spPr>
          <a:xfrm>
            <a:off x="227067" y="212269"/>
            <a:ext cx="11738510" cy="608012"/>
          </a:xfrm>
          <a:prstGeom prst="rect">
            <a:avLst/>
          </a:prstGeom>
        </p:spPr>
        <p:txBody>
          <a:bodyPr>
            <a:norm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41462772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5_Only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566" y="0"/>
            <a:ext cx="11774397" cy="940526"/>
          </a:xfrm>
        </p:spPr>
        <p:txBody>
          <a:bodyPr tIns="182880" anchor="t">
            <a:normAutofit/>
          </a:bodyPr>
          <a:lstStyle>
            <a:lvl1pPr algn="l" defTabSz="914363" rtl="0" eaLnBrk="1" latinLnBrk="0" hangingPunct="1">
              <a:lnSpc>
                <a:spcPct val="90000"/>
              </a:lnSpc>
              <a:spcBef>
                <a:spcPts val="0"/>
              </a:spcBef>
              <a:buNone/>
              <a:defRPr lang="en-IN" sz="2100" b="1" kern="1200" dirty="0">
                <a:solidFill>
                  <a:srgbClr val="00689B"/>
                </a:solidFill>
                <a:latin typeface="+mj-lt"/>
                <a:ea typeface="+mj-ea"/>
                <a:cs typeface="+mj-cs"/>
              </a:defRPr>
            </a:lvl1pPr>
          </a:lstStyle>
          <a:p>
            <a:r>
              <a:rPr lang="en-US"/>
              <a:t>Title</a:t>
            </a:r>
            <a:endParaRPr lang="en-IN"/>
          </a:p>
        </p:txBody>
      </p:sp>
      <p:sp>
        <p:nvSpPr>
          <p:cNvPr id="6" name="Footer Placeholder 2">
            <a:extLst>
              <a:ext uri="{FF2B5EF4-FFF2-40B4-BE49-F238E27FC236}">
                <a16:creationId xmlns:a16="http://schemas.microsoft.com/office/drawing/2014/main" id="{929CAE08-136F-4EA4-BF6E-8C2BC337833C}"/>
              </a:ext>
            </a:extLst>
          </p:cNvPr>
          <p:cNvSpPr txBox="1">
            <a:spLocks/>
          </p:cNvSpPr>
          <p:nvPr/>
        </p:nvSpPr>
        <p:spPr>
          <a:xfrm>
            <a:off x="1704974" y="6527554"/>
            <a:ext cx="4114800"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a:solidFill>
                  <a:schemeClr val="tx2"/>
                </a:solidFill>
                <a:latin typeface="+mj-lt"/>
              </a:rPr>
              <a:t>© 2023 Birlasoft</a:t>
            </a:r>
          </a:p>
        </p:txBody>
      </p:sp>
      <p:sp>
        <p:nvSpPr>
          <p:cNvPr id="7" name="Slide Number Placeholder 3">
            <a:extLst>
              <a:ext uri="{FF2B5EF4-FFF2-40B4-BE49-F238E27FC236}">
                <a16:creationId xmlns:a16="http://schemas.microsoft.com/office/drawing/2014/main" id="{6794758D-2E2D-4112-BA94-8F44EC569CDC}"/>
              </a:ext>
            </a:extLst>
          </p:cNvPr>
          <p:cNvSpPr txBox="1">
            <a:spLocks/>
          </p:cNvSpPr>
          <p:nvPr/>
        </p:nvSpPr>
        <p:spPr>
          <a:xfrm>
            <a:off x="309563" y="6527554"/>
            <a:ext cx="341949" cy="229870"/>
          </a:xfrm>
          <a:prstGeom prst="rect">
            <a:avLst/>
          </a:prstGeom>
        </p:spPr>
        <p:txBody>
          <a:bodyPr vert="horz" lIns="91440" tIns="45720" rIns="91440" bIns="45720" rtlCol="0" anchor="ctr"/>
          <a:lstStyle>
            <a:defPPr>
              <a:defRPr lang="en-US"/>
            </a:defPPr>
            <a:lvl1pPr marL="0" algn="l" defTabSz="914363" rtl="0" eaLnBrk="1" latinLnBrk="0" hangingPunct="1">
              <a:defRPr sz="800" kern="120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AC1CC88B-8153-4770-B0DF-840C5C37FBC3}" type="slidenum">
              <a:rPr lang="en-IN" smtClean="0">
                <a:solidFill>
                  <a:schemeClr val="tx2"/>
                </a:solidFill>
                <a:latin typeface="+mj-lt"/>
              </a:rPr>
              <a:pPr/>
              <a:t>‹#›</a:t>
            </a:fld>
            <a:endParaRPr lang="en-IN">
              <a:solidFill>
                <a:schemeClr val="tx2"/>
              </a:solidFill>
              <a:latin typeface="+mj-lt"/>
            </a:endParaRPr>
          </a:p>
        </p:txBody>
      </p:sp>
      <p:sp>
        <p:nvSpPr>
          <p:cNvPr id="9" name="Date Placeholder 4">
            <a:extLst>
              <a:ext uri="{FF2B5EF4-FFF2-40B4-BE49-F238E27FC236}">
                <a16:creationId xmlns:a16="http://schemas.microsoft.com/office/drawing/2014/main" id="{E91537D8-C245-4592-9F16-D5674C12F89D}"/>
              </a:ext>
            </a:extLst>
          </p:cNvPr>
          <p:cNvSpPr txBox="1">
            <a:spLocks/>
          </p:cNvSpPr>
          <p:nvPr/>
        </p:nvSpPr>
        <p:spPr>
          <a:xfrm>
            <a:off x="830580" y="6526155"/>
            <a:ext cx="695326" cy="232668"/>
          </a:xfrm>
          <a:prstGeom prst="rect">
            <a:avLst/>
          </a:prstGeom>
        </p:spPr>
        <p:txBody>
          <a:bodyPr anchor="ctr"/>
          <a:lstStyle>
            <a:defPPr>
              <a:defRPr lang="en-US"/>
            </a:defPPr>
            <a:lvl1pPr marL="0" algn="l" defTabSz="914363" rtl="0" eaLnBrk="1" latinLnBrk="0" hangingPunct="1">
              <a:defRPr sz="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8EBEF598-DD41-4849-8A14-1B5F91BEB9F1}" type="datetime1">
              <a:rPr lang="en-US" smtClean="0">
                <a:solidFill>
                  <a:schemeClr val="tx2"/>
                </a:solidFill>
                <a:latin typeface="+mj-lt"/>
              </a:rPr>
              <a:pPr/>
              <a:t>5/25/2026</a:t>
            </a:fld>
            <a:endParaRPr lang="en-US">
              <a:solidFill>
                <a:schemeClr val="tx2"/>
              </a:solidFill>
              <a:latin typeface="+mj-lt"/>
            </a:endParaRPr>
          </a:p>
        </p:txBody>
      </p:sp>
    </p:spTree>
    <p:extLst>
      <p:ext uri="{BB962C8B-B14F-4D97-AF65-F5344CB8AC3E}">
        <p14:creationId xmlns:p14="http://schemas.microsoft.com/office/powerpoint/2010/main" val="525060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A0FFF-5CAD-EE2E-0E65-B557B5B4EA5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67F9327-92F5-AA15-4F3D-32ACF2FF8B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86D47FE-46B1-790E-42C5-4F398BD9F16B}"/>
              </a:ext>
            </a:extLst>
          </p:cNvPr>
          <p:cNvSpPr>
            <a:spLocks noGrp="1"/>
          </p:cNvSpPr>
          <p:nvPr>
            <p:ph type="dt" sz="half" idx="10"/>
          </p:nvPr>
        </p:nvSpPr>
        <p:spPr>
          <a:xfrm>
            <a:off x="830580" y="6521136"/>
            <a:ext cx="695326" cy="232668"/>
          </a:xfrm>
          <a:prstGeom prst="rect">
            <a:avLst/>
          </a:prstGeom>
        </p:spPr>
        <p:txBody>
          <a:bodyPr/>
          <a:lstStyle/>
          <a:p>
            <a:fld id="{3022003B-2220-4EC6-B399-6BB2B2EDE355}" type="datetimeFigureOut">
              <a:rPr lang="en-IN" smtClean="0"/>
              <a:t>25-05-2026</a:t>
            </a:fld>
            <a:endParaRPr lang="en-IN"/>
          </a:p>
        </p:txBody>
      </p:sp>
      <p:sp>
        <p:nvSpPr>
          <p:cNvPr id="5" name="Footer Placeholder 4">
            <a:extLst>
              <a:ext uri="{FF2B5EF4-FFF2-40B4-BE49-F238E27FC236}">
                <a16:creationId xmlns:a16="http://schemas.microsoft.com/office/drawing/2014/main" id="{F5C8F8CD-4144-6215-F8E3-FF8A5820F0BD}"/>
              </a:ext>
            </a:extLst>
          </p:cNvPr>
          <p:cNvSpPr>
            <a:spLocks noGrp="1"/>
          </p:cNvSpPr>
          <p:nvPr>
            <p:ph type="ftr" sz="quarter" idx="11"/>
          </p:nvPr>
        </p:nvSpPr>
        <p:spPr>
          <a:xfrm>
            <a:off x="1704974" y="6522535"/>
            <a:ext cx="4114800" cy="22987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7182599-38F5-3499-CA86-846A67E40F28}"/>
              </a:ext>
            </a:extLst>
          </p:cNvPr>
          <p:cNvSpPr>
            <a:spLocks noGrp="1"/>
          </p:cNvSpPr>
          <p:nvPr>
            <p:ph type="sldNum" sz="quarter" idx="12"/>
          </p:nvPr>
        </p:nvSpPr>
        <p:spPr/>
        <p:txBody>
          <a:bodyPr/>
          <a:lstStyle/>
          <a:p>
            <a:fld id="{E0AD047D-C4E2-425D-9699-710B21B09C73}" type="slidenum">
              <a:rPr lang="en-IN" smtClean="0"/>
              <a:t>‹#›</a:t>
            </a:fld>
            <a:endParaRPr lang="en-IN"/>
          </a:p>
        </p:txBody>
      </p:sp>
    </p:spTree>
    <p:extLst>
      <p:ext uri="{BB962C8B-B14F-4D97-AF65-F5344CB8AC3E}">
        <p14:creationId xmlns:p14="http://schemas.microsoft.com/office/powerpoint/2010/main" val="6275036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quote or statement, with phot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D016409-45AB-4024-87B1-0B8AFE8B203D}"/>
              </a:ext>
            </a:extLst>
          </p:cNvPr>
          <p:cNvSpPr/>
          <p:nvPr userDrawn="1"/>
        </p:nvSpPr>
        <p:spPr>
          <a:xfrm>
            <a:off x="0" y="0"/>
            <a:ext cx="12192000" cy="64166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icture Placeholder 6">
            <a:extLst>
              <a:ext uri="{FF2B5EF4-FFF2-40B4-BE49-F238E27FC236}">
                <a16:creationId xmlns:a16="http://schemas.microsoft.com/office/drawing/2014/main" id="{CEE4F7B8-08BD-4F06-A1D4-9AE42F22EDDF}"/>
              </a:ext>
            </a:extLst>
          </p:cNvPr>
          <p:cNvSpPr>
            <a:spLocks noGrp="1"/>
          </p:cNvSpPr>
          <p:nvPr>
            <p:ph type="pic" sz="quarter" idx="13"/>
          </p:nvPr>
        </p:nvSpPr>
        <p:spPr>
          <a:xfrm>
            <a:off x="1943100" y="2501901"/>
            <a:ext cx="10248900" cy="3914774"/>
          </a:xfrm>
          <a:solidFill>
            <a:schemeClr val="bg2">
              <a:lumMod val="85000"/>
            </a:schemeClr>
          </a:solidFill>
        </p:spPr>
        <p:txBody>
          <a:bodyPr/>
          <a:lstStyle/>
          <a:p>
            <a:endParaRPr lang="en-IN"/>
          </a:p>
        </p:txBody>
      </p:sp>
      <p:sp>
        <p:nvSpPr>
          <p:cNvPr id="8" name="Title 1">
            <a:extLst>
              <a:ext uri="{FF2B5EF4-FFF2-40B4-BE49-F238E27FC236}">
                <a16:creationId xmlns:a16="http://schemas.microsoft.com/office/drawing/2014/main" id="{2A883EBF-314B-4842-881D-A3F788ED71F2}"/>
              </a:ext>
            </a:extLst>
          </p:cNvPr>
          <p:cNvSpPr>
            <a:spLocks noGrp="1"/>
          </p:cNvSpPr>
          <p:nvPr>
            <p:ph type="ctrTitle" hasCustomPrompt="1"/>
          </p:nvPr>
        </p:nvSpPr>
        <p:spPr>
          <a:xfrm>
            <a:off x="1943101" y="530225"/>
            <a:ext cx="9177020" cy="612776"/>
          </a:xfrm>
        </p:spPr>
        <p:txBody>
          <a:bodyPr anchor="ctr">
            <a:normAutofit/>
          </a:bodyPr>
          <a:lstStyle>
            <a:lvl1pPr marL="0" algn="l" defTabSz="914363" rtl="0" eaLnBrk="1" latinLnBrk="0" hangingPunct="1">
              <a:lnSpc>
                <a:spcPct val="90000"/>
              </a:lnSpc>
              <a:spcBef>
                <a:spcPct val="0"/>
              </a:spcBef>
              <a:buNone/>
              <a:defRPr lang="en-US" sz="2800" b="1" kern="1200" dirty="0">
                <a:solidFill>
                  <a:schemeClr val="tx1">
                    <a:lumMod val="65000"/>
                    <a:lumOff val="35000"/>
                  </a:schemeClr>
                </a:solidFill>
                <a:latin typeface="+mj-lt"/>
                <a:ea typeface="+mj-ea"/>
                <a:cs typeface="+mj-cs"/>
              </a:defRPr>
            </a:lvl1pPr>
          </a:lstStyle>
          <a:p>
            <a:r>
              <a:rPr lang="en-US">
                <a:solidFill>
                  <a:schemeClr val="tx1">
                    <a:lumMod val="65000"/>
                    <a:lumOff val="35000"/>
                  </a:schemeClr>
                </a:solidFill>
              </a:rPr>
              <a:t>Slide Title in Calibri Bold, 32 pt. dark grey</a:t>
            </a:r>
            <a:endParaRPr lang="en-US"/>
          </a:p>
        </p:txBody>
      </p:sp>
      <p:sp>
        <p:nvSpPr>
          <p:cNvPr id="9" name="Subtitle 2">
            <a:extLst>
              <a:ext uri="{FF2B5EF4-FFF2-40B4-BE49-F238E27FC236}">
                <a16:creationId xmlns:a16="http://schemas.microsoft.com/office/drawing/2014/main" id="{F125512E-D324-4377-8707-132191939164}"/>
              </a:ext>
            </a:extLst>
          </p:cNvPr>
          <p:cNvSpPr>
            <a:spLocks noGrp="1"/>
          </p:cNvSpPr>
          <p:nvPr>
            <p:ph type="subTitle" idx="1" hasCustomPrompt="1"/>
          </p:nvPr>
        </p:nvSpPr>
        <p:spPr>
          <a:xfrm>
            <a:off x="1943100" y="1322538"/>
            <a:ext cx="9177020" cy="421331"/>
          </a:xfrm>
        </p:spPr>
        <p:txBody>
          <a:bodyPr anchor="t">
            <a:normAutofit/>
          </a:bodyPr>
          <a:lstStyle>
            <a:lvl1pPr marL="0" indent="0" algn="l" defTabSz="914363" rtl="0" eaLnBrk="1" latinLnBrk="0" hangingPunct="1">
              <a:lnSpc>
                <a:spcPct val="90000"/>
              </a:lnSpc>
              <a:spcBef>
                <a:spcPts val="1000"/>
              </a:spcBef>
              <a:buClr>
                <a:schemeClr val="tx1"/>
              </a:buClr>
              <a:buSzPct val="80000"/>
              <a:buFont typeface="Arial" panose="020B0604020202020204" pitchFamily="34" charset="0"/>
              <a:buNone/>
              <a:defRPr lang="en-US" sz="2000" b="1" kern="1200" dirty="0">
                <a:solidFill>
                  <a:srgbClr val="FF0000"/>
                </a:solidFill>
                <a:latin typeface="+mj-lt"/>
                <a:ea typeface="+mn-ea"/>
                <a:cs typeface="+mn-cs"/>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Subtitle (20pt)</a:t>
            </a:r>
          </a:p>
        </p:txBody>
      </p:sp>
      <p:grpSp>
        <p:nvGrpSpPr>
          <p:cNvPr id="19" name="Group 18">
            <a:extLst>
              <a:ext uri="{FF2B5EF4-FFF2-40B4-BE49-F238E27FC236}">
                <a16:creationId xmlns:a16="http://schemas.microsoft.com/office/drawing/2014/main" id="{DAE30A47-9CAC-4A8E-90A9-6658683E6574}"/>
              </a:ext>
            </a:extLst>
          </p:cNvPr>
          <p:cNvGrpSpPr/>
          <p:nvPr userDrawn="1"/>
        </p:nvGrpSpPr>
        <p:grpSpPr>
          <a:xfrm>
            <a:off x="9347996" y="2187577"/>
            <a:ext cx="2853530" cy="314324"/>
            <a:chOff x="9338470" y="2187576"/>
            <a:chExt cx="2853530" cy="314324"/>
          </a:xfrm>
        </p:grpSpPr>
        <p:pic>
          <p:nvPicPr>
            <p:cNvPr id="10" name="Graphic 9">
              <a:extLst>
                <a:ext uri="{FF2B5EF4-FFF2-40B4-BE49-F238E27FC236}">
                  <a16:creationId xmlns:a16="http://schemas.microsoft.com/office/drawing/2014/main" id="{12862531-A4B3-49AB-814E-92FB92CD774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338470" y="2187576"/>
              <a:ext cx="1581149" cy="157162"/>
            </a:xfrm>
            <a:prstGeom prst="rect">
              <a:avLst/>
            </a:prstGeom>
          </p:spPr>
        </p:pic>
        <p:pic>
          <p:nvPicPr>
            <p:cNvPr id="11" name="Graphic 10">
              <a:extLst>
                <a:ext uri="{FF2B5EF4-FFF2-40B4-BE49-F238E27FC236}">
                  <a16:creationId xmlns:a16="http://schemas.microsoft.com/office/drawing/2014/main" id="{37E785E0-0AFB-40DD-B1FB-E4CC5D5EFC4D}"/>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0897395" y="2344738"/>
              <a:ext cx="1294605" cy="157162"/>
            </a:xfrm>
            <a:prstGeom prst="rect">
              <a:avLst/>
            </a:prstGeom>
          </p:spPr>
        </p:pic>
      </p:grpSp>
      <p:pic>
        <p:nvPicPr>
          <p:cNvPr id="13" name="Graphic 12">
            <a:extLst>
              <a:ext uri="{FF2B5EF4-FFF2-40B4-BE49-F238E27FC236}">
                <a16:creationId xmlns:a16="http://schemas.microsoft.com/office/drawing/2014/main" id="{F82CD851-16D3-4475-B8D5-A5520BEA6F05}"/>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0077" y="530225"/>
            <a:ext cx="1294605" cy="157162"/>
          </a:xfrm>
          <a:prstGeom prst="rect">
            <a:avLst/>
          </a:prstGeom>
        </p:spPr>
      </p:pic>
      <p:pic>
        <p:nvPicPr>
          <p:cNvPr id="17" name="Graphic 16">
            <a:extLst>
              <a:ext uri="{FF2B5EF4-FFF2-40B4-BE49-F238E27FC236}">
                <a16:creationId xmlns:a16="http://schemas.microsoft.com/office/drawing/2014/main" id="{432B89DC-86C4-4F91-9A10-4F2A3492368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9053039" y="1587"/>
            <a:ext cx="1059336" cy="157162"/>
          </a:xfrm>
          <a:prstGeom prst="rect">
            <a:avLst/>
          </a:prstGeom>
        </p:spPr>
      </p:pic>
    </p:spTree>
    <p:extLst>
      <p:ext uri="{BB962C8B-B14F-4D97-AF65-F5344CB8AC3E}">
        <p14:creationId xmlns:p14="http://schemas.microsoft.com/office/powerpoint/2010/main" val="207466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Content 4">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7E7A931-2CCE-4D13-832C-91CB256D1A42}"/>
              </a:ext>
            </a:extLst>
          </p:cNvPr>
          <p:cNvSpPr>
            <a:spLocks noGrp="1"/>
          </p:cNvSpPr>
          <p:nvPr>
            <p:ph type="title" hasCustomPrompt="1"/>
          </p:nvPr>
        </p:nvSpPr>
        <p:spPr>
          <a:xfrm>
            <a:off x="527513" y="342898"/>
            <a:ext cx="11148550" cy="608012"/>
          </a:xfrm>
        </p:spPr>
        <p:txBody>
          <a:bodyPr>
            <a:norm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26210559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ext Content 4">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7E7A931-2CCE-4D13-832C-91CB256D1A42}"/>
              </a:ext>
            </a:extLst>
          </p:cNvPr>
          <p:cNvSpPr>
            <a:spLocks noGrp="1"/>
          </p:cNvSpPr>
          <p:nvPr>
            <p:ph type="title" hasCustomPrompt="1"/>
          </p:nvPr>
        </p:nvSpPr>
        <p:spPr>
          <a:xfrm>
            <a:off x="527513" y="342898"/>
            <a:ext cx="11148550" cy="608012"/>
          </a:xfrm>
        </p:spPr>
        <p:txBody>
          <a:bodyPr>
            <a:norm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386145844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2B3FB8-4B17-F04F-EC4E-7EDFBC53CE64}"/>
              </a:ext>
            </a:extLst>
          </p:cNvPr>
          <p:cNvPicPr>
            <a:picLocks noChangeAspect="1"/>
          </p:cNvPicPr>
          <p:nvPr userDrawn="1"/>
        </p:nvPicPr>
        <p:blipFill>
          <a:blip r:embed="rId2" cstate="email">
            <a:alphaModFix amt="92000"/>
            <a:extLst>
              <a:ext uri="{28A0092B-C50C-407E-A947-70E740481C1C}">
                <a14:useLocalDpi xmlns:a14="http://schemas.microsoft.com/office/drawing/2010/main"/>
              </a:ext>
            </a:extLst>
          </a:blip>
          <a:stretch>
            <a:fillRect/>
          </a:stretch>
        </p:blipFill>
        <p:spPr>
          <a:xfrm>
            <a:off x="0" y="-692"/>
            <a:ext cx="12192001" cy="6858692"/>
          </a:xfrm>
          <a:prstGeom prst="rect">
            <a:avLst/>
          </a:prstGeom>
        </p:spPr>
      </p:pic>
      <p:sp>
        <p:nvSpPr>
          <p:cNvPr id="10" name="Rectangle 9">
            <a:extLst>
              <a:ext uri="{FF2B5EF4-FFF2-40B4-BE49-F238E27FC236}">
                <a16:creationId xmlns:a16="http://schemas.microsoft.com/office/drawing/2014/main" id="{E5A5A4C3-81B1-7F3E-DFCE-E3ABBE4B4AE3}"/>
              </a:ext>
            </a:extLst>
          </p:cNvPr>
          <p:cNvSpPr/>
          <p:nvPr/>
        </p:nvSpPr>
        <p:spPr>
          <a:xfrm>
            <a:off x="0" y="6344994"/>
            <a:ext cx="12192000" cy="525227"/>
          </a:xfrm>
          <a:prstGeom prst="rect">
            <a:avLst/>
          </a:prstGeom>
          <a:gradFill flip="none" rotWithShape="1">
            <a:gsLst>
              <a:gs pos="100000">
                <a:srgbClr val="1D0C2A"/>
              </a:gs>
              <a:gs pos="65000">
                <a:srgbClr val="6B0E2F"/>
              </a:gs>
              <a:gs pos="0">
                <a:schemeClr val="accent1"/>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0BB63ED3-A2CD-5823-423D-F6F46142969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60884" y="6193906"/>
            <a:ext cx="1310949" cy="317346"/>
          </a:xfrm>
          <a:prstGeom prst="rect">
            <a:avLst/>
          </a:prstGeom>
        </p:spPr>
      </p:pic>
      <p:sp>
        <p:nvSpPr>
          <p:cNvPr id="27" name="TextBox 26">
            <a:extLst>
              <a:ext uri="{FF2B5EF4-FFF2-40B4-BE49-F238E27FC236}">
                <a16:creationId xmlns:a16="http://schemas.microsoft.com/office/drawing/2014/main" id="{203CB3A1-7A42-C762-E58D-043DE603BFA3}"/>
              </a:ext>
            </a:extLst>
          </p:cNvPr>
          <p:cNvSpPr txBox="1"/>
          <p:nvPr/>
        </p:nvSpPr>
        <p:spPr>
          <a:xfrm>
            <a:off x="9460884" y="6499886"/>
            <a:ext cx="1421006" cy="200055"/>
          </a:xfrm>
          <a:prstGeom prst="rect">
            <a:avLst/>
          </a:prstGeom>
          <a:noFill/>
        </p:spPr>
        <p:txBody>
          <a:bodyPr wrap="square">
            <a:spAutoFit/>
          </a:bodyPr>
          <a:lstStyle/>
          <a:p>
            <a:r>
              <a:rPr lang="en-IN" sz="700" dirty="0">
                <a:solidFill>
                  <a:schemeClr val="bg1"/>
                </a:solidFill>
              </a:rPr>
              <a:t>© 2026 Birlasoft</a:t>
            </a:r>
          </a:p>
        </p:txBody>
      </p:sp>
      <p:sp>
        <p:nvSpPr>
          <p:cNvPr id="9" name="Rectangle 8">
            <a:extLst>
              <a:ext uri="{FF2B5EF4-FFF2-40B4-BE49-F238E27FC236}">
                <a16:creationId xmlns:a16="http://schemas.microsoft.com/office/drawing/2014/main" id="{F1832A43-6736-EB47-BAA7-423CC961B7A8}"/>
              </a:ext>
            </a:extLst>
          </p:cNvPr>
          <p:cNvSpPr/>
          <p:nvPr/>
        </p:nvSpPr>
        <p:spPr>
          <a:xfrm>
            <a:off x="731580"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7">
            <a:extLst>
              <a:ext uri="{FF2B5EF4-FFF2-40B4-BE49-F238E27FC236}">
                <a16:creationId xmlns:a16="http://schemas.microsoft.com/office/drawing/2014/main" id="{902AAF8C-FAD1-9C40-3CFC-958B6A419EE5}"/>
              </a:ext>
            </a:extLst>
          </p:cNvPr>
          <p:cNvSpPr txBox="1">
            <a:spLocks/>
          </p:cNvSpPr>
          <p:nvPr/>
        </p:nvSpPr>
        <p:spPr>
          <a:xfrm>
            <a:off x="514351" y="2394826"/>
            <a:ext cx="4013044" cy="1190112"/>
          </a:xfrm>
          <a:prstGeom prst="rect">
            <a:avLst/>
          </a:prstGeom>
          <a:effectLst/>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lnSpc>
                <a:spcPts val="10560"/>
              </a:lnSpc>
            </a:pPr>
            <a:r>
              <a:rPr lang="en-US" sz="5400" b="1">
                <a:solidFill>
                  <a:schemeClr val="tx1">
                    <a:lumMod val="75000"/>
                    <a:lumOff val="25000"/>
                  </a:schemeClr>
                </a:solidFill>
                <a:effectLst/>
              </a:rPr>
              <a:t>Thank You</a:t>
            </a:r>
            <a:endParaRPr lang="en-IN" sz="5400" b="1">
              <a:solidFill>
                <a:schemeClr val="tx1">
                  <a:lumMod val="75000"/>
                  <a:lumOff val="25000"/>
                </a:schemeClr>
              </a:solidFill>
              <a:effectLst/>
            </a:endParaRPr>
          </a:p>
        </p:txBody>
      </p:sp>
      <p:pic>
        <p:nvPicPr>
          <p:cNvPr id="12" name="Graphic 11">
            <a:hlinkClick r:id="rId4"/>
            <a:extLst>
              <a:ext uri="{FF2B5EF4-FFF2-40B4-BE49-F238E27FC236}">
                <a16:creationId xmlns:a16="http://schemas.microsoft.com/office/drawing/2014/main" id="{49A4B0B7-001A-0506-0F58-59244B40880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1580" y="5136438"/>
            <a:ext cx="244475" cy="244475"/>
          </a:xfrm>
          <a:prstGeom prst="rect">
            <a:avLst/>
          </a:prstGeom>
        </p:spPr>
      </p:pic>
      <p:sp>
        <p:nvSpPr>
          <p:cNvPr id="13" name="TextBox 12">
            <a:hlinkClick r:id="rId6"/>
            <a:extLst>
              <a:ext uri="{FF2B5EF4-FFF2-40B4-BE49-F238E27FC236}">
                <a16:creationId xmlns:a16="http://schemas.microsoft.com/office/drawing/2014/main" id="{E17582F5-47DB-6177-4DC4-ADD22AFE6B48}"/>
              </a:ext>
            </a:extLst>
          </p:cNvPr>
          <p:cNvSpPr txBox="1"/>
          <p:nvPr/>
        </p:nvSpPr>
        <p:spPr>
          <a:xfrm>
            <a:off x="635059" y="4593013"/>
            <a:ext cx="2097597" cy="415498"/>
          </a:xfrm>
          <a:prstGeom prst="rect">
            <a:avLst/>
          </a:prstGeom>
          <a:noFill/>
        </p:spPr>
        <p:txBody>
          <a:bodyPr wrap="square" rtlCol="0">
            <a:spAutoFit/>
          </a:bodyPr>
          <a:lstStyle/>
          <a:p>
            <a:r>
              <a:rPr lang="en-US" sz="2000" b="0" i="0" dirty="0">
                <a:solidFill>
                  <a:schemeClr val="accent2"/>
                </a:solidFill>
                <a:latin typeface="+mj-lt"/>
              </a:rPr>
              <a:t>Birlasoft.com</a:t>
            </a:r>
          </a:p>
        </p:txBody>
      </p:sp>
      <p:sp>
        <p:nvSpPr>
          <p:cNvPr id="17" name="Rectangle 16">
            <a:extLst>
              <a:ext uri="{FF2B5EF4-FFF2-40B4-BE49-F238E27FC236}">
                <a16:creationId xmlns:a16="http://schemas.microsoft.com/office/drawing/2014/main" id="{B8159400-387C-7713-2C61-CF177E146ECD}"/>
              </a:ext>
            </a:extLst>
          </p:cNvPr>
          <p:cNvSpPr/>
          <p:nvPr/>
        </p:nvSpPr>
        <p:spPr>
          <a:xfrm>
            <a:off x="1030995" y="5136441"/>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hlinkClick r:id="rId7"/>
            <a:extLst>
              <a:ext uri="{FF2B5EF4-FFF2-40B4-BE49-F238E27FC236}">
                <a16:creationId xmlns:a16="http://schemas.microsoft.com/office/drawing/2014/main" id="{25E85C23-BAC7-71F3-C3C1-7C1792BDDE27}"/>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41425" r="-1"/>
          <a:stretch/>
        </p:blipFill>
        <p:spPr>
          <a:xfrm>
            <a:off x="928151" y="5136441"/>
            <a:ext cx="351111" cy="244475"/>
          </a:xfrm>
          <a:prstGeom prst="rect">
            <a:avLst/>
          </a:prstGeom>
        </p:spPr>
      </p:pic>
      <p:sp>
        <p:nvSpPr>
          <p:cNvPr id="19" name="Rectangle 18">
            <a:extLst>
              <a:ext uri="{FF2B5EF4-FFF2-40B4-BE49-F238E27FC236}">
                <a16:creationId xmlns:a16="http://schemas.microsoft.com/office/drawing/2014/main" id="{455422A3-A8C5-CF30-1D82-095EF83F7DA2}"/>
              </a:ext>
            </a:extLst>
          </p:cNvPr>
          <p:cNvSpPr/>
          <p:nvPr/>
        </p:nvSpPr>
        <p:spPr>
          <a:xfrm>
            <a:off x="1330410" y="5136441"/>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6C501EF-D3F3-F26E-34B0-5FF197E4DC51}"/>
              </a:ext>
            </a:extLst>
          </p:cNvPr>
          <p:cNvSpPr/>
          <p:nvPr/>
        </p:nvSpPr>
        <p:spPr>
          <a:xfrm>
            <a:off x="1626033" y="5136438"/>
            <a:ext cx="244475" cy="2444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hlinkClick r:id="rId9"/>
            <a:extLst>
              <a:ext uri="{FF2B5EF4-FFF2-40B4-BE49-F238E27FC236}">
                <a16:creationId xmlns:a16="http://schemas.microsoft.com/office/drawing/2014/main" id="{14DDF214-1F64-81B2-0073-D7330E4C55C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26033" y="5136441"/>
            <a:ext cx="244475" cy="244475"/>
          </a:xfrm>
          <a:prstGeom prst="rect">
            <a:avLst/>
          </a:prstGeom>
        </p:spPr>
      </p:pic>
      <p:pic>
        <p:nvPicPr>
          <p:cNvPr id="7" name="Graphic 6">
            <a:extLst>
              <a:ext uri="{FF2B5EF4-FFF2-40B4-BE49-F238E27FC236}">
                <a16:creationId xmlns:a16="http://schemas.microsoft.com/office/drawing/2014/main" id="{794D225B-AAA5-6D4E-5409-7B3017DD1FED}"/>
              </a:ext>
            </a:extLst>
          </p:cNvPr>
          <p:cNvPicPr>
            <a:picLocks noChangeAspect="1"/>
          </p:cNvPicPr>
          <p:nvPr/>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l="9498" t="26725" r="9235" b="25469"/>
          <a:stretch/>
        </p:blipFill>
        <p:spPr>
          <a:xfrm>
            <a:off x="514350" y="516172"/>
            <a:ext cx="1955800" cy="525227"/>
          </a:xfrm>
          <a:prstGeom prst="rect">
            <a:avLst/>
          </a:prstGeom>
        </p:spPr>
      </p:pic>
      <p:pic>
        <p:nvPicPr>
          <p:cNvPr id="3" name="Graphic 2">
            <a:extLst>
              <a:ext uri="{FF2B5EF4-FFF2-40B4-BE49-F238E27FC236}">
                <a16:creationId xmlns:a16="http://schemas.microsoft.com/office/drawing/2014/main" id="{384F9D83-C855-C907-425A-7095683D763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63479" y="5166743"/>
            <a:ext cx="182206" cy="186306"/>
          </a:xfrm>
          <a:prstGeom prst="rect">
            <a:avLst/>
          </a:prstGeom>
        </p:spPr>
      </p:pic>
    </p:spTree>
    <p:extLst>
      <p:ext uri="{BB962C8B-B14F-4D97-AF65-F5344CB8AC3E}">
        <p14:creationId xmlns:p14="http://schemas.microsoft.com/office/powerpoint/2010/main" val="19723288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492726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lain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85264-246E-79C9-9F96-6AB32AC8E1BB}"/>
              </a:ext>
            </a:extLst>
          </p:cNvPr>
          <p:cNvSpPr>
            <a:spLocks noGrp="1"/>
          </p:cNvSpPr>
          <p:nvPr>
            <p:ph type="title" hasCustomPrompt="1"/>
          </p:nvPr>
        </p:nvSpPr>
        <p:spPr>
          <a:xfrm>
            <a:off x="227067" y="166327"/>
            <a:ext cx="11738510" cy="428017"/>
          </a:xfrm>
          <a:prstGeom prst="rect">
            <a:avLst/>
          </a:prstGeom>
        </p:spPr>
        <p:txBody>
          <a:bodyPr tIns="0" bIns="0" anchor="t" anchorCtr="0">
            <a:normAutofit/>
          </a:bodyPr>
          <a:lstStyle>
            <a:lvl1pPr algn="l" defTabSz="914363" rtl="0" eaLnBrk="1" latinLnBrk="0" hangingPunct="1">
              <a:lnSpc>
                <a:spcPct val="90000"/>
              </a:lnSpc>
              <a:spcBef>
                <a:spcPct val="0"/>
              </a:spcBef>
              <a:buNone/>
              <a:defRPr lang="en-IN" sz="2600" b="1" kern="1200" dirty="0">
                <a:solidFill>
                  <a:schemeClr val="tx1">
                    <a:lumMod val="50000"/>
                  </a:schemeClr>
                </a:solidFill>
                <a:latin typeface="+mj-lt"/>
                <a:ea typeface="+mj-ea"/>
                <a:cs typeface="+mj-cs"/>
              </a:defRPr>
            </a:lvl1pPr>
          </a:lstStyle>
          <a:p>
            <a:r>
              <a:rPr lang="en-US"/>
              <a:t>Title</a:t>
            </a:r>
            <a:endParaRPr lang="en-IN"/>
          </a:p>
        </p:txBody>
      </p:sp>
      <p:cxnSp>
        <p:nvCxnSpPr>
          <p:cNvPr id="3" name="Straight Connector 2">
            <a:extLst>
              <a:ext uri="{FF2B5EF4-FFF2-40B4-BE49-F238E27FC236}">
                <a16:creationId xmlns:a16="http://schemas.microsoft.com/office/drawing/2014/main" id="{07243666-3796-5620-397A-B96089739744}"/>
              </a:ext>
            </a:extLst>
          </p:cNvPr>
          <p:cNvCxnSpPr>
            <a:cxnSpLocks/>
          </p:cNvCxnSpPr>
          <p:nvPr/>
        </p:nvCxnSpPr>
        <p:spPr>
          <a:xfrm>
            <a:off x="670844" y="6378118"/>
            <a:ext cx="1111794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5EA1B325-B287-FF63-9A0D-B25039FF7115}"/>
              </a:ext>
            </a:extLst>
          </p:cNvPr>
          <p:cNvSpPr txBox="1">
            <a:spLocks/>
          </p:cNvSpPr>
          <p:nvPr/>
        </p:nvSpPr>
        <p:spPr>
          <a:xfrm>
            <a:off x="964395" y="6469640"/>
            <a:ext cx="695326" cy="232668"/>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BEF598-DD41-4849-8A14-1B5F91BEB9F1}" type="datetime1">
              <a:rPr lang="en-US" smtClean="0"/>
              <a:pPr/>
              <a:t>5/25/2026</a:t>
            </a:fld>
            <a:endParaRPr lang="en-US"/>
          </a:p>
        </p:txBody>
      </p:sp>
      <p:sp>
        <p:nvSpPr>
          <p:cNvPr id="5" name="Rectangle 4">
            <a:extLst>
              <a:ext uri="{FF2B5EF4-FFF2-40B4-BE49-F238E27FC236}">
                <a16:creationId xmlns:a16="http://schemas.microsoft.com/office/drawing/2014/main" id="{9C20CC12-342D-8E04-0328-6C51AEB41E35}"/>
              </a:ext>
            </a:extLst>
          </p:cNvPr>
          <p:cNvSpPr/>
          <p:nvPr/>
        </p:nvSpPr>
        <p:spPr>
          <a:xfrm>
            <a:off x="403214" y="6228730"/>
            <a:ext cx="356713" cy="6292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AB2CCC6-6970-10FC-9A5C-614AF849F5D4}"/>
              </a:ext>
            </a:extLst>
          </p:cNvPr>
          <p:cNvSpPr txBox="1">
            <a:spLocks/>
          </p:cNvSpPr>
          <p:nvPr/>
        </p:nvSpPr>
        <p:spPr>
          <a:xfrm>
            <a:off x="403214" y="6461803"/>
            <a:ext cx="356713" cy="22987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C1CC88B-8153-4770-B0DF-840C5C37FBC3}" type="slidenum">
              <a:rPr lang="en-IN" sz="900" smtClean="0">
                <a:solidFill>
                  <a:schemeClr val="bg1"/>
                </a:solidFill>
              </a:rPr>
              <a:pPr algn="ctr"/>
              <a:t>‹#›</a:t>
            </a:fld>
            <a:endParaRPr lang="en-IN" sz="900">
              <a:solidFill>
                <a:schemeClr val="bg1"/>
              </a:solidFill>
            </a:endParaRPr>
          </a:p>
        </p:txBody>
      </p:sp>
      <p:sp>
        <p:nvSpPr>
          <p:cNvPr id="7" name="Footer Placeholder 6">
            <a:extLst>
              <a:ext uri="{FF2B5EF4-FFF2-40B4-BE49-F238E27FC236}">
                <a16:creationId xmlns:a16="http://schemas.microsoft.com/office/drawing/2014/main" id="{FFD054E2-35B3-80B6-4CB3-C5BEE89E7809}"/>
              </a:ext>
            </a:extLst>
          </p:cNvPr>
          <p:cNvSpPr txBox="1">
            <a:spLocks/>
          </p:cNvSpPr>
          <p:nvPr/>
        </p:nvSpPr>
        <p:spPr>
          <a:xfrm>
            <a:off x="10556224"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a:solidFill>
                  <a:schemeClr val="tx1">
                    <a:lumMod val="85000"/>
                    <a:lumOff val="15000"/>
                  </a:schemeClr>
                </a:solidFill>
                <a:latin typeface="+mj-lt"/>
                <a:ea typeface="Open Sans" panose="020B0606030504020204" pitchFamily="34" charset="0"/>
                <a:cs typeface="Open Sans" panose="020B0606030504020204" pitchFamily="34" charset="0"/>
              </a:rPr>
              <a:t>© 2024 Birlasoft</a:t>
            </a:r>
          </a:p>
        </p:txBody>
      </p:sp>
      <p:pic>
        <p:nvPicPr>
          <p:cNvPr id="8" name="Picture 7" descr="Shape, arrow&#10;&#10;Description automatically generated">
            <a:extLst>
              <a:ext uri="{FF2B5EF4-FFF2-40B4-BE49-F238E27FC236}">
                <a16:creationId xmlns:a16="http://schemas.microsoft.com/office/drawing/2014/main" id="{4EC4011E-E75F-31FE-3442-1F61CE7FD313}"/>
              </a:ext>
            </a:extLst>
          </p:cNvPr>
          <p:cNvPicPr>
            <a:picLocks noChangeAspect="1"/>
          </p:cNvPicPr>
          <p:nvPr/>
        </p:nvPicPr>
        <p:blipFill>
          <a:blip r:embed="rId2" cstate="screen">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10825146" y="6187013"/>
            <a:ext cx="462875" cy="429841"/>
          </a:xfrm>
          <a:prstGeom prst="rect">
            <a:avLst/>
          </a:prstGeom>
          <a:effectLst>
            <a:outerShdw blurRad="558800" dist="241300" dir="6000000" sx="97000" sy="97000" algn="ctr" rotWithShape="0">
              <a:srgbClr val="000000">
                <a:alpha val="73000"/>
              </a:srgbClr>
            </a:outerShdw>
          </a:effectLst>
        </p:spPr>
      </p:pic>
      <p:sp>
        <p:nvSpPr>
          <p:cNvPr id="10" name="Text Placeholder 7">
            <a:extLst>
              <a:ext uri="{FF2B5EF4-FFF2-40B4-BE49-F238E27FC236}">
                <a16:creationId xmlns:a16="http://schemas.microsoft.com/office/drawing/2014/main" id="{EF6FBE1B-15C2-0260-5C03-7A8B67378C8E}"/>
              </a:ext>
            </a:extLst>
          </p:cNvPr>
          <p:cNvSpPr>
            <a:spLocks noGrp="1"/>
          </p:cNvSpPr>
          <p:nvPr>
            <p:ph type="body" sz="quarter" idx="14" hasCustomPrompt="1"/>
          </p:nvPr>
        </p:nvSpPr>
        <p:spPr>
          <a:xfrm>
            <a:off x="226423" y="512068"/>
            <a:ext cx="11738510" cy="278847"/>
          </a:xfrm>
          <a:prstGeom prst="rect">
            <a:avLst/>
          </a:prstGeom>
        </p:spPr>
        <p:txBody>
          <a:bodyPr anchor="t" anchorCtr="0">
            <a:noAutofit/>
          </a:bodyPr>
          <a:lstStyle>
            <a:lvl1pPr marL="0" indent="0">
              <a:buNone/>
              <a:defRPr sz="1800" b="0">
                <a:solidFill>
                  <a:schemeClr val="tx1">
                    <a:lumMod val="50000"/>
                    <a:lumOff val="50000"/>
                  </a:schemeClr>
                </a:solidFill>
                <a:latin typeface="+mj-lt"/>
              </a:defRPr>
            </a:lvl1pPr>
          </a:lstStyle>
          <a:p>
            <a:pPr lvl="0"/>
            <a:r>
              <a:rPr lang="en-IN"/>
              <a:t>Subtitle</a:t>
            </a:r>
          </a:p>
        </p:txBody>
      </p:sp>
    </p:spTree>
    <p:extLst>
      <p:ext uri="{BB962C8B-B14F-4D97-AF65-F5344CB8AC3E}">
        <p14:creationId xmlns:p14="http://schemas.microsoft.com/office/powerpoint/2010/main" val="1182648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pos="7423">
          <p15:clr>
            <a:srgbClr val="FBAE40"/>
          </p15:clr>
        </p15:guide>
        <p15:guide id="5" orient="horz" pos="731">
          <p15:clr>
            <a:srgbClr val="FBAE40"/>
          </p15:clr>
        </p15:guide>
        <p15:guide id="6" orient="horz" pos="1094">
          <p15:clr>
            <a:srgbClr val="FBAE40"/>
          </p15:clr>
        </p15:guide>
        <p15:guide id="7" orient="horz" pos="38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 Slide-Standard Background">
    <p:spTree>
      <p:nvGrpSpPr>
        <p:cNvPr id="1" name=""/>
        <p:cNvGrpSpPr/>
        <p:nvPr/>
      </p:nvGrpSpPr>
      <p:grpSpPr>
        <a:xfrm>
          <a:off x="0" y="0"/>
          <a:ext cx="0" cy="0"/>
          <a:chOff x="0" y="0"/>
          <a:chExt cx="0" cy="0"/>
        </a:xfrm>
      </p:grpSpPr>
      <p:pic>
        <p:nvPicPr>
          <p:cNvPr id="2" name="Picture 1" descr="A close-up of a colorful light&#10;&#10;Description automatically generated">
            <a:extLst>
              <a:ext uri="{FF2B5EF4-FFF2-40B4-BE49-F238E27FC236}">
                <a16:creationId xmlns:a16="http://schemas.microsoft.com/office/drawing/2014/main" id="{601045E3-C410-1D90-B52D-DD51BA0FD55A}"/>
              </a:ext>
            </a:extLst>
          </p:cNvPr>
          <p:cNvPicPr>
            <a:picLocks noChangeAspect="1"/>
          </p:cNvPicPr>
          <p:nvPr userDrawn="1"/>
        </p:nvPicPr>
        <p:blipFill rotWithShape="1">
          <a:blip r:embed="rId2" cstate="email">
            <a:lum bright="70000" contrast="-70000"/>
            <a:alphaModFix amt="70000"/>
            <a:extLst>
              <a:ext uri="{28A0092B-C50C-407E-A947-70E740481C1C}">
                <a14:useLocalDpi xmlns:a14="http://schemas.microsoft.com/office/drawing/2010/main"/>
              </a:ext>
            </a:extLst>
          </a:blip>
          <a:srcRect l="21209" t="1780" r="4367" b="24575"/>
          <a:stretch/>
        </p:blipFill>
        <p:spPr>
          <a:xfrm>
            <a:off x="0" y="1"/>
            <a:ext cx="12192000" cy="6369280"/>
          </a:xfrm>
          <a:prstGeom prst="rect">
            <a:avLst/>
          </a:prstGeom>
        </p:spPr>
      </p:pic>
    </p:spTree>
    <p:extLst>
      <p:ext uri="{BB962C8B-B14F-4D97-AF65-F5344CB8AC3E}">
        <p14:creationId xmlns:p14="http://schemas.microsoft.com/office/powerpoint/2010/main" val="2007606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ext Content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3B07871-61F5-1E36-E68E-0972C4164582}"/>
              </a:ext>
            </a:extLst>
          </p:cNvPr>
          <p:cNvSpPr>
            <a:spLocks noGrp="1"/>
          </p:cNvSpPr>
          <p:nvPr>
            <p:ph type="title" hasCustomPrompt="1"/>
          </p:nvPr>
        </p:nvSpPr>
        <p:spPr>
          <a:xfrm>
            <a:off x="514349" y="342898"/>
            <a:ext cx="11032475" cy="360099"/>
          </a:xfrm>
        </p:spPr>
        <p:txBody>
          <a:bodyPr lIns="0" tIns="0" rIns="0" bIns="0" anchor="t" anchorCtr="0">
            <a:spAutoFit/>
          </a:bodyPr>
          <a:lstStyle>
            <a:lvl1pPr algn="l" defTabSz="914363" rtl="0" eaLnBrk="1" latinLnBrk="0" hangingPunct="1">
              <a:lnSpc>
                <a:spcPct val="90000"/>
              </a:lnSpc>
              <a:spcBef>
                <a:spcPct val="0"/>
              </a:spcBef>
              <a:buNone/>
              <a:defRPr lang="en-IN" sz="2600" b="1" kern="1200" dirty="0">
                <a:solidFill>
                  <a:schemeClr val="tx1">
                    <a:lumMod val="85000"/>
                    <a:lumOff val="15000"/>
                  </a:schemeClr>
                </a:solidFill>
                <a:latin typeface="+mj-lt"/>
                <a:ea typeface="+mj-ea"/>
                <a:cs typeface="+mj-cs"/>
              </a:defRPr>
            </a:lvl1pPr>
          </a:lstStyle>
          <a:p>
            <a:r>
              <a:rPr lang="en-US"/>
              <a:t>Title</a:t>
            </a:r>
            <a:endParaRPr lang="en-IN"/>
          </a:p>
        </p:txBody>
      </p:sp>
    </p:spTree>
    <p:extLst>
      <p:ext uri="{BB962C8B-B14F-4D97-AF65-F5344CB8AC3E}">
        <p14:creationId xmlns:p14="http://schemas.microsoft.com/office/powerpoint/2010/main" val="21978656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ver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D437788-DC96-F6C5-A832-96D2945F35FC}"/>
              </a:ext>
            </a:extLst>
          </p:cNvPr>
          <p:cNvGrpSpPr/>
          <p:nvPr/>
        </p:nvGrpSpPr>
        <p:grpSpPr>
          <a:xfrm>
            <a:off x="0" y="1433244"/>
            <a:ext cx="12192000" cy="5723617"/>
            <a:chOff x="0" y="1433244"/>
            <a:chExt cx="12192000" cy="5723617"/>
          </a:xfrm>
        </p:grpSpPr>
        <p:sp>
          <p:nvSpPr>
            <p:cNvPr id="6" name="Rectangle 5">
              <a:extLst>
                <a:ext uri="{FF2B5EF4-FFF2-40B4-BE49-F238E27FC236}">
                  <a16:creationId xmlns:a16="http://schemas.microsoft.com/office/drawing/2014/main" id="{4996152D-0857-F5D7-6A2C-B54B05F4A690}"/>
                </a:ext>
              </a:extLst>
            </p:cNvPr>
            <p:cNvSpPr/>
            <p:nvPr userDrawn="1"/>
          </p:nvSpPr>
          <p:spPr>
            <a:xfrm>
              <a:off x="0" y="1433244"/>
              <a:ext cx="5581650" cy="5722295"/>
            </a:xfrm>
            <a:prstGeom prst="rect">
              <a:avLst/>
            </a:prstGeom>
            <a:solidFill>
              <a:srgbClr val="0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descr="A person touching a large display of colorful squares&#10;&#10;Description automatically generated">
              <a:extLst>
                <a:ext uri="{FF2B5EF4-FFF2-40B4-BE49-F238E27FC236}">
                  <a16:creationId xmlns:a16="http://schemas.microsoft.com/office/drawing/2014/main" id="{484CF8CB-A2E7-0C55-715B-CD96047A4B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5717" y="1433245"/>
              <a:ext cx="8586283" cy="5723616"/>
            </a:xfrm>
            <a:prstGeom prst="rect">
              <a:avLst/>
            </a:prstGeom>
          </p:spPr>
        </p:pic>
      </p:grpSp>
      <p:pic>
        <p:nvPicPr>
          <p:cNvPr id="8" name="Graphic 7">
            <a:extLst>
              <a:ext uri="{FF2B5EF4-FFF2-40B4-BE49-F238E27FC236}">
                <a16:creationId xmlns:a16="http://schemas.microsoft.com/office/drawing/2014/main" id="{130562DD-073F-46B6-0AFB-C6AA97B1F9EE}"/>
              </a:ext>
            </a:extLst>
          </p:cNvPr>
          <p:cNvPicPr>
            <a:picLocks noChangeAspect="1"/>
          </p:cNvPicPr>
          <p:nvPr/>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4350" y="222534"/>
            <a:ext cx="2406650" cy="1098688"/>
          </a:xfrm>
          <a:prstGeom prst="rect">
            <a:avLst/>
          </a:prstGeom>
        </p:spPr>
      </p:pic>
      <p:pic>
        <p:nvPicPr>
          <p:cNvPr id="9" name="Picture 8" descr="Shape, arrow&#10;&#10;Description automatically generated">
            <a:extLst>
              <a:ext uri="{FF2B5EF4-FFF2-40B4-BE49-F238E27FC236}">
                <a16:creationId xmlns:a16="http://schemas.microsoft.com/office/drawing/2014/main" id="{50BAED42-4D59-CD90-8589-703444827B26}"/>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9208229" y="690377"/>
            <a:ext cx="1786655" cy="1659147"/>
          </a:xfrm>
          <a:prstGeom prst="rect">
            <a:avLst/>
          </a:prstGeom>
          <a:effectLst>
            <a:outerShdw blurRad="558800" dist="241300" dir="6000000" sx="97000" sy="97000" algn="ctr" rotWithShape="0">
              <a:srgbClr val="000000">
                <a:alpha val="73000"/>
              </a:srgbClr>
            </a:outerShdw>
          </a:effectLst>
        </p:spPr>
      </p:pic>
      <p:sp>
        <p:nvSpPr>
          <p:cNvPr id="3" name="Title 3">
            <a:extLst>
              <a:ext uri="{FF2B5EF4-FFF2-40B4-BE49-F238E27FC236}">
                <a16:creationId xmlns:a16="http://schemas.microsoft.com/office/drawing/2014/main" id="{9B10BDFB-7C05-CE46-414B-4F03975F4283}"/>
              </a:ext>
            </a:extLst>
          </p:cNvPr>
          <p:cNvSpPr>
            <a:spLocks noGrp="1"/>
          </p:cNvSpPr>
          <p:nvPr>
            <p:ph type="title" hasCustomPrompt="1"/>
          </p:nvPr>
        </p:nvSpPr>
        <p:spPr>
          <a:xfrm>
            <a:off x="569770" y="2037806"/>
            <a:ext cx="4524376" cy="2539021"/>
          </a:xfrm>
          <a:prstGeom prst="rect">
            <a:avLst/>
          </a:prstGeom>
        </p:spPr>
        <p:txBody>
          <a:bodyPr anchor="t"/>
          <a:lstStyle>
            <a:lvl1pPr marL="0" algn="l" defTabSz="914400" rtl="0" eaLnBrk="1" latinLnBrk="0" hangingPunct="1">
              <a:defRPr lang="en-US" sz="4400" b="1" kern="1200" dirty="0">
                <a:solidFill>
                  <a:schemeClr val="bg1"/>
                </a:solidFill>
                <a:latin typeface="+mn-lt"/>
                <a:ea typeface="+mn-ea"/>
                <a:cs typeface="+mn-cs"/>
              </a:defRPr>
            </a:lvl1pPr>
          </a:lstStyle>
          <a:p>
            <a:r>
              <a:rPr lang="en-US"/>
              <a:t>Title here</a:t>
            </a:r>
          </a:p>
        </p:txBody>
      </p:sp>
      <p:sp>
        <p:nvSpPr>
          <p:cNvPr id="20" name="Text Placeholder 19">
            <a:extLst>
              <a:ext uri="{FF2B5EF4-FFF2-40B4-BE49-F238E27FC236}">
                <a16:creationId xmlns:a16="http://schemas.microsoft.com/office/drawing/2014/main" id="{91FBA647-6D3B-4009-FBD3-04AD0A66E34F}"/>
              </a:ext>
            </a:extLst>
          </p:cNvPr>
          <p:cNvSpPr>
            <a:spLocks noGrp="1"/>
          </p:cNvSpPr>
          <p:nvPr>
            <p:ph type="body" sz="quarter" idx="10"/>
          </p:nvPr>
        </p:nvSpPr>
        <p:spPr>
          <a:xfrm>
            <a:off x="570439" y="5332297"/>
            <a:ext cx="4524375" cy="369549"/>
          </a:xfrm>
          <a:prstGeom prst="rect">
            <a:avLst/>
          </a:prstGeom>
        </p:spPr>
        <p:txBody>
          <a:bodyPr/>
          <a:lstStyle>
            <a:lvl1pPr marL="0" indent="0" algn="l" defTabSz="914400" rtl="0" eaLnBrk="1" latinLnBrk="0" hangingPunct="1">
              <a:buNone/>
              <a:defRPr lang="en-US" sz="2000" b="1" kern="1200" dirty="0" smtClean="0">
                <a:solidFill>
                  <a:srgbClr val="FF0000"/>
                </a:solidFill>
                <a:latin typeface="+mn-lt"/>
                <a:ea typeface="+mn-ea"/>
                <a:cs typeface="+mn-cs"/>
              </a:defRPr>
            </a:lvl1pPr>
            <a:lvl2pPr marL="0" indent="0" algn="l" defTabSz="914400" rtl="0" eaLnBrk="1" latinLnBrk="0" hangingPunct="1">
              <a:buFont typeface="Arial" panose="020B0604020202020204" pitchFamily="34" charset="0"/>
              <a:buNone/>
              <a:defRPr lang="en-US" sz="2000" b="1" kern="1200" dirty="0" smtClean="0">
                <a:solidFill>
                  <a:srgbClr val="FF0000"/>
                </a:solidFill>
                <a:latin typeface="+mn-lt"/>
                <a:ea typeface="+mn-ea"/>
                <a:cs typeface="+mn-cs"/>
              </a:defRPr>
            </a:lvl2pPr>
            <a:lvl3pPr marL="0" algn="l" defTabSz="914400" rtl="0" eaLnBrk="1" latinLnBrk="0" hangingPunct="1">
              <a:defRPr lang="en-US" sz="2000" b="1" kern="1200" dirty="0" smtClean="0">
                <a:solidFill>
                  <a:srgbClr val="FF0000"/>
                </a:solidFill>
                <a:latin typeface="+mn-lt"/>
                <a:ea typeface="+mn-ea"/>
                <a:cs typeface="+mn-cs"/>
              </a:defRPr>
            </a:lvl3pPr>
            <a:lvl4pPr marL="0" algn="l" defTabSz="914400" rtl="0" eaLnBrk="1" latinLnBrk="0" hangingPunct="1">
              <a:defRPr lang="en-US" sz="2000" b="1" kern="1200" dirty="0" smtClean="0">
                <a:solidFill>
                  <a:srgbClr val="FF0000"/>
                </a:solidFill>
                <a:latin typeface="+mn-lt"/>
                <a:ea typeface="+mn-ea"/>
                <a:cs typeface="+mn-cs"/>
              </a:defRPr>
            </a:lvl4pPr>
            <a:lvl5pPr marL="0" algn="l" defTabSz="914400" rtl="0" eaLnBrk="1" latinLnBrk="0" hangingPunct="1">
              <a:defRPr lang="en-IN" sz="2000" b="1" kern="1200" dirty="0">
                <a:solidFill>
                  <a:srgbClr val="FF0000"/>
                </a:solidFill>
                <a:latin typeface="+mn-lt"/>
                <a:ea typeface="+mn-ea"/>
                <a:cs typeface="+mn-cs"/>
              </a:defRPr>
            </a:lvl5pPr>
          </a:lstStyle>
          <a:p>
            <a:pPr lvl="0"/>
            <a:r>
              <a:rPr lang="en-US"/>
              <a:t>Click to edit Master text styles</a:t>
            </a:r>
          </a:p>
        </p:txBody>
      </p:sp>
      <p:sp>
        <p:nvSpPr>
          <p:cNvPr id="25" name="Text Placeholder 19">
            <a:extLst>
              <a:ext uri="{FF2B5EF4-FFF2-40B4-BE49-F238E27FC236}">
                <a16:creationId xmlns:a16="http://schemas.microsoft.com/office/drawing/2014/main" id="{180D0A4C-8712-B15E-D543-D24AAFBA2AAB}"/>
              </a:ext>
            </a:extLst>
          </p:cNvPr>
          <p:cNvSpPr>
            <a:spLocks noGrp="1"/>
          </p:cNvSpPr>
          <p:nvPr>
            <p:ph type="body" sz="quarter" idx="12"/>
          </p:nvPr>
        </p:nvSpPr>
        <p:spPr>
          <a:xfrm>
            <a:off x="570439" y="3239414"/>
            <a:ext cx="4524375" cy="1069349"/>
          </a:xfrm>
          <a:prstGeom prst="rect">
            <a:avLst/>
          </a:prstGeom>
        </p:spPr>
        <p:txBody>
          <a:bodyPr anchor="ctr"/>
          <a:lstStyle>
            <a:lvl1pPr marL="0" indent="0" algn="l" defTabSz="914400" rtl="0" eaLnBrk="1" latinLnBrk="0" hangingPunct="1">
              <a:lnSpc>
                <a:spcPct val="90000"/>
              </a:lnSpc>
              <a:spcBef>
                <a:spcPct val="0"/>
              </a:spcBef>
              <a:buNone/>
              <a:defRPr lang="en-US" sz="2400" b="1" kern="1200" dirty="0" smtClean="0">
                <a:solidFill>
                  <a:schemeClr val="bg1"/>
                </a:solidFill>
                <a:latin typeface="+mn-lt"/>
                <a:ea typeface="+mn-ea"/>
                <a:cs typeface="+mn-cs"/>
              </a:defRPr>
            </a:lvl1pPr>
            <a:lvl2pPr marL="0" indent="0" algn="l" defTabSz="914400" rtl="0" eaLnBrk="1" latinLnBrk="0" hangingPunct="1">
              <a:buFont typeface="Arial" panose="020B0604020202020204" pitchFamily="34" charset="0"/>
              <a:buNone/>
              <a:defRPr lang="en-US" sz="2000" b="1" kern="1200" dirty="0" smtClean="0">
                <a:solidFill>
                  <a:srgbClr val="FF0000"/>
                </a:solidFill>
                <a:latin typeface="+mn-lt"/>
                <a:ea typeface="+mn-ea"/>
                <a:cs typeface="+mn-cs"/>
              </a:defRPr>
            </a:lvl2pPr>
            <a:lvl3pPr marL="0" algn="l" defTabSz="914400" rtl="0" eaLnBrk="1" latinLnBrk="0" hangingPunct="1">
              <a:defRPr lang="en-US" sz="2000" b="1" kern="1200" dirty="0" smtClean="0">
                <a:solidFill>
                  <a:srgbClr val="FF0000"/>
                </a:solidFill>
                <a:latin typeface="+mn-lt"/>
                <a:ea typeface="+mn-ea"/>
                <a:cs typeface="+mn-cs"/>
              </a:defRPr>
            </a:lvl3pPr>
            <a:lvl4pPr marL="0" algn="l" defTabSz="914400" rtl="0" eaLnBrk="1" latinLnBrk="0" hangingPunct="1">
              <a:defRPr lang="en-US" sz="2000" b="1" kern="1200" dirty="0" smtClean="0">
                <a:solidFill>
                  <a:srgbClr val="FF0000"/>
                </a:solidFill>
                <a:latin typeface="+mn-lt"/>
                <a:ea typeface="+mn-ea"/>
                <a:cs typeface="+mn-cs"/>
              </a:defRPr>
            </a:lvl4pPr>
            <a:lvl5pPr marL="0" algn="l" defTabSz="914400" rtl="0" eaLnBrk="1" latinLnBrk="0" hangingPunct="1">
              <a:defRPr lang="en-IN" sz="2000" b="1" kern="1200" dirty="0">
                <a:solidFill>
                  <a:srgbClr val="FF0000"/>
                </a:solidFill>
                <a:latin typeface="+mn-lt"/>
                <a:ea typeface="+mn-ea"/>
                <a:cs typeface="+mn-cs"/>
              </a:defRPr>
            </a:lvl5pPr>
          </a:lstStyle>
          <a:p>
            <a:pPr lvl="0"/>
            <a:r>
              <a:rPr lang="en-US"/>
              <a:t>Click to edit Master text styles</a:t>
            </a:r>
          </a:p>
        </p:txBody>
      </p:sp>
      <p:pic>
        <p:nvPicPr>
          <p:cNvPr id="2" name="Picture 1" descr="Shape, arrow&#10;&#10;Description automatically generated">
            <a:extLst>
              <a:ext uri="{FF2B5EF4-FFF2-40B4-BE49-F238E27FC236}">
                <a16:creationId xmlns:a16="http://schemas.microsoft.com/office/drawing/2014/main" id="{D2008B1E-4E35-3FAE-2E3C-B63132505C4A}"/>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714610" y="5952698"/>
            <a:ext cx="365760" cy="339656"/>
          </a:xfrm>
          <a:prstGeom prst="rect">
            <a:avLst/>
          </a:prstGeom>
          <a:effectLst>
            <a:outerShdw blurRad="558800" dist="241300" dir="6000000" sx="97000" sy="97000" algn="ctr" rotWithShape="0">
              <a:srgbClr val="000000">
                <a:alpha val="73000"/>
              </a:srgbClr>
            </a:outerShdw>
          </a:effectLst>
        </p:spPr>
      </p:pic>
      <p:cxnSp>
        <p:nvCxnSpPr>
          <p:cNvPr id="10" name="Straight Connector 9">
            <a:extLst>
              <a:ext uri="{FF2B5EF4-FFF2-40B4-BE49-F238E27FC236}">
                <a16:creationId xmlns:a16="http://schemas.microsoft.com/office/drawing/2014/main" id="{AEEC54B7-C816-369D-6DEB-660D7DB664F9}"/>
              </a:ext>
            </a:extLst>
          </p:cNvPr>
          <p:cNvCxnSpPr>
            <a:cxnSpLocks/>
          </p:cNvCxnSpPr>
          <p:nvPr/>
        </p:nvCxnSpPr>
        <p:spPr>
          <a:xfrm>
            <a:off x="3085235" y="447801"/>
            <a:ext cx="0" cy="64815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Footer Placeholder 6">
            <a:extLst>
              <a:ext uri="{FF2B5EF4-FFF2-40B4-BE49-F238E27FC236}">
                <a16:creationId xmlns:a16="http://schemas.microsoft.com/office/drawing/2014/main" id="{27E11736-171A-62F9-CB9A-EB60C40064AC}"/>
              </a:ext>
            </a:extLst>
          </p:cNvPr>
          <p:cNvSpPr txBox="1">
            <a:spLocks/>
          </p:cNvSpPr>
          <p:nvPr/>
        </p:nvSpPr>
        <p:spPr>
          <a:xfrm>
            <a:off x="598015" y="6484983"/>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IN" sz="800" dirty="0">
                <a:solidFill>
                  <a:schemeClr val="bg1"/>
                </a:solidFill>
                <a:latin typeface="+mj-lt"/>
                <a:ea typeface="Open Sans" panose="020B0606030504020204" pitchFamily="34" charset="0"/>
                <a:cs typeface="Open Sans" panose="020B0606030504020204" pitchFamily="34" charset="0"/>
              </a:rPr>
              <a:t>© 2026 Birlasoft</a:t>
            </a:r>
          </a:p>
        </p:txBody>
      </p:sp>
    </p:spTree>
    <p:extLst>
      <p:ext uri="{BB962C8B-B14F-4D97-AF65-F5344CB8AC3E}">
        <p14:creationId xmlns:p14="http://schemas.microsoft.com/office/powerpoint/2010/main" val="179398232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82F822B-A3D6-9DB3-FE62-4FDDAD9C94D1}"/>
              </a:ext>
            </a:extLst>
          </p:cNvPr>
          <p:cNvSpPr>
            <a:spLocks noGrp="1"/>
          </p:cNvSpPr>
          <p:nvPr>
            <p:ph type="ftr" sz="quarter" idx="3"/>
          </p:nvPr>
        </p:nvSpPr>
        <p:spPr>
          <a:xfrm>
            <a:off x="1704974" y="6522535"/>
            <a:ext cx="4114800" cy="229870"/>
          </a:xfrm>
          <a:prstGeom prst="rect">
            <a:avLst/>
          </a:prstGeom>
        </p:spPr>
        <p:txBody>
          <a:bodyPr vert="horz" lIns="91440" tIns="45720" rIns="91440" bIns="45720" rtlCol="0" anchor="ctr"/>
          <a:lstStyle>
            <a:lvl1pPr marL="0" algn="l" defTabSz="914363" rtl="0" eaLnBrk="1" latinLnBrk="0" hangingPunct="1">
              <a:defRPr lang="en-US" sz="800" kern="1200" smtClean="0">
                <a:solidFill>
                  <a:schemeClr val="tx2"/>
                </a:solidFill>
                <a:latin typeface="+mn-lt"/>
                <a:ea typeface="+mn-ea"/>
                <a:cs typeface="+mn-cs"/>
              </a:defRPr>
            </a:lvl1pPr>
          </a:lstStyle>
          <a:p>
            <a:endParaRPr lang="en-US"/>
          </a:p>
        </p:txBody>
      </p:sp>
      <p:sp>
        <p:nvSpPr>
          <p:cNvPr id="5" name="Date Placeholder 3">
            <a:extLst>
              <a:ext uri="{FF2B5EF4-FFF2-40B4-BE49-F238E27FC236}">
                <a16:creationId xmlns:a16="http://schemas.microsoft.com/office/drawing/2014/main" id="{786F1958-BBE5-A4E1-48F2-E51A8C16535B}"/>
              </a:ext>
            </a:extLst>
          </p:cNvPr>
          <p:cNvSpPr>
            <a:spLocks noGrp="1"/>
          </p:cNvSpPr>
          <p:nvPr>
            <p:ph type="dt" sz="half" idx="2"/>
          </p:nvPr>
        </p:nvSpPr>
        <p:spPr>
          <a:xfrm>
            <a:off x="830580" y="6521136"/>
            <a:ext cx="695326" cy="232668"/>
          </a:xfrm>
          <a:prstGeom prst="rect">
            <a:avLst/>
          </a:prstGeom>
        </p:spPr>
        <p:txBody>
          <a:bodyPr anchor="ctr"/>
          <a:lstStyle>
            <a:lvl1pPr>
              <a:defRPr sz="800">
                <a:solidFill>
                  <a:schemeClr val="tx1"/>
                </a:solidFill>
                <a:latin typeface="+mn-lt"/>
              </a:defRPr>
            </a:lvl1pPr>
          </a:lstStyle>
          <a:p>
            <a:fld id="{00983264-BACB-4558-8B59-6B0346B75F5C}" type="datetimeFigureOut">
              <a:rPr lang="en-US" smtClean="0"/>
              <a:t>5/25/2026</a:t>
            </a:fld>
            <a:endParaRPr lang="en-US"/>
          </a:p>
        </p:txBody>
      </p:sp>
    </p:spTree>
    <p:extLst>
      <p:ext uri="{BB962C8B-B14F-4D97-AF65-F5344CB8AC3E}">
        <p14:creationId xmlns:p14="http://schemas.microsoft.com/office/powerpoint/2010/main" val="2017127856"/>
      </p:ext>
    </p:extLst>
  </p:cSld>
  <p:clrMap bg1="lt1" tx1="dk1" bg2="lt2" tx2="dk2" accent1="accent1" accent2="accent2" accent3="accent3" accent4="accent4" accent5="accent5" accent6="accent6" hlink="hlink" folHlink="folHlink"/>
  <p:sldLayoutIdLst>
    <p:sldLayoutId id="214748387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9463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868" r:id="rId6"/>
    <p:sldLayoutId id="2147483869"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82F822B-A3D6-9DB3-FE62-4FDDAD9C94D1}"/>
              </a:ext>
            </a:extLst>
          </p:cNvPr>
          <p:cNvSpPr>
            <a:spLocks noGrp="1"/>
          </p:cNvSpPr>
          <p:nvPr>
            <p:ph type="ftr" sz="quarter" idx="3"/>
          </p:nvPr>
        </p:nvSpPr>
        <p:spPr>
          <a:xfrm>
            <a:off x="1704974" y="6522535"/>
            <a:ext cx="4114800" cy="229870"/>
          </a:xfrm>
          <a:prstGeom prst="rect">
            <a:avLst/>
          </a:prstGeom>
        </p:spPr>
        <p:txBody>
          <a:bodyPr vert="horz" lIns="91440" tIns="45720" rIns="91440" bIns="45720" rtlCol="0" anchor="ctr"/>
          <a:lstStyle>
            <a:lvl1pPr marL="0" algn="l" defTabSz="914363" rtl="0" eaLnBrk="1" latinLnBrk="0" hangingPunct="1">
              <a:defRPr lang="en-US" sz="800" kern="1200" smtClean="0">
                <a:solidFill>
                  <a:schemeClr val="tx2"/>
                </a:solidFill>
                <a:latin typeface="+mn-lt"/>
                <a:ea typeface="+mn-ea"/>
                <a:cs typeface="+mn-cs"/>
              </a:defRPr>
            </a:lvl1pPr>
          </a:lstStyle>
          <a:p>
            <a:endParaRPr lang="en-US"/>
          </a:p>
        </p:txBody>
      </p:sp>
      <p:sp>
        <p:nvSpPr>
          <p:cNvPr id="5" name="Date Placeholder 3">
            <a:extLst>
              <a:ext uri="{FF2B5EF4-FFF2-40B4-BE49-F238E27FC236}">
                <a16:creationId xmlns:a16="http://schemas.microsoft.com/office/drawing/2014/main" id="{786F1958-BBE5-A4E1-48F2-E51A8C16535B}"/>
              </a:ext>
            </a:extLst>
          </p:cNvPr>
          <p:cNvSpPr>
            <a:spLocks noGrp="1"/>
          </p:cNvSpPr>
          <p:nvPr>
            <p:ph type="dt" sz="half" idx="2"/>
          </p:nvPr>
        </p:nvSpPr>
        <p:spPr>
          <a:xfrm>
            <a:off x="830580" y="6521136"/>
            <a:ext cx="695326" cy="232668"/>
          </a:xfrm>
          <a:prstGeom prst="rect">
            <a:avLst/>
          </a:prstGeom>
        </p:spPr>
        <p:txBody>
          <a:bodyPr anchor="ctr"/>
          <a:lstStyle>
            <a:lvl1pPr>
              <a:defRPr sz="800">
                <a:solidFill>
                  <a:schemeClr val="tx1"/>
                </a:solidFill>
                <a:latin typeface="+mn-lt"/>
              </a:defRPr>
            </a:lvl1pPr>
          </a:lstStyle>
          <a:p>
            <a:fld id="{00983264-BACB-4558-8B59-6B0346B75F5C}" type="datetimeFigureOut">
              <a:rPr lang="en-US" smtClean="0"/>
              <a:t>5/25/2026</a:t>
            </a:fld>
            <a:endParaRPr lang="en-US"/>
          </a:p>
        </p:txBody>
      </p:sp>
    </p:spTree>
    <p:extLst>
      <p:ext uri="{BB962C8B-B14F-4D97-AF65-F5344CB8AC3E}">
        <p14:creationId xmlns:p14="http://schemas.microsoft.com/office/powerpoint/2010/main" val="126075071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82F822B-A3D6-9DB3-FE62-4FDDAD9C94D1}"/>
              </a:ext>
            </a:extLst>
          </p:cNvPr>
          <p:cNvSpPr>
            <a:spLocks noGrp="1"/>
          </p:cNvSpPr>
          <p:nvPr>
            <p:ph type="ftr" sz="quarter" idx="3"/>
          </p:nvPr>
        </p:nvSpPr>
        <p:spPr>
          <a:xfrm>
            <a:off x="1704974" y="6522535"/>
            <a:ext cx="4114800" cy="229870"/>
          </a:xfrm>
          <a:prstGeom prst="rect">
            <a:avLst/>
          </a:prstGeom>
        </p:spPr>
        <p:txBody>
          <a:bodyPr vert="horz" lIns="91440" tIns="45720" rIns="91440" bIns="45720" rtlCol="0" anchor="ctr"/>
          <a:lstStyle>
            <a:lvl1pPr marL="0" algn="l" defTabSz="914363" rtl="0" eaLnBrk="1" latinLnBrk="0" hangingPunct="1">
              <a:defRPr lang="en-US" sz="800" kern="1200" smtClean="0">
                <a:solidFill>
                  <a:schemeClr val="tx2"/>
                </a:solidFill>
                <a:latin typeface="+mn-lt"/>
                <a:ea typeface="+mn-ea"/>
                <a:cs typeface="+mn-cs"/>
              </a:defRPr>
            </a:lvl1pPr>
          </a:lstStyle>
          <a:p>
            <a:endParaRPr lang="en-US"/>
          </a:p>
        </p:txBody>
      </p:sp>
      <p:sp>
        <p:nvSpPr>
          <p:cNvPr id="5" name="Date Placeholder 3">
            <a:extLst>
              <a:ext uri="{FF2B5EF4-FFF2-40B4-BE49-F238E27FC236}">
                <a16:creationId xmlns:a16="http://schemas.microsoft.com/office/drawing/2014/main" id="{786F1958-BBE5-A4E1-48F2-E51A8C16535B}"/>
              </a:ext>
            </a:extLst>
          </p:cNvPr>
          <p:cNvSpPr>
            <a:spLocks noGrp="1"/>
          </p:cNvSpPr>
          <p:nvPr>
            <p:ph type="dt" sz="half" idx="2"/>
          </p:nvPr>
        </p:nvSpPr>
        <p:spPr>
          <a:xfrm>
            <a:off x="830580" y="6521136"/>
            <a:ext cx="695326" cy="232668"/>
          </a:xfrm>
          <a:prstGeom prst="rect">
            <a:avLst/>
          </a:prstGeom>
        </p:spPr>
        <p:txBody>
          <a:bodyPr anchor="ctr"/>
          <a:lstStyle>
            <a:lvl1pPr>
              <a:defRPr sz="800">
                <a:solidFill>
                  <a:schemeClr val="tx1"/>
                </a:solidFill>
                <a:latin typeface="+mn-lt"/>
              </a:defRPr>
            </a:lvl1pPr>
          </a:lstStyle>
          <a:p>
            <a:fld id="{00983264-BACB-4558-8B59-6B0346B75F5C}" type="datetimeFigureOut">
              <a:rPr lang="en-US" smtClean="0"/>
              <a:t>5/25/2026</a:t>
            </a:fld>
            <a:endParaRPr lang="en-US"/>
          </a:p>
        </p:txBody>
      </p:sp>
    </p:spTree>
    <p:extLst>
      <p:ext uri="{BB962C8B-B14F-4D97-AF65-F5344CB8AC3E}">
        <p14:creationId xmlns:p14="http://schemas.microsoft.com/office/powerpoint/2010/main" val="3684336702"/>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5.jpg"/><Relationship Id="rId7" Type="http://schemas.microsoft.com/office/2007/relationships/hdphoto" Target="../media/hdphoto4.wdp"/><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hyperlink" Target="https://twitter.com/birlasoft" TargetMode="External"/><Relationship Id="rId3" Type="http://schemas.openxmlformats.org/officeDocument/2006/relationships/image" Target="../media/image57.jpg"/><Relationship Id="rId7" Type="http://schemas.openxmlformats.org/officeDocument/2006/relationships/hyperlink" Target="https://www.glassdoor.co.in/Overview/Working-at-Birlasoft-EI_IE30748.11,20.htm" TargetMode="External"/><Relationship Id="rId12" Type="http://schemas.openxmlformats.org/officeDocument/2006/relationships/image" Target="../media/image61.svg"/><Relationship Id="rId17" Type="http://schemas.openxmlformats.org/officeDocument/2006/relationships/image" Target="../media/image28.png"/><Relationship Id="rId2" Type="http://schemas.openxmlformats.org/officeDocument/2006/relationships/notesSlide" Target="../notesSlides/notesSlide10.xml"/><Relationship Id="rId16"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58.svg"/><Relationship Id="rId11" Type="http://schemas.openxmlformats.org/officeDocument/2006/relationships/hyperlink" Target="https://www.youtube.com/user/BirlasoftGlobal" TargetMode="External"/><Relationship Id="rId5" Type="http://schemas.openxmlformats.org/officeDocument/2006/relationships/hyperlink" Target="https://www.linkedin.com/company/birlasoft" TargetMode="External"/><Relationship Id="rId15" Type="http://schemas.openxmlformats.org/officeDocument/2006/relationships/image" Target="../media/image4.svg"/><Relationship Id="rId10" Type="http://schemas.openxmlformats.org/officeDocument/2006/relationships/image" Target="../media/image60.svg"/><Relationship Id="rId4" Type="http://schemas.openxmlformats.org/officeDocument/2006/relationships/hyperlink" Target="https://www.birlasoft.com/" TargetMode="External"/><Relationship Id="rId9" Type="http://schemas.openxmlformats.org/officeDocument/2006/relationships/hyperlink" Target="https://www.facebook.com/Birlasoft" TargetMode="External"/><Relationship Id="rId14" Type="http://schemas.openxmlformats.org/officeDocument/2006/relationships/image" Target="../media/image62.svg"/></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52.jpeg"/><Relationship Id="rId26" Type="http://schemas.openxmlformats.org/officeDocument/2006/relationships/image" Target="../media/image84.png"/><Relationship Id="rId3" Type="http://schemas.openxmlformats.org/officeDocument/2006/relationships/image" Target="../media/image63.png"/><Relationship Id="rId21" Type="http://schemas.openxmlformats.org/officeDocument/2006/relationships/image" Target="../media/image79.png"/><Relationship Id="rId7" Type="http://schemas.openxmlformats.org/officeDocument/2006/relationships/image" Target="../media/image67.svg"/><Relationship Id="rId12" Type="http://schemas.openxmlformats.org/officeDocument/2006/relationships/image" Target="../media/image72.jpeg"/><Relationship Id="rId17" Type="http://schemas.openxmlformats.org/officeDocument/2006/relationships/image" Target="../media/image76.svg"/><Relationship Id="rId25" Type="http://schemas.openxmlformats.org/officeDocument/2006/relationships/image" Target="../media/image83.png"/><Relationship Id="rId2" Type="http://schemas.openxmlformats.org/officeDocument/2006/relationships/notesSlide" Target="../notesSlides/notesSlide11.xml"/><Relationship Id="rId16" Type="http://schemas.openxmlformats.org/officeDocument/2006/relationships/image" Target="../media/image75.png"/><Relationship Id="rId20" Type="http://schemas.openxmlformats.org/officeDocument/2006/relationships/image" Target="../media/image78.png"/><Relationship Id="rId1" Type="http://schemas.openxmlformats.org/officeDocument/2006/relationships/slideLayout" Target="../slideLayouts/slideLayout4.xml"/><Relationship Id="rId6" Type="http://schemas.openxmlformats.org/officeDocument/2006/relationships/image" Target="../media/image66.svg"/><Relationship Id="rId11" Type="http://schemas.openxmlformats.org/officeDocument/2006/relationships/image" Target="../media/image71.png"/><Relationship Id="rId24" Type="http://schemas.openxmlformats.org/officeDocument/2006/relationships/image" Target="../media/image82.png"/><Relationship Id="rId5" Type="http://schemas.openxmlformats.org/officeDocument/2006/relationships/image" Target="../media/image65.svg"/><Relationship Id="rId15" Type="http://schemas.openxmlformats.org/officeDocument/2006/relationships/image" Target="../media/image74.png"/><Relationship Id="rId23" Type="http://schemas.openxmlformats.org/officeDocument/2006/relationships/image" Target="../media/image81.png"/><Relationship Id="rId28" Type="http://schemas.openxmlformats.org/officeDocument/2006/relationships/image" Target="../media/image86.png"/><Relationship Id="rId10" Type="http://schemas.openxmlformats.org/officeDocument/2006/relationships/image" Target="../media/image70.png"/><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37.png"/><Relationship Id="rId22" Type="http://schemas.openxmlformats.org/officeDocument/2006/relationships/image" Target="../media/image80.png"/><Relationship Id="rId27" Type="http://schemas.openxmlformats.org/officeDocument/2006/relationships/image" Target="../media/image8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45.png"/><Relationship Id="rId3" Type="http://schemas.openxmlformats.org/officeDocument/2006/relationships/image" Target="../media/image30.svg"/><Relationship Id="rId21" Type="http://schemas.openxmlformats.org/officeDocument/2006/relationships/image" Target="../media/image47.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notesSlide" Target="../notesSlides/notesSlide3.xml"/><Relationship Id="rId16" Type="http://schemas.openxmlformats.org/officeDocument/2006/relationships/image" Target="../media/image43.svg"/><Relationship Id="rId20"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19" Type="http://schemas.microsoft.com/office/2007/relationships/hdphoto" Target="../media/hdphoto5.wdp"/><Relationship Id="rId4" Type="http://schemas.openxmlformats.org/officeDocument/2006/relationships/image" Target="../media/image31.svg"/><Relationship Id="rId9" Type="http://schemas.openxmlformats.org/officeDocument/2006/relationships/image" Target="../media/image36.svg"/><Relationship Id="rId14" Type="http://schemas.openxmlformats.org/officeDocument/2006/relationships/image" Target="../media/image41.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5.svg"/><Relationship Id="rId3" Type="http://schemas.openxmlformats.org/officeDocument/2006/relationships/image" Target="../media/image48.svg"/><Relationship Id="rId7" Type="http://schemas.microsoft.com/office/2007/relationships/hdphoto" Target="../media/hdphoto7.wdp"/><Relationship Id="rId12"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50.png"/><Relationship Id="rId11" Type="http://schemas.openxmlformats.org/officeDocument/2006/relationships/image" Target="../media/image53.png"/><Relationship Id="rId5" Type="http://schemas.microsoft.com/office/2007/relationships/hdphoto" Target="../media/hdphoto6.wdp"/><Relationship Id="rId10" Type="http://schemas.openxmlformats.org/officeDocument/2006/relationships/image" Target="../media/image52.jpeg"/><Relationship Id="rId4" Type="http://schemas.openxmlformats.org/officeDocument/2006/relationships/image" Target="../media/image49.png"/><Relationship Id="rId9" Type="http://schemas.microsoft.com/office/2007/relationships/hdphoto" Target="../media/hdphoto8.wdp"/></Relationships>
</file>

<file path=ppt/slides/_rels/slide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AAD3E-5C4C-621C-AEA2-9136437110D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3720297-0E30-01A4-C00F-D0C05EFD7F36}"/>
              </a:ext>
            </a:extLst>
          </p:cNvPr>
          <p:cNvPicPr>
            <a:picLocks noChangeAspect="1"/>
          </p:cNvPicPr>
          <p:nvPr/>
        </p:nvPicPr>
        <p:blipFill>
          <a:blip r:embed="rId3"/>
          <a:srcRect/>
          <a:stretch/>
        </p:blipFill>
        <p:spPr>
          <a:xfrm>
            <a:off x="0" y="5753"/>
            <a:ext cx="12192000" cy="6858000"/>
          </a:xfrm>
          <a:prstGeom prst="rect">
            <a:avLst/>
          </a:prstGeom>
        </p:spPr>
      </p:pic>
      <p:sp>
        <p:nvSpPr>
          <p:cNvPr id="8" name="Rectangle 7">
            <a:extLst>
              <a:ext uri="{FF2B5EF4-FFF2-40B4-BE49-F238E27FC236}">
                <a16:creationId xmlns:a16="http://schemas.microsoft.com/office/drawing/2014/main" id="{7704467B-722C-9954-D37E-B96EEEF4DD5E}"/>
              </a:ext>
            </a:extLst>
          </p:cNvPr>
          <p:cNvSpPr/>
          <p:nvPr/>
        </p:nvSpPr>
        <p:spPr>
          <a:xfrm>
            <a:off x="0" y="-19749"/>
            <a:ext cx="12192000" cy="1880911"/>
          </a:xfrm>
          <a:prstGeom prst="rect">
            <a:avLst/>
          </a:prstGeom>
          <a:gradFill flip="none" rotWithShape="1">
            <a:gsLst>
              <a:gs pos="0">
                <a:schemeClr val="bg1"/>
              </a:gs>
              <a:gs pos="50000">
                <a:schemeClr val="bg1">
                  <a:alpha val="50000"/>
                </a:schemeClr>
              </a:gs>
              <a:gs pos="100000">
                <a:schemeClr val="bg1">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ooter Placeholder 6">
            <a:extLst>
              <a:ext uri="{FF2B5EF4-FFF2-40B4-BE49-F238E27FC236}">
                <a16:creationId xmlns:a16="http://schemas.microsoft.com/office/drawing/2014/main" id="{60B1D69C-406E-A003-0587-A28056F8562B}"/>
              </a:ext>
            </a:extLst>
          </p:cNvPr>
          <p:cNvSpPr txBox="1">
            <a:spLocks/>
          </p:cNvSpPr>
          <p:nvPr/>
        </p:nvSpPr>
        <p:spPr>
          <a:xfrm>
            <a:off x="611475" y="6011746"/>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IN" sz="7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Open Sans" panose="020B0606030504020204" pitchFamily="34" charset="0"/>
                <a:cs typeface="Calibri" panose="020F0502020204030204" pitchFamily="34" charset="0"/>
              </a:rPr>
              <a:t>© 2026 Birlasoft</a:t>
            </a:r>
          </a:p>
        </p:txBody>
      </p:sp>
      <p:sp>
        <p:nvSpPr>
          <p:cNvPr id="10" name="Title 7">
            <a:extLst>
              <a:ext uri="{FF2B5EF4-FFF2-40B4-BE49-F238E27FC236}">
                <a16:creationId xmlns:a16="http://schemas.microsoft.com/office/drawing/2014/main" id="{5BC44F79-276B-E9AD-826B-72965B4FA3BA}"/>
              </a:ext>
            </a:extLst>
          </p:cNvPr>
          <p:cNvSpPr txBox="1">
            <a:spLocks/>
          </p:cNvSpPr>
          <p:nvPr/>
        </p:nvSpPr>
        <p:spPr>
          <a:xfrm>
            <a:off x="473779" y="1599682"/>
            <a:ext cx="5448555" cy="2104570"/>
          </a:xfrm>
          <a:prstGeom prst="rect">
            <a:avLst/>
          </a:prstGeom>
          <a:effectLst/>
        </p:spPr>
        <p:txBody>
          <a:bodyP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lvl="0">
              <a:lnSpc>
                <a:spcPct val="100000"/>
              </a:lnSpc>
              <a:defRPr/>
            </a:pPr>
            <a:r>
              <a:rPr lang="en-US" sz="5200" b="1" dirty="0">
                <a:solidFill>
                  <a:srgbClr val="F2F2F2">
                    <a:lumMod val="25000"/>
                  </a:srgbClr>
                </a:solidFill>
                <a:ea typeface="Open Sans" panose="020B0606030504020204" pitchFamily="34" charset="0"/>
              </a:rPr>
              <a:t>Birlasoft Guidewire Testing Capabilities </a:t>
            </a:r>
          </a:p>
        </p:txBody>
      </p:sp>
      <p:cxnSp>
        <p:nvCxnSpPr>
          <p:cNvPr id="2" name="Straight Connector 1">
            <a:extLst>
              <a:ext uri="{FF2B5EF4-FFF2-40B4-BE49-F238E27FC236}">
                <a16:creationId xmlns:a16="http://schemas.microsoft.com/office/drawing/2014/main" id="{6DEB4D11-0B93-B8CE-9DF8-A5806F6AC265}"/>
              </a:ext>
            </a:extLst>
          </p:cNvPr>
          <p:cNvCxnSpPr>
            <a:cxnSpLocks/>
          </p:cNvCxnSpPr>
          <p:nvPr/>
        </p:nvCxnSpPr>
        <p:spPr>
          <a:xfrm>
            <a:off x="0" y="4110203"/>
            <a:ext cx="2338939" cy="0"/>
          </a:xfrm>
          <a:prstGeom prst="line">
            <a:avLst/>
          </a:prstGeom>
          <a:ln w="6350"/>
        </p:spPr>
        <p:style>
          <a:lnRef idx="1">
            <a:schemeClr val="accent2"/>
          </a:lnRef>
          <a:fillRef idx="0">
            <a:schemeClr val="accent2"/>
          </a:fillRef>
          <a:effectRef idx="0">
            <a:schemeClr val="accent2"/>
          </a:effectRef>
          <a:fontRef idx="minor">
            <a:schemeClr val="tx1"/>
          </a:fontRef>
        </p:style>
      </p:cxnSp>
      <p:grpSp>
        <p:nvGrpSpPr>
          <p:cNvPr id="9" name="Group 8">
            <a:extLst>
              <a:ext uri="{FF2B5EF4-FFF2-40B4-BE49-F238E27FC236}">
                <a16:creationId xmlns:a16="http://schemas.microsoft.com/office/drawing/2014/main" id="{C10C2937-7E2D-9B69-B194-303474F6E038}"/>
              </a:ext>
            </a:extLst>
          </p:cNvPr>
          <p:cNvGrpSpPr/>
          <p:nvPr/>
        </p:nvGrpSpPr>
        <p:grpSpPr>
          <a:xfrm>
            <a:off x="440649" y="229871"/>
            <a:ext cx="11319486" cy="910527"/>
            <a:chOff x="440649" y="229871"/>
            <a:chExt cx="11319486" cy="910527"/>
          </a:xfrm>
        </p:grpSpPr>
        <p:pic>
          <p:nvPicPr>
            <p:cNvPr id="12" name="Graphic 11">
              <a:extLst>
                <a:ext uri="{FF2B5EF4-FFF2-40B4-BE49-F238E27FC236}">
                  <a16:creationId xmlns:a16="http://schemas.microsoft.com/office/drawing/2014/main" id="{3FD9DB9E-8964-14AA-6CB2-3B35847349B6}"/>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0649" y="229871"/>
              <a:ext cx="1994488" cy="910527"/>
            </a:xfrm>
            <a:prstGeom prst="rect">
              <a:avLst/>
            </a:prstGeom>
          </p:spPr>
        </p:pic>
        <p:pic>
          <p:nvPicPr>
            <p:cNvPr id="14" name="Picture 13">
              <a:extLst>
                <a:ext uri="{FF2B5EF4-FFF2-40B4-BE49-F238E27FC236}">
                  <a16:creationId xmlns:a16="http://schemas.microsoft.com/office/drawing/2014/main" id="{A4789C49-F5BE-8B76-F20D-E2AB77DC700A}"/>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9410892" y="384313"/>
              <a:ext cx="2349243" cy="636103"/>
            </a:xfrm>
            <a:prstGeom prst="rect">
              <a:avLst/>
            </a:prstGeom>
          </p:spPr>
        </p:pic>
      </p:grpSp>
      <p:pic>
        <p:nvPicPr>
          <p:cNvPr id="5" name="Picture 4" descr="Shape, arrow&#10;&#10;Description automatically generated">
            <a:extLst>
              <a:ext uri="{FF2B5EF4-FFF2-40B4-BE49-F238E27FC236}">
                <a16:creationId xmlns:a16="http://schemas.microsoft.com/office/drawing/2014/main" id="{713BB5C6-1B95-F493-00B4-52A94961266A}"/>
              </a:ext>
            </a:extLst>
          </p:cNvPr>
          <p:cNvPicPr>
            <a:picLocks noChangeAspect="1"/>
          </p:cNvPicPr>
          <p:nvPr/>
        </p:nvPicPr>
        <p:blipFill>
          <a:blip r:embed="rId6" cstate="email">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a:ext>
            </a:extLst>
          </a:blip>
          <a:stretch>
            <a:fillRect/>
          </a:stretch>
        </p:blipFill>
        <p:spPr>
          <a:xfrm rot="3127538">
            <a:off x="2274586" y="3871726"/>
            <a:ext cx="538522" cy="500089"/>
          </a:xfrm>
          <a:prstGeom prst="rect">
            <a:avLst/>
          </a:prstGeom>
          <a:effectLst>
            <a:outerShdw blurRad="558800" dist="241300" dir="6000000" sx="97000" sy="97000" algn="ctr" rotWithShape="0">
              <a:srgbClr val="000000">
                <a:alpha val="73000"/>
              </a:srgbClr>
            </a:outerShdw>
          </a:effectLst>
        </p:spPr>
      </p:pic>
      <p:grpSp>
        <p:nvGrpSpPr>
          <p:cNvPr id="17" name="Group 16">
            <a:extLst>
              <a:ext uri="{FF2B5EF4-FFF2-40B4-BE49-F238E27FC236}">
                <a16:creationId xmlns:a16="http://schemas.microsoft.com/office/drawing/2014/main" id="{ED268C48-6C07-7F56-F151-03242603EEC2}"/>
              </a:ext>
            </a:extLst>
          </p:cNvPr>
          <p:cNvGrpSpPr/>
          <p:nvPr/>
        </p:nvGrpSpPr>
        <p:grpSpPr>
          <a:xfrm>
            <a:off x="7862988" y="1707486"/>
            <a:ext cx="2921307" cy="1902712"/>
            <a:chOff x="7544522" y="1398976"/>
            <a:chExt cx="2921307" cy="1902712"/>
          </a:xfrm>
        </p:grpSpPr>
        <p:sp>
          <p:nvSpPr>
            <p:cNvPr id="6" name="Title 3">
              <a:extLst>
                <a:ext uri="{FF2B5EF4-FFF2-40B4-BE49-F238E27FC236}">
                  <a16:creationId xmlns:a16="http://schemas.microsoft.com/office/drawing/2014/main" id="{0F136B36-C286-7E53-72B8-6C32CD06D031}"/>
                </a:ext>
              </a:extLst>
            </p:cNvPr>
            <p:cNvSpPr txBox="1">
              <a:spLocks/>
            </p:cNvSpPr>
            <p:nvPr/>
          </p:nvSpPr>
          <p:spPr>
            <a:xfrm>
              <a:off x="7544522" y="1713270"/>
              <a:ext cx="2643012" cy="790806"/>
            </a:xfrm>
            <a:prstGeom prst="rect">
              <a:avLst/>
            </a:prstGeom>
          </p:spPr>
          <p:txBody>
            <a:bodyPr vert="horz" lIns="91440" tIns="45720" rIns="91440" bIns="45720" rtlCol="0" anchor="t">
              <a:norm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sz="3800" dirty="0">
                  <a:solidFill>
                    <a:srgbClr val="FF0000"/>
                  </a:solidFill>
                </a:rPr>
                <a:t>Change.</a:t>
              </a:r>
            </a:p>
          </p:txBody>
        </p:sp>
        <p:sp>
          <p:nvSpPr>
            <p:cNvPr id="13" name="Title 3">
              <a:extLst>
                <a:ext uri="{FF2B5EF4-FFF2-40B4-BE49-F238E27FC236}">
                  <a16:creationId xmlns:a16="http://schemas.microsoft.com/office/drawing/2014/main" id="{A86B9355-1CA3-B397-C0CA-E9B87C01230D}"/>
                </a:ext>
              </a:extLst>
            </p:cNvPr>
            <p:cNvSpPr txBox="1">
              <a:spLocks/>
            </p:cNvSpPr>
            <p:nvPr/>
          </p:nvSpPr>
          <p:spPr>
            <a:xfrm>
              <a:off x="7544522" y="1398976"/>
              <a:ext cx="1934018" cy="560232"/>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chemeClr val="tx1">
                      <a:lumMod val="75000"/>
                      <a:lumOff val="25000"/>
                    </a:schemeClr>
                  </a:solidFill>
                </a:rPr>
                <a:t>Navigating</a:t>
              </a:r>
            </a:p>
          </p:txBody>
        </p:sp>
        <p:sp>
          <p:nvSpPr>
            <p:cNvPr id="15" name="Title 3">
              <a:extLst>
                <a:ext uri="{FF2B5EF4-FFF2-40B4-BE49-F238E27FC236}">
                  <a16:creationId xmlns:a16="http://schemas.microsoft.com/office/drawing/2014/main" id="{13F7CCCA-F7B1-5A47-5A41-C739B51D93F4}"/>
                </a:ext>
              </a:extLst>
            </p:cNvPr>
            <p:cNvSpPr txBox="1">
              <a:spLocks/>
            </p:cNvSpPr>
            <p:nvPr/>
          </p:nvSpPr>
          <p:spPr>
            <a:xfrm>
              <a:off x="7544522" y="2510882"/>
              <a:ext cx="2921307" cy="790806"/>
            </a:xfrm>
            <a:prstGeom prst="rect">
              <a:avLst/>
            </a:prstGeom>
          </p:spPr>
          <p:txBody>
            <a:bodyPr vert="horz" lIns="91440" tIns="45720" rIns="91440" bIns="45720" rtlCol="0" anchor="t">
              <a:no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sz="3800" dirty="0">
                  <a:solidFill>
                    <a:srgbClr val="FF0000"/>
                  </a:solidFill>
                </a:rPr>
                <a:t>Progress.</a:t>
              </a:r>
            </a:p>
          </p:txBody>
        </p:sp>
        <p:sp>
          <p:nvSpPr>
            <p:cNvPr id="16" name="Title 3">
              <a:extLst>
                <a:ext uri="{FF2B5EF4-FFF2-40B4-BE49-F238E27FC236}">
                  <a16:creationId xmlns:a16="http://schemas.microsoft.com/office/drawing/2014/main" id="{0F21209C-599A-96EA-B299-C6790BFEE660}"/>
                </a:ext>
              </a:extLst>
            </p:cNvPr>
            <p:cNvSpPr txBox="1">
              <a:spLocks/>
            </p:cNvSpPr>
            <p:nvPr/>
          </p:nvSpPr>
          <p:spPr>
            <a:xfrm>
              <a:off x="7544522" y="2208724"/>
              <a:ext cx="1934018" cy="560232"/>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chemeClr val="tx1">
                      <a:lumMod val="75000"/>
                      <a:lumOff val="25000"/>
                    </a:schemeClr>
                  </a:solidFill>
                </a:rPr>
                <a:t>Powering</a:t>
              </a:r>
            </a:p>
          </p:txBody>
        </p:sp>
      </p:grpSp>
      <p:pic>
        <p:nvPicPr>
          <p:cNvPr id="4" name="Picture 3">
            <a:extLst>
              <a:ext uri="{FF2B5EF4-FFF2-40B4-BE49-F238E27FC236}">
                <a16:creationId xmlns:a16="http://schemas.microsoft.com/office/drawing/2014/main" id="{0FEE9955-90F9-0EBD-0570-DEF2D0692CB1}"/>
              </a:ext>
            </a:extLst>
          </p:cNvPr>
          <p:cNvPicPr>
            <a:picLocks noChangeAspect="1"/>
          </p:cNvPicPr>
          <p:nvPr/>
        </p:nvPicPr>
        <p:blipFill>
          <a:blip r:embed="rId8"/>
          <a:srcRect l="13181" t="32477" r="58307" b="243"/>
          <a:stretch>
            <a:fillRect/>
          </a:stretch>
        </p:blipFill>
        <p:spPr>
          <a:xfrm>
            <a:off x="4741765" y="1384851"/>
            <a:ext cx="3482948" cy="5479775"/>
          </a:xfrm>
          <a:prstGeom prst="rect">
            <a:avLst/>
          </a:prstGeom>
        </p:spPr>
      </p:pic>
    </p:spTree>
    <p:extLst>
      <p:ext uri="{BB962C8B-B14F-4D97-AF65-F5344CB8AC3E}">
        <p14:creationId xmlns:p14="http://schemas.microsoft.com/office/powerpoint/2010/main" val="2182521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60424-F654-BEEB-E3BB-A6FCE7CEBA7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6248F35-FBE1-5ED4-947A-611BE0B78457}"/>
              </a:ext>
            </a:extLst>
          </p:cNvPr>
          <p:cNvPicPr>
            <a:picLocks noChangeAspect="1"/>
          </p:cNvPicPr>
          <p:nvPr/>
        </p:nvPicPr>
        <p:blipFill>
          <a:blip r:embed="rId3"/>
          <a:srcRect t="3516" b="3516"/>
          <a:stretch/>
        </p:blipFill>
        <p:spPr>
          <a:xfrm>
            <a:off x="0" y="0"/>
            <a:ext cx="12192000" cy="6375748"/>
          </a:xfrm>
          <a:prstGeom prst="rect">
            <a:avLst/>
          </a:prstGeom>
        </p:spPr>
      </p:pic>
      <p:sp>
        <p:nvSpPr>
          <p:cNvPr id="4" name="Rectangle 3">
            <a:extLst>
              <a:ext uri="{FF2B5EF4-FFF2-40B4-BE49-F238E27FC236}">
                <a16:creationId xmlns:a16="http://schemas.microsoft.com/office/drawing/2014/main" id="{21100E21-92ED-F27E-813E-FC2E980673C5}"/>
              </a:ext>
            </a:extLst>
          </p:cNvPr>
          <p:cNvSpPr/>
          <p:nvPr/>
        </p:nvSpPr>
        <p:spPr>
          <a:xfrm>
            <a:off x="0" y="-1"/>
            <a:ext cx="12192000" cy="3361775"/>
          </a:xfrm>
          <a:prstGeom prst="rect">
            <a:avLst/>
          </a:prstGeom>
          <a:gradFill flip="none" rotWithShape="1">
            <a:gsLst>
              <a:gs pos="0">
                <a:schemeClr val="bg1"/>
              </a:gs>
              <a:gs pos="50000">
                <a:schemeClr val="bg1">
                  <a:alpha val="50000"/>
                </a:schemeClr>
              </a:gs>
              <a:gs pos="100000">
                <a:schemeClr val="bg1">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AF019AC6-3467-63D3-CEE4-CD8BC4CE7A63}"/>
              </a:ext>
            </a:extLst>
          </p:cNvPr>
          <p:cNvSpPr/>
          <p:nvPr/>
        </p:nvSpPr>
        <p:spPr>
          <a:xfrm rot="16200000">
            <a:off x="-279847" y="279888"/>
            <a:ext cx="6375708" cy="5816011"/>
          </a:xfrm>
          <a:prstGeom prst="rect">
            <a:avLst/>
          </a:prstGeom>
          <a:gradFill flip="none" rotWithShape="1">
            <a:gsLst>
              <a:gs pos="7000">
                <a:schemeClr val="bg1"/>
              </a:gs>
              <a:gs pos="50000">
                <a:schemeClr val="bg1">
                  <a:alpha val="62000"/>
                </a:schemeClr>
              </a:gs>
              <a:gs pos="100000">
                <a:schemeClr val="bg1">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Footer Placeholder 6">
            <a:extLst>
              <a:ext uri="{FF2B5EF4-FFF2-40B4-BE49-F238E27FC236}">
                <a16:creationId xmlns:a16="http://schemas.microsoft.com/office/drawing/2014/main" id="{2D4DC8DC-6E9B-2343-8C98-889173A63DCA}"/>
              </a:ext>
            </a:extLst>
          </p:cNvPr>
          <p:cNvSpPr txBox="1">
            <a:spLocks/>
          </p:cNvSpPr>
          <p:nvPr/>
        </p:nvSpPr>
        <p:spPr>
          <a:xfrm>
            <a:off x="530791" y="6011746"/>
            <a:ext cx="1000718" cy="229870"/>
          </a:xfrm>
          <a:prstGeom prst="rect">
            <a:avLst/>
          </a:prstGeom>
        </p:spPr>
        <p:txBody>
          <a:bodyPr vert="horz" lIns="91440" tIns="45720" rIns="91440" bIns="45720" rtlCol="0" anchor="ctr"/>
          <a:lstStyle>
            <a:defPPr>
              <a:defRPr lang="en-US"/>
            </a:defPPr>
            <a:lvl1pPr marL="0" algn="l" defTabSz="914363" rtl="0" eaLnBrk="1" latinLnBrk="0" hangingPunct="1">
              <a:defRPr lang="en-US" sz="800" kern="1200" smtClean="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IN" sz="7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Open Sans" panose="020B0606030504020204" pitchFamily="34" charset="0"/>
                <a:cs typeface="Calibri" panose="020F0502020204030204" pitchFamily="34" charset="0"/>
              </a:rPr>
              <a:t>© 2026 Birlasoft</a:t>
            </a:r>
          </a:p>
        </p:txBody>
      </p:sp>
      <p:sp>
        <p:nvSpPr>
          <p:cNvPr id="11" name="Text Placeholder 4">
            <a:extLst>
              <a:ext uri="{FF2B5EF4-FFF2-40B4-BE49-F238E27FC236}">
                <a16:creationId xmlns:a16="http://schemas.microsoft.com/office/drawing/2014/main" id="{AAA42F3E-8915-C08A-86CA-3E9A832605D6}"/>
              </a:ext>
            </a:extLst>
          </p:cNvPr>
          <p:cNvSpPr txBox="1">
            <a:spLocks/>
          </p:cNvSpPr>
          <p:nvPr/>
        </p:nvSpPr>
        <p:spPr>
          <a:xfrm>
            <a:off x="535484" y="3886047"/>
            <a:ext cx="1600856" cy="229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N" sz="1800" b="1" i="0" u="none" strike="noStrike" kern="1200" cap="none" spc="60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Q1FY’2</a:t>
            </a:r>
            <a:r>
              <a:rPr lang="en-IN" sz="1800" b="1" spc="600" dirty="0">
                <a:solidFill>
                  <a:srgbClr val="FF0000"/>
                </a:solidFill>
                <a:latin typeface="Calibri" panose="020F0502020204030204" pitchFamily="34" charset="0"/>
                <a:ea typeface="Calibri" panose="020F0502020204030204" pitchFamily="34" charset="0"/>
                <a:cs typeface="Calibri" panose="020F0502020204030204" pitchFamily="34" charset="0"/>
              </a:rPr>
              <a:t>7</a:t>
            </a:r>
            <a:endParaRPr kumimoji="0" lang="en-IN" sz="1800" b="1" i="0" u="none" strike="noStrike" kern="1200" cap="none" spc="60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0" name="Title 7">
            <a:extLst>
              <a:ext uri="{FF2B5EF4-FFF2-40B4-BE49-F238E27FC236}">
                <a16:creationId xmlns:a16="http://schemas.microsoft.com/office/drawing/2014/main" id="{3DFE42AC-E797-6ACA-0606-92120B68AAD3}"/>
              </a:ext>
            </a:extLst>
          </p:cNvPr>
          <p:cNvSpPr txBox="1">
            <a:spLocks/>
          </p:cNvSpPr>
          <p:nvPr/>
        </p:nvSpPr>
        <p:spPr>
          <a:xfrm>
            <a:off x="473780" y="2641775"/>
            <a:ext cx="4866624" cy="1163074"/>
          </a:xfrm>
          <a:prstGeom prst="rect">
            <a:avLst/>
          </a:prstGeom>
          <a:effectLst/>
        </p:spPr>
        <p:txBody>
          <a:bodyP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0" marR="0" lvl="0" indent="0" algn="l" defTabSz="914400" rtl="0" eaLnBrk="1" fontAlgn="auto" latinLnBrk="0" hangingPunct="1">
              <a:lnSpc>
                <a:spcPts val="8200"/>
              </a:lnSpc>
              <a:spcBef>
                <a:spcPct val="0"/>
              </a:spcBef>
              <a:spcAft>
                <a:spcPts val="0"/>
              </a:spcAft>
              <a:buClrTx/>
              <a:buSzTx/>
              <a:buFontTx/>
              <a:buNone/>
              <a:tabLst/>
              <a:defRPr/>
            </a:pPr>
            <a:r>
              <a:rPr kumimoji="0" lang="en-US" sz="8000" b="1" i="0" u="none" strike="noStrike" kern="1200" cap="none" spc="0" normalizeH="0" baseline="0" noProof="0" dirty="0">
                <a:ln>
                  <a:noFill/>
                </a:ln>
                <a:solidFill>
                  <a:srgbClr val="F2F2F2">
                    <a:lumMod val="25000"/>
                  </a:srgbClr>
                </a:solidFill>
                <a:effectLst/>
                <a:uLnTx/>
                <a:uFillTx/>
                <a:latin typeface="Calibri"/>
                <a:ea typeface="Open Sans" panose="020B0606030504020204" pitchFamily="34" charset="0"/>
                <a:cs typeface="+mj-cs"/>
              </a:rPr>
              <a:t>Thank You </a:t>
            </a:r>
            <a:endParaRPr kumimoji="0" lang="en-IN" sz="8000" b="1" i="0" u="none" strike="noStrike" kern="1200" cap="none" spc="0" normalizeH="0" baseline="0" noProof="0" dirty="0">
              <a:ln>
                <a:noFill/>
              </a:ln>
              <a:solidFill>
                <a:srgbClr val="F2F2F2">
                  <a:lumMod val="25000"/>
                </a:srgbClr>
              </a:solidFill>
              <a:effectLst/>
              <a:uLnTx/>
              <a:uFillTx/>
              <a:latin typeface="Calibri"/>
              <a:ea typeface="Open Sans" panose="020B0606030504020204" pitchFamily="34" charset="0"/>
              <a:cs typeface="+mj-cs"/>
            </a:endParaRPr>
          </a:p>
        </p:txBody>
      </p:sp>
      <p:cxnSp>
        <p:nvCxnSpPr>
          <p:cNvPr id="2" name="Straight Connector 1">
            <a:extLst>
              <a:ext uri="{FF2B5EF4-FFF2-40B4-BE49-F238E27FC236}">
                <a16:creationId xmlns:a16="http://schemas.microsoft.com/office/drawing/2014/main" id="{4171414D-7AE1-CAB4-A44D-148510931507}"/>
              </a:ext>
            </a:extLst>
          </p:cNvPr>
          <p:cNvCxnSpPr/>
          <p:nvPr/>
        </p:nvCxnSpPr>
        <p:spPr>
          <a:xfrm>
            <a:off x="0" y="3876108"/>
            <a:ext cx="1987826" cy="0"/>
          </a:xfrm>
          <a:prstGeom prst="line">
            <a:avLst/>
          </a:prstGeom>
          <a:ln w="6350"/>
        </p:spPr>
        <p:style>
          <a:lnRef idx="1">
            <a:schemeClr val="accent2"/>
          </a:lnRef>
          <a:fillRef idx="0">
            <a:schemeClr val="accent2"/>
          </a:fillRef>
          <a:effectRef idx="0">
            <a:schemeClr val="accent2"/>
          </a:effectRef>
          <a:fontRef idx="minor">
            <a:schemeClr val="tx1"/>
          </a:fontRef>
        </p:style>
      </p:cxnSp>
      <p:sp>
        <p:nvSpPr>
          <p:cNvPr id="12" name="TextBox 11">
            <a:hlinkClick r:id="rId4"/>
            <a:extLst>
              <a:ext uri="{FF2B5EF4-FFF2-40B4-BE49-F238E27FC236}">
                <a16:creationId xmlns:a16="http://schemas.microsoft.com/office/drawing/2014/main" id="{EA29E93B-0FBF-851B-D3B4-C70A1FD1D0A5}"/>
              </a:ext>
            </a:extLst>
          </p:cNvPr>
          <p:cNvSpPr txBox="1"/>
          <p:nvPr/>
        </p:nvSpPr>
        <p:spPr>
          <a:xfrm>
            <a:off x="520940" y="4950448"/>
            <a:ext cx="1738947" cy="369332"/>
          </a:xfrm>
          <a:prstGeom prst="rect">
            <a:avLst/>
          </a:prstGeom>
          <a:noFill/>
        </p:spPr>
        <p:txBody>
          <a:bodyPr wrap="square" rtlCol="0">
            <a:spAutoFit/>
          </a:bodyPr>
          <a:lstStyle/>
          <a:p>
            <a:r>
              <a:rPr lang="en-US" b="1" i="0" dirty="0">
                <a:solidFill>
                  <a:schemeClr val="tx1">
                    <a:lumMod val="75000"/>
                    <a:lumOff val="25000"/>
                  </a:schemeClr>
                </a:solidFill>
                <a:latin typeface="+mj-lt"/>
              </a:rPr>
              <a:t>Birlasoft.com</a:t>
            </a:r>
          </a:p>
        </p:txBody>
      </p:sp>
      <p:grpSp>
        <p:nvGrpSpPr>
          <p:cNvPr id="41" name="Group 40">
            <a:extLst>
              <a:ext uri="{FF2B5EF4-FFF2-40B4-BE49-F238E27FC236}">
                <a16:creationId xmlns:a16="http://schemas.microsoft.com/office/drawing/2014/main" id="{7774550B-B9D8-730B-79F2-DAFF23B21458}"/>
              </a:ext>
            </a:extLst>
          </p:cNvPr>
          <p:cNvGrpSpPr/>
          <p:nvPr/>
        </p:nvGrpSpPr>
        <p:grpSpPr>
          <a:xfrm>
            <a:off x="626426" y="5428004"/>
            <a:ext cx="1642426" cy="226247"/>
            <a:chOff x="868475" y="5428004"/>
            <a:chExt cx="1862460" cy="256557"/>
          </a:xfrm>
        </p:grpSpPr>
        <p:grpSp>
          <p:nvGrpSpPr>
            <p:cNvPr id="40" name="Group 39">
              <a:extLst>
                <a:ext uri="{FF2B5EF4-FFF2-40B4-BE49-F238E27FC236}">
                  <a16:creationId xmlns:a16="http://schemas.microsoft.com/office/drawing/2014/main" id="{45CEF16D-64B3-F0C7-1C8D-4F3C3EE0C2C5}"/>
                </a:ext>
              </a:extLst>
            </p:cNvPr>
            <p:cNvGrpSpPr/>
            <p:nvPr/>
          </p:nvGrpSpPr>
          <p:grpSpPr>
            <a:xfrm>
              <a:off x="868475" y="5440083"/>
              <a:ext cx="244475" cy="244475"/>
              <a:chOff x="868475" y="5440083"/>
              <a:chExt cx="244475" cy="244475"/>
            </a:xfrm>
          </p:grpSpPr>
          <p:sp>
            <p:nvSpPr>
              <p:cNvPr id="8" name="Rectangle 7">
                <a:extLst>
                  <a:ext uri="{FF2B5EF4-FFF2-40B4-BE49-F238E27FC236}">
                    <a16:creationId xmlns:a16="http://schemas.microsoft.com/office/drawing/2014/main" id="{7431AE7B-531E-7B38-11A5-BD6F2B4D8B7C}"/>
                  </a:ext>
                </a:extLst>
              </p:cNvPr>
              <p:cNvSpPr/>
              <p:nvPr/>
            </p:nvSpPr>
            <p:spPr>
              <a:xfrm>
                <a:off x="868475" y="5440083"/>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hlinkClick r:id="rId5"/>
                <a:extLst>
                  <a:ext uri="{FF2B5EF4-FFF2-40B4-BE49-F238E27FC236}">
                    <a16:creationId xmlns:a16="http://schemas.microsoft.com/office/drawing/2014/main" id="{3441169C-0379-2CD1-D0FF-9143F71DD36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8475" y="5440083"/>
                <a:ext cx="244475" cy="244475"/>
              </a:xfrm>
              <a:prstGeom prst="rect">
                <a:avLst/>
              </a:prstGeom>
            </p:spPr>
          </p:pic>
        </p:grpSp>
        <p:grpSp>
          <p:nvGrpSpPr>
            <p:cNvPr id="36" name="Group 35">
              <a:extLst>
                <a:ext uri="{FF2B5EF4-FFF2-40B4-BE49-F238E27FC236}">
                  <a16:creationId xmlns:a16="http://schemas.microsoft.com/office/drawing/2014/main" id="{21DFE53C-1FA1-8AE3-1C75-02C64552ECC6}"/>
                </a:ext>
              </a:extLst>
            </p:cNvPr>
            <p:cNvGrpSpPr/>
            <p:nvPr/>
          </p:nvGrpSpPr>
          <p:grpSpPr>
            <a:xfrm>
              <a:off x="2486460" y="5440083"/>
              <a:ext cx="244475" cy="244477"/>
              <a:chOff x="2593380" y="5440083"/>
              <a:chExt cx="244475" cy="244477"/>
            </a:xfrm>
          </p:grpSpPr>
          <p:sp>
            <p:nvSpPr>
              <p:cNvPr id="21" name="Rectangle 20">
                <a:extLst>
                  <a:ext uri="{FF2B5EF4-FFF2-40B4-BE49-F238E27FC236}">
                    <a16:creationId xmlns:a16="http://schemas.microsoft.com/office/drawing/2014/main" id="{AFC8220E-7EA5-C876-E049-5C8E20182336}"/>
                  </a:ext>
                </a:extLst>
              </p:cNvPr>
              <p:cNvSpPr/>
              <p:nvPr/>
            </p:nvSpPr>
            <p:spPr>
              <a:xfrm>
                <a:off x="2593380" y="5440085"/>
                <a:ext cx="244475" cy="24447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hlinkClick r:id="rId7"/>
                <a:extLst>
                  <a:ext uri="{FF2B5EF4-FFF2-40B4-BE49-F238E27FC236}">
                    <a16:creationId xmlns:a16="http://schemas.microsoft.com/office/drawing/2014/main" id="{DCAE475D-54A5-41D3-402D-C94A6FADF40A}"/>
                  </a:ext>
                </a:extLst>
              </p:cNvPr>
              <p:cNvPicPr>
                <a:picLocks noChangeAspect="1"/>
              </p:cNvPicPr>
              <p:nvPr/>
            </p:nvPicPr>
            <p:blipFill rotWithShape="1">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3467" t="-21609" r="-48007" b="-21586"/>
              <a:stretch/>
            </p:blipFill>
            <p:spPr>
              <a:xfrm>
                <a:off x="2593380" y="5440083"/>
                <a:ext cx="244475" cy="244475"/>
              </a:xfrm>
              <a:prstGeom prst="rect">
                <a:avLst/>
              </a:prstGeom>
            </p:spPr>
          </p:pic>
        </p:grpSp>
        <p:grpSp>
          <p:nvGrpSpPr>
            <p:cNvPr id="39" name="Group 38">
              <a:extLst>
                <a:ext uri="{FF2B5EF4-FFF2-40B4-BE49-F238E27FC236}">
                  <a16:creationId xmlns:a16="http://schemas.microsoft.com/office/drawing/2014/main" id="{8D943C68-143E-0B78-AB96-C9E11169D0A2}"/>
                </a:ext>
              </a:extLst>
            </p:cNvPr>
            <p:cNvGrpSpPr/>
            <p:nvPr/>
          </p:nvGrpSpPr>
          <p:grpSpPr>
            <a:xfrm>
              <a:off x="1271990" y="5440086"/>
              <a:ext cx="244475" cy="244475"/>
              <a:chOff x="1265350" y="5440086"/>
              <a:chExt cx="244475" cy="244475"/>
            </a:xfrm>
          </p:grpSpPr>
          <p:sp>
            <p:nvSpPr>
              <p:cNvPr id="15" name="Rectangle 14">
                <a:extLst>
                  <a:ext uri="{FF2B5EF4-FFF2-40B4-BE49-F238E27FC236}">
                    <a16:creationId xmlns:a16="http://schemas.microsoft.com/office/drawing/2014/main" id="{B7B02BF4-94FF-BD2B-1EE4-BF6E8A4A8F28}"/>
                  </a:ext>
                </a:extLst>
              </p:cNvPr>
              <p:cNvSpPr/>
              <p:nvPr/>
            </p:nvSpPr>
            <p:spPr>
              <a:xfrm>
                <a:off x="1265350" y="5440086"/>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hlinkClick r:id="rId9"/>
                <a:extLst>
                  <a:ext uri="{FF2B5EF4-FFF2-40B4-BE49-F238E27FC236}">
                    <a16:creationId xmlns:a16="http://schemas.microsoft.com/office/drawing/2014/main" id="{B09D2127-2188-637D-1546-8ABE7EC57ABE}"/>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65350" y="5440086"/>
                <a:ext cx="244475" cy="244475"/>
              </a:xfrm>
              <a:prstGeom prst="rect">
                <a:avLst/>
              </a:prstGeom>
            </p:spPr>
          </p:pic>
        </p:grpSp>
        <p:grpSp>
          <p:nvGrpSpPr>
            <p:cNvPr id="37" name="Group 36">
              <a:extLst>
                <a:ext uri="{FF2B5EF4-FFF2-40B4-BE49-F238E27FC236}">
                  <a16:creationId xmlns:a16="http://schemas.microsoft.com/office/drawing/2014/main" id="{12104D79-6DF7-813C-BDF4-BCC5F0C7E6D9}"/>
                </a:ext>
              </a:extLst>
            </p:cNvPr>
            <p:cNvGrpSpPr/>
            <p:nvPr/>
          </p:nvGrpSpPr>
          <p:grpSpPr>
            <a:xfrm>
              <a:off x="2082945" y="5440083"/>
              <a:ext cx="244475" cy="244478"/>
              <a:chOff x="2070476" y="5440083"/>
              <a:chExt cx="244475" cy="244478"/>
            </a:xfrm>
          </p:grpSpPr>
          <p:sp>
            <p:nvSpPr>
              <p:cNvPr id="18" name="Rectangle 17">
                <a:extLst>
                  <a:ext uri="{FF2B5EF4-FFF2-40B4-BE49-F238E27FC236}">
                    <a16:creationId xmlns:a16="http://schemas.microsoft.com/office/drawing/2014/main" id="{D5386C55-1AA0-8456-C302-5AF0B2C64FE8}"/>
                  </a:ext>
                </a:extLst>
              </p:cNvPr>
              <p:cNvSpPr/>
              <p:nvPr/>
            </p:nvSpPr>
            <p:spPr>
              <a:xfrm>
                <a:off x="2070476" y="5440083"/>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hlinkClick r:id="rId11"/>
                <a:extLst>
                  <a:ext uri="{FF2B5EF4-FFF2-40B4-BE49-F238E27FC236}">
                    <a16:creationId xmlns:a16="http://schemas.microsoft.com/office/drawing/2014/main" id="{BB42487B-C5E7-992B-581D-2833E801EDC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70476" y="5440086"/>
                <a:ext cx="244475" cy="244475"/>
              </a:xfrm>
              <a:prstGeom prst="rect">
                <a:avLst/>
              </a:prstGeom>
            </p:spPr>
          </p:pic>
        </p:grpSp>
        <p:grpSp>
          <p:nvGrpSpPr>
            <p:cNvPr id="38" name="Group 37">
              <a:extLst>
                <a:ext uri="{FF2B5EF4-FFF2-40B4-BE49-F238E27FC236}">
                  <a16:creationId xmlns:a16="http://schemas.microsoft.com/office/drawing/2014/main" id="{D8E38759-79F3-8487-616C-95CCDAE4B342}"/>
                </a:ext>
              </a:extLst>
            </p:cNvPr>
            <p:cNvGrpSpPr/>
            <p:nvPr/>
          </p:nvGrpSpPr>
          <p:grpSpPr>
            <a:xfrm>
              <a:off x="1675505" y="5428004"/>
              <a:ext cx="248400" cy="248400"/>
              <a:chOff x="1673866" y="5428004"/>
              <a:chExt cx="248400" cy="248400"/>
            </a:xfrm>
          </p:grpSpPr>
          <p:sp>
            <p:nvSpPr>
              <p:cNvPr id="17" name="Rectangle 16">
                <a:extLst>
                  <a:ext uri="{FF2B5EF4-FFF2-40B4-BE49-F238E27FC236}">
                    <a16:creationId xmlns:a16="http://schemas.microsoft.com/office/drawing/2014/main" id="{A264A80F-3439-CF2B-22B3-9364F9366336}"/>
                  </a:ext>
                </a:extLst>
              </p:cNvPr>
              <p:cNvSpPr/>
              <p:nvPr/>
            </p:nvSpPr>
            <p:spPr>
              <a:xfrm>
                <a:off x="1677791" y="5428004"/>
                <a:ext cx="244475" cy="24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hlinkClick r:id="rId13"/>
                <a:extLst>
                  <a:ext uri="{FF2B5EF4-FFF2-40B4-BE49-F238E27FC236}">
                    <a16:creationId xmlns:a16="http://schemas.microsoft.com/office/drawing/2014/main" id="{F0F92FCB-6B36-E9D1-3E0C-F48857C5C0D8}"/>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673866" y="5428004"/>
                <a:ext cx="248400" cy="248400"/>
              </a:xfrm>
              <a:prstGeom prst="rect">
                <a:avLst/>
              </a:prstGeom>
            </p:spPr>
          </p:pic>
        </p:grpSp>
      </p:grpSp>
      <p:grpSp>
        <p:nvGrpSpPr>
          <p:cNvPr id="25" name="Group 24">
            <a:extLst>
              <a:ext uri="{FF2B5EF4-FFF2-40B4-BE49-F238E27FC236}">
                <a16:creationId xmlns:a16="http://schemas.microsoft.com/office/drawing/2014/main" id="{66886CAF-D7C1-D5D4-7F0D-9E7265AC85C1}"/>
              </a:ext>
            </a:extLst>
          </p:cNvPr>
          <p:cNvGrpSpPr/>
          <p:nvPr/>
        </p:nvGrpSpPr>
        <p:grpSpPr>
          <a:xfrm>
            <a:off x="440649" y="229871"/>
            <a:ext cx="11319486" cy="910527"/>
            <a:chOff x="440649" y="229871"/>
            <a:chExt cx="11319486" cy="910527"/>
          </a:xfrm>
        </p:grpSpPr>
        <p:pic>
          <p:nvPicPr>
            <p:cNvPr id="23" name="Graphic 22">
              <a:extLst>
                <a:ext uri="{FF2B5EF4-FFF2-40B4-BE49-F238E27FC236}">
                  <a16:creationId xmlns:a16="http://schemas.microsoft.com/office/drawing/2014/main" id="{C275653F-26B3-0483-13EB-4AB470D4F57C}"/>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40649" y="229871"/>
              <a:ext cx="1994488" cy="910527"/>
            </a:xfrm>
            <a:prstGeom prst="rect">
              <a:avLst/>
            </a:prstGeom>
          </p:spPr>
        </p:pic>
        <p:pic>
          <p:nvPicPr>
            <p:cNvPr id="24" name="Picture 23">
              <a:extLst>
                <a:ext uri="{FF2B5EF4-FFF2-40B4-BE49-F238E27FC236}">
                  <a16:creationId xmlns:a16="http://schemas.microsoft.com/office/drawing/2014/main" id="{0C331616-9C50-8706-A5BD-F51B71E8C1C1}"/>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a:off x="9410892" y="384313"/>
              <a:ext cx="2349243" cy="636103"/>
            </a:xfrm>
            <a:prstGeom prst="rect">
              <a:avLst/>
            </a:prstGeom>
          </p:spPr>
        </p:pic>
      </p:grpSp>
      <p:pic>
        <p:nvPicPr>
          <p:cNvPr id="13" name="Picture 12">
            <a:extLst>
              <a:ext uri="{FF2B5EF4-FFF2-40B4-BE49-F238E27FC236}">
                <a16:creationId xmlns:a16="http://schemas.microsoft.com/office/drawing/2014/main" id="{249E21A7-9529-A93F-DA45-CA53BA3DCA75}"/>
              </a:ext>
            </a:extLst>
          </p:cNvPr>
          <p:cNvPicPr>
            <a:picLocks noChangeAspect="1"/>
          </p:cNvPicPr>
          <p:nvPr/>
        </p:nvPicPr>
        <p:blipFill>
          <a:blip r:embed="rId17"/>
          <a:srcRect l="13181" t="32477" r="58307" b="-1874"/>
          <a:stretch>
            <a:fillRect/>
          </a:stretch>
        </p:blipFill>
        <p:spPr>
          <a:xfrm>
            <a:off x="4895892" y="1760198"/>
            <a:ext cx="2929533" cy="4754133"/>
          </a:xfrm>
          <a:prstGeom prst="rect">
            <a:avLst/>
          </a:prstGeom>
        </p:spPr>
      </p:pic>
      <p:grpSp>
        <p:nvGrpSpPr>
          <p:cNvPr id="35" name="Group 34">
            <a:extLst>
              <a:ext uri="{FF2B5EF4-FFF2-40B4-BE49-F238E27FC236}">
                <a16:creationId xmlns:a16="http://schemas.microsoft.com/office/drawing/2014/main" id="{313363FC-075B-7D75-FC10-AF2FB93C1EC4}"/>
              </a:ext>
            </a:extLst>
          </p:cNvPr>
          <p:cNvGrpSpPr/>
          <p:nvPr/>
        </p:nvGrpSpPr>
        <p:grpSpPr>
          <a:xfrm>
            <a:off x="7487818" y="1582154"/>
            <a:ext cx="1666921" cy="1334105"/>
            <a:chOff x="7688587" y="2044868"/>
            <a:chExt cx="1666921" cy="1334105"/>
          </a:xfrm>
        </p:grpSpPr>
        <p:sp>
          <p:nvSpPr>
            <p:cNvPr id="29" name="Title 3">
              <a:extLst>
                <a:ext uri="{FF2B5EF4-FFF2-40B4-BE49-F238E27FC236}">
                  <a16:creationId xmlns:a16="http://schemas.microsoft.com/office/drawing/2014/main" id="{FB32723E-2812-8D6D-4287-06D0F01ED597}"/>
                </a:ext>
              </a:extLst>
            </p:cNvPr>
            <p:cNvSpPr txBox="1">
              <a:spLocks/>
            </p:cNvSpPr>
            <p:nvPr/>
          </p:nvSpPr>
          <p:spPr>
            <a:xfrm>
              <a:off x="7688587" y="2277719"/>
              <a:ext cx="1478077" cy="502220"/>
            </a:xfrm>
            <a:prstGeom prst="rect">
              <a:avLst/>
            </a:prstGeom>
          </p:spPr>
          <p:txBody>
            <a:bodyPr vert="horz" lIns="91440" tIns="45720" rIns="91440" bIns="45720" rtlCol="0" anchor="t">
              <a:norm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sz="2800" dirty="0">
                  <a:solidFill>
                    <a:srgbClr val="FF0000"/>
                  </a:solidFill>
                </a:rPr>
                <a:t>Change.</a:t>
              </a:r>
            </a:p>
          </p:txBody>
        </p:sp>
        <p:sp>
          <p:nvSpPr>
            <p:cNvPr id="30" name="Title 3">
              <a:extLst>
                <a:ext uri="{FF2B5EF4-FFF2-40B4-BE49-F238E27FC236}">
                  <a16:creationId xmlns:a16="http://schemas.microsoft.com/office/drawing/2014/main" id="{F4166B50-432D-196A-839C-0EE16949FA16}"/>
                </a:ext>
              </a:extLst>
            </p:cNvPr>
            <p:cNvSpPr txBox="1">
              <a:spLocks/>
            </p:cNvSpPr>
            <p:nvPr/>
          </p:nvSpPr>
          <p:spPr>
            <a:xfrm>
              <a:off x="7688587" y="2044868"/>
              <a:ext cx="1321403" cy="350677"/>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Navigating</a:t>
              </a:r>
            </a:p>
          </p:txBody>
        </p:sp>
        <p:sp>
          <p:nvSpPr>
            <p:cNvPr id="31" name="Title 3">
              <a:extLst>
                <a:ext uri="{FF2B5EF4-FFF2-40B4-BE49-F238E27FC236}">
                  <a16:creationId xmlns:a16="http://schemas.microsoft.com/office/drawing/2014/main" id="{B6156C65-3D90-3FF5-C9BC-053342BA33A4}"/>
                </a:ext>
              </a:extLst>
            </p:cNvPr>
            <p:cNvSpPr txBox="1">
              <a:spLocks/>
            </p:cNvSpPr>
            <p:nvPr/>
          </p:nvSpPr>
          <p:spPr>
            <a:xfrm>
              <a:off x="7688587" y="2869487"/>
              <a:ext cx="1666921" cy="509486"/>
            </a:xfrm>
            <a:prstGeom prst="rect">
              <a:avLst/>
            </a:prstGeom>
          </p:spPr>
          <p:txBody>
            <a:bodyPr vert="horz" lIns="91440" tIns="45720" rIns="91440" bIns="45720" rtlCol="0" anchor="t">
              <a:noAutofit/>
            </a:bodyPr>
            <a:lstStyle>
              <a:lvl1pPr algn="l" defTabSz="914363" rtl="0" eaLnBrk="1" latinLnBrk="0" hangingPunct="1">
                <a:lnSpc>
                  <a:spcPct val="90000"/>
                </a:lnSpc>
                <a:spcBef>
                  <a:spcPct val="0"/>
                </a:spcBef>
                <a:buNone/>
                <a:defRPr lang="en-IN" sz="3200" b="1" kern="1200" dirty="0">
                  <a:solidFill>
                    <a:schemeClr val="tx1">
                      <a:lumMod val="85000"/>
                      <a:lumOff val="15000"/>
                    </a:schemeClr>
                  </a:solidFill>
                  <a:latin typeface="+mj-lt"/>
                  <a:ea typeface="+mj-ea"/>
                  <a:cs typeface="+mj-cs"/>
                </a:defRPr>
              </a:lvl1pPr>
            </a:lstStyle>
            <a:p>
              <a:r>
                <a:rPr lang="en-US" sz="2800" dirty="0">
                  <a:solidFill>
                    <a:srgbClr val="FF0000"/>
                  </a:solidFill>
                </a:rPr>
                <a:t>Progress.</a:t>
              </a:r>
            </a:p>
          </p:txBody>
        </p:sp>
        <p:sp>
          <p:nvSpPr>
            <p:cNvPr id="32" name="Title 3">
              <a:extLst>
                <a:ext uri="{FF2B5EF4-FFF2-40B4-BE49-F238E27FC236}">
                  <a16:creationId xmlns:a16="http://schemas.microsoft.com/office/drawing/2014/main" id="{9F8B64DF-BFE1-D94D-776D-2F30B920CB68}"/>
                </a:ext>
              </a:extLst>
            </p:cNvPr>
            <p:cNvSpPr txBox="1">
              <a:spLocks/>
            </p:cNvSpPr>
            <p:nvPr/>
          </p:nvSpPr>
          <p:spPr>
            <a:xfrm>
              <a:off x="7688587" y="2627727"/>
              <a:ext cx="1187617" cy="365009"/>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Powering</a:t>
              </a:r>
            </a:p>
          </p:txBody>
        </p:sp>
      </p:grpSp>
    </p:spTree>
    <p:extLst>
      <p:ext uri="{BB962C8B-B14F-4D97-AF65-F5344CB8AC3E}">
        <p14:creationId xmlns:p14="http://schemas.microsoft.com/office/powerpoint/2010/main" val="1946909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0DDEE-C876-670E-DCA2-0115E3969E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5DFD9C-27D8-F382-56E2-5E2955F4229F}"/>
              </a:ext>
            </a:extLst>
          </p:cNvPr>
          <p:cNvSpPr>
            <a:spLocks noGrp="1"/>
          </p:cNvSpPr>
          <p:nvPr>
            <p:ph type="title"/>
          </p:nvPr>
        </p:nvSpPr>
        <p:spPr>
          <a:xfrm>
            <a:off x="227067" y="235854"/>
            <a:ext cx="11738510" cy="648000"/>
          </a:xfrm>
        </p:spPr>
        <p:txBody>
          <a:bodyPr/>
          <a:lstStyle/>
          <a:p>
            <a:r>
              <a:rPr lang="en-US" dirty="0"/>
              <a:t>Our Testing Capabilities</a:t>
            </a:r>
          </a:p>
        </p:txBody>
      </p:sp>
      <p:pic>
        <p:nvPicPr>
          <p:cNvPr id="871" name="Picture 870">
            <a:extLst>
              <a:ext uri="{FF2B5EF4-FFF2-40B4-BE49-F238E27FC236}">
                <a16:creationId xmlns:a16="http://schemas.microsoft.com/office/drawing/2014/main" id="{7C82942C-2B26-D3F2-1EE3-7270AC854481}"/>
              </a:ext>
            </a:extLst>
          </p:cNvPr>
          <p:cNvPicPr>
            <a:picLocks noChangeAspect="1"/>
          </p:cNvPicPr>
          <p:nvPr/>
        </p:nvPicPr>
        <p:blipFill>
          <a:blip r:embed="rId3"/>
          <a:stretch>
            <a:fillRect/>
          </a:stretch>
        </p:blipFill>
        <p:spPr>
          <a:xfrm>
            <a:off x="364353" y="917504"/>
            <a:ext cx="11229900" cy="541589"/>
          </a:xfrm>
          <a:prstGeom prst="rect">
            <a:avLst/>
          </a:prstGeom>
        </p:spPr>
      </p:pic>
      <p:sp>
        <p:nvSpPr>
          <p:cNvPr id="872" name="Rectangle: Rounded Corners 871">
            <a:extLst>
              <a:ext uri="{FF2B5EF4-FFF2-40B4-BE49-F238E27FC236}">
                <a16:creationId xmlns:a16="http://schemas.microsoft.com/office/drawing/2014/main" id="{4433CF1A-F3A1-F570-0EFE-20C81F61950F}"/>
              </a:ext>
            </a:extLst>
          </p:cNvPr>
          <p:cNvSpPr/>
          <p:nvPr/>
        </p:nvSpPr>
        <p:spPr>
          <a:xfrm>
            <a:off x="374967" y="763997"/>
            <a:ext cx="11197883" cy="607856"/>
          </a:xfrm>
          <a:prstGeom prst="roundRect">
            <a:avLst>
              <a:gd name="adj" fmla="val 6414"/>
            </a:avLst>
          </a:prstGeom>
          <a:solidFill>
            <a:srgbClr val="4C4C4E"/>
          </a:solidFill>
          <a:ln w="3175">
            <a:solidFill>
              <a:srgbClr val="C00000"/>
            </a:solidFill>
            <a:miter lim="800000"/>
            <a:headEnd/>
            <a:tailEnd/>
          </a:ln>
        </p:spPr>
        <p:txBody>
          <a:bodyPr wrap="square" anchor="ctr">
            <a:prstTxWarp prst="textNoShape">
              <a:avLst/>
            </a:prstTxWarp>
          </a:bodyPr>
          <a:lstStyle/>
          <a:p>
            <a:pPr marL="0" marR="0" lvl="0" indent="0" algn="l" defTabSz="1217035" rtl="0" eaLnBrk="0"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0000"/>
              </a:solidFill>
              <a:effectLst/>
              <a:uLnTx/>
              <a:uFillTx/>
              <a:latin typeface="Calibri Light"/>
              <a:ea typeface="+mn-ea"/>
              <a:cs typeface="+mn-cs"/>
            </a:endParaRPr>
          </a:p>
        </p:txBody>
      </p:sp>
      <p:sp>
        <p:nvSpPr>
          <p:cNvPr id="873" name="TextBox 872">
            <a:extLst>
              <a:ext uri="{FF2B5EF4-FFF2-40B4-BE49-F238E27FC236}">
                <a16:creationId xmlns:a16="http://schemas.microsoft.com/office/drawing/2014/main" id="{29381ED5-E8B2-22D8-5955-B1103B3E7F13}"/>
              </a:ext>
            </a:extLst>
          </p:cNvPr>
          <p:cNvSpPr txBox="1"/>
          <p:nvPr/>
        </p:nvSpPr>
        <p:spPr>
          <a:xfrm>
            <a:off x="869976" y="834622"/>
            <a:ext cx="1779193" cy="461395"/>
          </a:xfrm>
          <a:prstGeom prst="rect">
            <a:avLst/>
          </a:prstGeom>
          <a:noFill/>
        </p:spPr>
        <p:txBody>
          <a:bodyPr wrap="square">
            <a:spAutoFit/>
          </a:bodyPr>
          <a:lstStyle/>
          <a:p>
            <a:pPr marL="0" marR="0" lvl="1" indent="0" algn="l" defTabSz="1015859" rtl="0" eaLnBrk="1" fontAlgn="auto" latinLnBrk="0" hangingPunct="1">
              <a:lnSpc>
                <a:spcPct val="100000"/>
              </a:lnSpc>
              <a:spcBef>
                <a:spcPts val="0"/>
              </a:spcBef>
              <a:spcAft>
                <a:spcPts val="0"/>
              </a:spcAft>
              <a:buClr>
                <a:srgbClr val="FF0000"/>
              </a:buClr>
              <a:buSzPct val="80000"/>
              <a:buFontTx/>
              <a:buNone/>
              <a:tabLst/>
              <a:defRPr/>
            </a:pPr>
            <a:r>
              <a:rPr kumimoji="0" lang="en-US" sz="1200" b="0" i="0" u="none" strike="noStrike" kern="1200" cap="none" spc="0" normalizeH="0" baseline="0" noProof="0">
                <a:ln>
                  <a:noFill/>
                </a:ln>
                <a:solidFill>
                  <a:prstClr val="white"/>
                </a:solidFill>
                <a:effectLst/>
                <a:uLnTx/>
                <a:uFillTx/>
                <a:latin typeface="Calibri (Headings)"/>
                <a:ea typeface="+mn-ea"/>
                <a:cs typeface="+mn-cs"/>
              </a:rPr>
              <a:t>Years of </a:t>
            </a:r>
          </a:p>
          <a:p>
            <a:pPr marL="0" marR="0" lvl="1" indent="0" algn="l" defTabSz="1015859" rtl="0" eaLnBrk="1" fontAlgn="auto" latinLnBrk="0" hangingPunct="1">
              <a:lnSpc>
                <a:spcPct val="100000"/>
              </a:lnSpc>
              <a:spcBef>
                <a:spcPts val="0"/>
              </a:spcBef>
              <a:spcAft>
                <a:spcPts val="0"/>
              </a:spcAft>
              <a:buClr>
                <a:srgbClr val="FF0000"/>
              </a:buClr>
              <a:buSzPct val="80000"/>
              <a:buFontTx/>
              <a:buNone/>
              <a:tabLst/>
              <a:defRPr/>
            </a:pPr>
            <a:r>
              <a:rPr kumimoji="0" lang="en-US" sz="1200" b="0" i="0" u="none" strike="noStrike" kern="1200" cap="none" spc="0" normalizeH="0" baseline="0" noProof="0">
                <a:ln>
                  <a:noFill/>
                </a:ln>
                <a:solidFill>
                  <a:prstClr val="white"/>
                </a:solidFill>
                <a:effectLst/>
                <a:uLnTx/>
                <a:uFillTx/>
                <a:latin typeface="Calibri (Headings)"/>
                <a:ea typeface="+mn-ea"/>
                <a:cs typeface="+mn-cs"/>
              </a:rPr>
              <a:t>Delivery Excellence</a:t>
            </a:r>
          </a:p>
        </p:txBody>
      </p:sp>
      <p:sp>
        <p:nvSpPr>
          <p:cNvPr id="874" name="TextBox 873">
            <a:extLst>
              <a:ext uri="{FF2B5EF4-FFF2-40B4-BE49-F238E27FC236}">
                <a16:creationId xmlns:a16="http://schemas.microsoft.com/office/drawing/2014/main" id="{9A626DA7-3078-1832-48C2-77A638B1E0C2}"/>
              </a:ext>
            </a:extLst>
          </p:cNvPr>
          <p:cNvSpPr txBox="1"/>
          <p:nvPr/>
        </p:nvSpPr>
        <p:spPr>
          <a:xfrm>
            <a:off x="89512" y="895269"/>
            <a:ext cx="852586" cy="347355"/>
          </a:xfrm>
          <a:prstGeom prst="rect">
            <a:avLst/>
          </a:prstGeom>
          <a:noFill/>
        </p:spPr>
        <p:txBody>
          <a:bodyPr wrap="square">
            <a:spAutoFit/>
          </a:bodyPr>
          <a:lstStyle/>
          <a:p>
            <a:pPr marL="0" marR="0" lvl="1" indent="0" algn="r" defTabSz="1015859" rtl="0" eaLnBrk="1" fontAlgn="auto" latinLnBrk="0" hangingPunct="1">
              <a:lnSpc>
                <a:spcPct val="100000"/>
              </a:lnSpc>
              <a:spcBef>
                <a:spcPts val="200"/>
              </a:spcBef>
              <a:spcAft>
                <a:spcPts val="200"/>
              </a:spcAft>
              <a:buClr>
                <a:srgbClr val="FF0000"/>
              </a:buClr>
              <a:buSzPct val="80000"/>
              <a:buFontTx/>
              <a:buNone/>
              <a:tabLst/>
              <a:defRPr/>
            </a:pPr>
            <a:r>
              <a:rPr kumimoji="0" lang="en-US" sz="1600" b="1" i="0" u="none" strike="noStrike" kern="1200" cap="none" spc="0" normalizeH="0" baseline="0" noProof="0">
                <a:ln>
                  <a:noFill/>
                </a:ln>
                <a:solidFill>
                  <a:prstClr val="white"/>
                </a:solidFill>
                <a:effectLst/>
                <a:uLnTx/>
                <a:uFillTx/>
                <a:latin typeface="Calibri (Headings)"/>
                <a:ea typeface="+mn-ea"/>
                <a:cs typeface="+mn-cs"/>
              </a:rPr>
              <a:t>26+ </a:t>
            </a:r>
          </a:p>
        </p:txBody>
      </p:sp>
      <p:sp>
        <p:nvSpPr>
          <p:cNvPr id="875" name="TextBox 874">
            <a:extLst>
              <a:ext uri="{FF2B5EF4-FFF2-40B4-BE49-F238E27FC236}">
                <a16:creationId xmlns:a16="http://schemas.microsoft.com/office/drawing/2014/main" id="{F2246B23-7CC3-AE4D-0639-FBE71D62A172}"/>
              </a:ext>
            </a:extLst>
          </p:cNvPr>
          <p:cNvSpPr txBox="1"/>
          <p:nvPr/>
        </p:nvSpPr>
        <p:spPr>
          <a:xfrm>
            <a:off x="3187327" y="834622"/>
            <a:ext cx="1363752" cy="461395"/>
          </a:xfrm>
          <a:prstGeom prst="rect">
            <a:avLst/>
          </a:prstGeom>
          <a:noFill/>
        </p:spPr>
        <p:txBody>
          <a:bodyPr wrap="square">
            <a:spAutoFit/>
          </a:bodyPr>
          <a:lstStyle/>
          <a:p>
            <a:pPr marL="0" marR="0" lvl="1" indent="0" algn="l" defTabSz="1015859" rtl="0" eaLnBrk="1" fontAlgn="auto" latinLnBrk="0" hangingPunct="1">
              <a:lnSpc>
                <a:spcPct val="100000"/>
              </a:lnSpc>
              <a:spcBef>
                <a:spcPts val="200"/>
              </a:spcBef>
              <a:spcAft>
                <a:spcPts val="200"/>
              </a:spcAft>
              <a:buClr>
                <a:srgbClr val="FF0000"/>
              </a:buClr>
              <a:buSzPct val="80000"/>
              <a:buFontTx/>
              <a:buNone/>
              <a:tabLst/>
              <a:defRPr/>
            </a:pPr>
            <a:r>
              <a:rPr kumimoji="0" lang="en-US" sz="1200" b="0" i="0" u="none" strike="noStrike" kern="1200" cap="none" spc="0" normalizeH="0" baseline="0" noProof="0">
                <a:ln>
                  <a:noFill/>
                </a:ln>
                <a:solidFill>
                  <a:prstClr val="white"/>
                </a:solidFill>
                <a:effectLst/>
                <a:uLnTx/>
                <a:uFillTx/>
                <a:latin typeface="Calibri (Headings)"/>
                <a:ea typeface="+mn-ea"/>
                <a:cs typeface="+mn-cs"/>
              </a:rPr>
              <a:t>Active Global Customers</a:t>
            </a:r>
          </a:p>
        </p:txBody>
      </p:sp>
      <p:sp>
        <p:nvSpPr>
          <p:cNvPr id="876" name="TextBox 875">
            <a:extLst>
              <a:ext uri="{FF2B5EF4-FFF2-40B4-BE49-F238E27FC236}">
                <a16:creationId xmlns:a16="http://schemas.microsoft.com/office/drawing/2014/main" id="{2DF9DD75-0E38-1873-481E-34081A9C7E27}"/>
              </a:ext>
            </a:extLst>
          </p:cNvPr>
          <p:cNvSpPr txBox="1"/>
          <p:nvPr/>
        </p:nvSpPr>
        <p:spPr>
          <a:xfrm>
            <a:off x="2558428" y="895269"/>
            <a:ext cx="715353" cy="347355"/>
          </a:xfrm>
          <a:prstGeom prst="rect">
            <a:avLst/>
          </a:prstGeom>
          <a:noFill/>
        </p:spPr>
        <p:txBody>
          <a:bodyPr wrap="square">
            <a:spAutoFit/>
          </a:bodyPr>
          <a:lstStyle/>
          <a:p>
            <a:pPr marL="0" marR="0" lvl="1" indent="0" algn="r" defTabSz="1015859" rtl="0" eaLnBrk="1" fontAlgn="auto" latinLnBrk="0" hangingPunct="1">
              <a:lnSpc>
                <a:spcPct val="100000"/>
              </a:lnSpc>
              <a:spcBef>
                <a:spcPts val="200"/>
              </a:spcBef>
              <a:spcAft>
                <a:spcPts val="200"/>
              </a:spcAft>
              <a:buClr>
                <a:srgbClr val="FF0000"/>
              </a:buClr>
              <a:buSzPct val="80000"/>
              <a:buFontTx/>
              <a:buNone/>
              <a:tabLst/>
              <a:defRPr/>
            </a:pPr>
            <a:r>
              <a:rPr kumimoji="0" lang="en-US" sz="1600" b="1" i="0" u="none" strike="noStrike" kern="1200" cap="none" spc="0" normalizeH="0" baseline="0" noProof="0">
                <a:ln>
                  <a:noFill/>
                </a:ln>
                <a:solidFill>
                  <a:prstClr val="white"/>
                </a:solidFill>
                <a:effectLst/>
                <a:uLnTx/>
                <a:uFillTx/>
                <a:latin typeface="Calibri (Headings)"/>
                <a:ea typeface="+mn-ea"/>
                <a:cs typeface="+mn-cs"/>
              </a:rPr>
              <a:t>100+</a:t>
            </a:r>
          </a:p>
        </p:txBody>
      </p:sp>
      <p:sp>
        <p:nvSpPr>
          <p:cNvPr id="877" name="TextBox 876">
            <a:extLst>
              <a:ext uri="{FF2B5EF4-FFF2-40B4-BE49-F238E27FC236}">
                <a16:creationId xmlns:a16="http://schemas.microsoft.com/office/drawing/2014/main" id="{4AE763E9-E46B-7928-0B81-81EDC162E6A7}"/>
              </a:ext>
            </a:extLst>
          </p:cNvPr>
          <p:cNvSpPr txBox="1"/>
          <p:nvPr/>
        </p:nvSpPr>
        <p:spPr>
          <a:xfrm>
            <a:off x="5363189" y="834622"/>
            <a:ext cx="1363752" cy="4613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Testing Professionals</a:t>
            </a:r>
          </a:p>
        </p:txBody>
      </p:sp>
      <p:sp>
        <p:nvSpPr>
          <p:cNvPr id="878" name="TextBox 877">
            <a:extLst>
              <a:ext uri="{FF2B5EF4-FFF2-40B4-BE49-F238E27FC236}">
                <a16:creationId xmlns:a16="http://schemas.microsoft.com/office/drawing/2014/main" id="{05F5519E-8A94-6B83-4023-C88E1838C07B}"/>
              </a:ext>
            </a:extLst>
          </p:cNvPr>
          <p:cNvSpPr txBox="1"/>
          <p:nvPr/>
        </p:nvSpPr>
        <p:spPr>
          <a:xfrm>
            <a:off x="4666212" y="881645"/>
            <a:ext cx="797513" cy="3473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980</a:t>
            </a:r>
          </a:p>
        </p:txBody>
      </p:sp>
      <p:sp>
        <p:nvSpPr>
          <p:cNvPr id="879" name="TextBox 878">
            <a:extLst>
              <a:ext uri="{FF2B5EF4-FFF2-40B4-BE49-F238E27FC236}">
                <a16:creationId xmlns:a16="http://schemas.microsoft.com/office/drawing/2014/main" id="{AD52141B-C4FE-B716-86A1-94CDDAA4EFE7}"/>
              </a:ext>
            </a:extLst>
          </p:cNvPr>
          <p:cNvSpPr txBox="1"/>
          <p:nvPr/>
        </p:nvSpPr>
        <p:spPr>
          <a:xfrm>
            <a:off x="7470973" y="834622"/>
            <a:ext cx="1699980" cy="4613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Large Transformative Testing CoEs</a:t>
            </a:r>
          </a:p>
        </p:txBody>
      </p:sp>
      <p:sp>
        <p:nvSpPr>
          <p:cNvPr id="880" name="TextBox 879">
            <a:extLst>
              <a:ext uri="{FF2B5EF4-FFF2-40B4-BE49-F238E27FC236}">
                <a16:creationId xmlns:a16="http://schemas.microsoft.com/office/drawing/2014/main" id="{C2718A85-F2D3-46C1-58FB-00CBDC2C8424}"/>
              </a:ext>
            </a:extLst>
          </p:cNvPr>
          <p:cNvSpPr txBox="1"/>
          <p:nvPr/>
        </p:nvSpPr>
        <p:spPr>
          <a:xfrm>
            <a:off x="6842074" y="895269"/>
            <a:ext cx="715353" cy="3473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a:ea typeface="+mn-ea"/>
                <a:cs typeface="+mn-cs"/>
              </a:rPr>
              <a:t>18+</a:t>
            </a:r>
          </a:p>
        </p:txBody>
      </p:sp>
      <p:sp>
        <p:nvSpPr>
          <p:cNvPr id="881" name="TextBox 880">
            <a:extLst>
              <a:ext uri="{FF2B5EF4-FFF2-40B4-BE49-F238E27FC236}">
                <a16:creationId xmlns:a16="http://schemas.microsoft.com/office/drawing/2014/main" id="{C04E89C3-5831-3E74-ADAF-0E88BEAE8939}"/>
              </a:ext>
            </a:extLst>
          </p:cNvPr>
          <p:cNvSpPr txBox="1"/>
          <p:nvPr/>
        </p:nvSpPr>
        <p:spPr>
          <a:xfrm>
            <a:off x="9893651" y="834622"/>
            <a:ext cx="1699972" cy="4613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tinuous Testing Solution Accelerators </a:t>
            </a:r>
          </a:p>
        </p:txBody>
      </p:sp>
      <p:sp>
        <p:nvSpPr>
          <p:cNvPr id="882" name="TextBox 881">
            <a:extLst>
              <a:ext uri="{FF2B5EF4-FFF2-40B4-BE49-F238E27FC236}">
                <a16:creationId xmlns:a16="http://schemas.microsoft.com/office/drawing/2014/main" id="{EB301D8E-5F0B-8AB9-3A02-4B7D6D3C4039}"/>
              </a:ext>
            </a:extLst>
          </p:cNvPr>
          <p:cNvSpPr txBox="1"/>
          <p:nvPr/>
        </p:nvSpPr>
        <p:spPr>
          <a:xfrm>
            <a:off x="9286086" y="895269"/>
            <a:ext cx="715353" cy="3473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Calibri"/>
                <a:ea typeface="+mn-ea"/>
                <a:cs typeface="+mn-cs"/>
              </a:rPr>
              <a:t>10+</a:t>
            </a:r>
          </a:p>
        </p:txBody>
      </p:sp>
      <p:cxnSp>
        <p:nvCxnSpPr>
          <p:cNvPr id="883" name="Straight Connector 882">
            <a:extLst>
              <a:ext uri="{FF2B5EF4-FFF2-40B4-BE49-F238E27FC236}">
                <a16:creationId xmlns:a16="http://schemas.microsoft.com/office/drawing/2014/main" id="{E794F95C-F4C3-58E8-F479-AD05BA92679F}"/>
              </a:ext>
            </a:extLst>
          </p:cNvPr>
          <p:cNvCxnSpPr>
            <a:cxnSpLocks/>
          </p:cNvCxnSpPr>
          <p:nvPr/>
        </p:nvCxnSpPr>
        <p:spPr>
          <a:xfrm>
            <a:off x="2541437" y="864946"/>
            <a:ext cx="0" cy="408002"/>
          </a:xfrm>
          <a:prstGeom prst="line">
            <a:avLst/>
          </a:prstGeom>
          <a:noFill/>
          <a:ln w="6350" cap="flat" cmpd="sng" algn="ctr">
            <a:solidFill>
              <a:sysClr val="window" lastClr="FFFFFF">
                <a:lumMod val="85000"/>
              </a:sysClr>
            </a:solidFill>
            <a:prstDash val="solid"/>
            <a:miter lim="800000"/>
          </a:ln>
          <a:effectLst/>
        </p:spPr>
      </p:cxnSp>
      <p:cxnSp>
        <p:nvCxnSpPr>
          <p:cNvPr id="884" name="Straight Connector 883">
            <a:extLst>
              <a:ext uri="{FF2B5EF4-FFF2-40B4-BE49-F238E27FC236}">
                <a16:creationId xmlns:a16="http://schemas.microsoft.com/office/drawing/2014/main" id="{DEC0CF8E-81A0-B8B4-DA40-E439888D9F40}"/>
              </a:ext>
            </a:extLst>
          </p:cNvPr>
          <p:cNvCxnSpPr>
            <a:cxnSpLocks/>
          </p:cNvCxnSpPr>
          <p:nvPr/>
        </p:nvCxnSpPr>
        <p:spPr>
          <a:xfrm>
            <a:off x="4614262" y="864946"/>
            <a:ext cx="0" cy="408002"/>
          </a:xfrm>
          <a:prstGeom prst="line">
            <a:avLst/>
          </a:prstGeom>
          <a:noFill/>
          <a:ln w="6350" cap="flat" cmpd="sng" algn="ctr">
            <a:solidFill>
              <a:sysClr val="window" lastClr="FFFFFF">
                <a:lumMod val="85000"/>
              </a:sysClr>
            </a:solidFill>
            <a:prstDash val="solid"/>
            <a:miter lim="800000"/>
          </a:ln>
          <a:effectLst/>
        </p:spPr>
      </p:cxnSp>
      <p:cxnSp>
        <p:nvCxnSpPr>
          <p:cNvPr id="885" name="Straight Connector 884">
            <a:extLst>
              <a:ext uri="{FF2B5EF4-FFF2-40B4-BE49-F238E27FC236}">
                <a16:creationId xmlns:a16="http://schemas.microsoft.com/office/drawing/2014/main" id="{4A1D1F45-A78F-D216-50D4-ECEB1602D258}"/>
              </a:ext>
            </a:extLst>
          </p:cNvPr>
          <p:cNvCxnSpPr>
            <a:cxnSpLocks/>
          </p:cNvCxnSpPr>
          <p:nvPr/>
        </p:nvCxnSpPr>
        <p:spPr>
          <a:xfrm>
            <a:off x="9349218" y="864946"/>
            <a:ext cx="0" cy="408002"/>
          </a:xfrm>
          <a:prstGeom prst="line">
            <a:avLst/>
          </a:prstGeom>
          <a:noFill/>
          <a:ln w="6350" cap="flat" cmpd="sng" algn="ctr">
            <a:solidFill>
              <a:sysClr val="window" lastClr="FFFFFF">
                <a:lumMod val="85000"/>
              </a:sysClr>
            </a:solidFill>
            <a:prstDash val="solid"/>
            <a:miter lim="800000"/>
          </a:ln>
          <a:effectLst/>
        </p:spPr>
      </p:cxnSp>
      <p:cxnSp>
        <p:nvCxnSpPr>
          <p:cNvPr id="1262" name="Straight Connector 1261">
            <a:extLst>
              <a:ext uri="{FF2B5EF4-FFF2-40B4-BE49-F238E27FC236}">
                <a16:creationId xmlns:a16="http://schemas.microsoft.com/office/drawing/2014/main" id="{293B5E1B-2EE2-EAAC-A174-49BC9F9BDF37}"/>
              </a:ext>
            </a:extLst>
          </p:cNvPr>
          <p:cNvCxnSpPr>
            <a:cxnSpLocks/>
          </p:cNvCxnSpPr>
          <p:nvPr/>
        </p:nvCxnSpPr>
        <p:spPr>
          <a:xfrm>
            <a:off x="6760488" y="864946"/>
            <a:ext cx="0" cy="408002"/>
          </a:xfrm>
          <a:prstGeom prst="line">
            <a:avLst/>
          </a:prstGeom>
          <a:noFill/>
          <a:ln w="6350" cap="flat" cmpd="sng" algn="ctr">
            <a:solidFill>
              <a:sysClr val="window" lastClr="FFFFFF">
                <a:lumMod val="85000"/>
              </a:sysClr>
            </a:solidFill>
            <a:prstDash val="solid"/>
            <a:miter lim="800000"/>
          </a:ln>
          <a:effectLst/>
        </p:spPr>
      </p:cxnSp>
      <p:sp>
        <p:nvSpPr>
          <p:cNvPr id="3" name="Rectangle: Rounded Corners 2">
            <a:extLst>
              <a:ext uri="{FF2B5EF4-FFF2-40B4-BE49-F238E27FC236}">
                <a16:creationId xmlns:a16="http://schemas.microsoft.com/office/drawing/2014/main" id="{0B3380DA-1505-C2BC-DB72-B206523D27BA}"/>
              </a:ext>
            </a:extLst>
          </p:cNvPr>
          <p:cNvSpPr/>
          <p:nvPr/>
        </p:nvSpPr>
        <p:spPr>
          <a:xfrm>
            <a:off x="8354112" y="1914708"/>
            <a:ext cx="3262442" cy="2557668"/>
          </a:xfrm>
          <a:prstGeom prst="roundRect">
            <a:avLst>
              <a:gd name="adj" fmla="val 9529"/>
            </a:avLst>
          </a:prstGeom>
          <a:solidFill>
            <a:srgbClr val="FFFFFF"/>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Verdana" panose="020B0604030504040204" pitchFamily="34" charset="0"/>
              <a:cs typeface="+mn-cs"/>
            </a:endParaRPr>
          </a:p>
        </p:txBody>
      </p:sp>
      <p:sp>
        <p:nvSpPr>
          <p:cNvPr id="5" name="Rectangle: Rounded Corners 4">
            <a:extLst>
              <a:ext uri="{FF2B5EF4-FFF2-40B4-BE49-F238E27FC236}">
                <a16:creationId xmlns:a16="http://schemas.microsoft.com/office/drawing/2014/main" id="{EC733249-05CF-11D1-8C06-DE34FAA4C6EC}"/>
              </a:ext>
            </a:extLst>
          </p:cNvPr>
          <p:cNvSpPr/>
          <p:nvPr/>
        </p:nvSpPr>
        <p:spPr>
          <a:xfrm>
            <a:off x="4237652" y="4820551"/>
            <a:ext cx="7589995" cy="1339617"/>
          </a:xfrm>
          <a:prstGeom prst="roundRect">
            <a:avLst>
              <a:gd name="adj" fmla="val 9529"/>
            </a:avLst>
          </a:prstGeom>
          <a:solidFill>
            <a:srgbClr val="FFFFFF"/>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Verdana" panose="020B0604030504040204" pitchFamily="34" charset="0"/>
              <a:cs typeface="+mn-cs"/>
            </a:endParaRPr>
          </a:p>
        </p:txBody>
      </p:sp>
      <p:pic>
        <p:nvPicPr>
          <p:cNvPr id="6" name="Picture 5">
            <a:extLst>
              <a:ext uri="{FF2B5EF4-FFF2-40B4-BE49-F238E27FC236}">
                <a16:creationId xmlns:a16="http://schemas.microsoft.com/office/drawing/2014/main" id="{967D12D8-B4C9-DD57-D30E-989FE3497BD0}"/>
              </a:ext>
            </a:extLst>
          </p:cNvPr>
          <p:cNvPicPr>
            <a:picLocks noChangeAspect="1"/>
          </p:cNvPicPr>
          <p:nvPr/>
        </p:nvPicPr>
        <p:blipFill>
          <a:blip r:embed="rId3"/>
          <a:stretch>
            <a:fillRect/>
          </a:stretch>
        </p:blipFill>
        <p:spPr>
          <a:xfrm>
            <a:off x="376144" y="2340500"/>
            <a:ext cx="3722675" cy="1679453"/>
          </a:xfrm>
          <a:prstGeom prst="rect">
            <a:avLst/>
          </a:prstGeom>
        </p:spPr>
      </p:pic>
      <p:sp>
        <p:nvSpPr>
          <p:cNvPr id="8" name="Rectangle: Rounded Corners 7">
            <a:extLst>
              <a:ext uri="{FF2B5EF4-FFF2-40B4-BE49-F238E27FC236}">
                <a16:creationId xmlns:a16="http://schemas.microsoft.com/office/drawing/2014/main" id="{D92AD370-CA90-2713-F534-C6D3D25D4A18}"/>
              </a:ext>
            </a:extLst>
          </p:cNvPr>
          <p:cNvSpPr/>
          <p:nvPr/>
        </p:nvSpPr>
        <p:spPr>
          <a:xfrm>
            <a:off x="381451" y="1980744"/>
            <a:ext cx="3712061" cy="1865381"/>
          </a:xfrm>
          <a:prstGeom prst="roundRect">
            <a:avLst>
              <a:gd name="adj" fmla="val 9529"/>
            </a:avLst>
          </a:prstGeom>
          <a:solidFill>
            <a:srgbClr val="FFFFFF"/>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Verdana" panose="020B0604030504040204" pitchFamily="34" charset="0"/>
              <a:cs typeface="+mn-cs"/>
            </a:endParaRPr>
          </a:p>
        </p:txBody>
      </p:sp>
      <p:pic>
        <p:nvPicPr>
          <p:cNvPr id="9" name="Picture 8">
            <a:extLst>
              <a:ext uri="{FF2B5EF4-FFF2-40B4-BE49-F238E27FC236}">
                <a16:creationId xmlns:a16="http://schemas.microsoft.com/office/drawing/2014/main" id="{1E5B3818-C18B-9E85-510A-8C10CEED6AC2}"/>
              </a:ext>
            </a:extLst>
          </p:cNvPr>
          <p:cNvPicPr>
            <a:picLocks noChangeAspect="1"/>
          </p:cNvPicPr>
          <p:nvPr/>
        </p:nvPicPr>
        <p:blipFill>
          <a:blip r:embed="rId3"/>
          <a:stretch>
            <a:fillRect/>
          </a:stretch>
        </p:blipFill>
        <p:spPr>
          <a:xfrm>
            <a:off x="364353" y="4472376"/>
            <a:ext cx="3722675" cy="1778446"/>
          </a:xfrm>
          <a:prstGeom prst="rect">
            <a:avLst/>
          </a:prstGeom>
        </p:spPr>
      </p:pic>
      <p:sp>
        <p:nvSpPr>
          <p:cNvPr id="10" name="Rectangle: Rounded Corners 9">
            <a:extLst>
              <a:ext uri="{FF2B5EF4-FFF2-40B4-BE49-F238E27FC236}">
                <a16:creationId xmlns:a16="http://schemas.microsoft.com/office/drawing/2014/main" id="{2A971C58-377A-41FB-9C64-CC4B21F0644D}"/>
              </a:ext>
            </a:extLst>
          </p:cNvPr>
          <p:cNvSpPr/>
          <p:nvPr/>
        </p:nvSpPr>
        <p:spPr>
          <a:xfrm>
            <a:off x="374967" y="3938728"/>
            <a:ext cx="3712061" cy="2221440"/>
          </a:xfrm>
          <a:prstGeom prst="roundRect">
            <a:avLst>
              <a:gd name="adj" fmla="val 9529"/>
            </a:avLst>
          </a:prstGeom>
          <a:solidFill>
            <a:srgbClr val="FFFFFF"/>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Verdana" panose="020B0604030504040204" pitchFamily="34" charset="0"/>
              <a:cs typeface="+mn-cs"/>
            </a:endParaRPr>
          </a:p>
        </p:txBody>
      </p:sp>
      <p:sp>
        <p:nvSpPr>
          <p:cNvPr id="16" name="TextBox 15">
            <a:extLst>
              <a:ext uri="{FF2B5EF4-FFF2-40B4-BE49-F238E27FC236}">
                <a16:creationId xmlns:a16="http://schemas.microsoft.com/office/drawing/2014/main" id="{D6EC4E8B-B3AB-C102-4862-67BBCBEB82D4}"/>
              </a:ext>
            </a:extLst>
          </p:cNvPr>
          <p:cNvSpPr txBox="1"/>
          <p:nvPr/>
        </p:nvSpPr>
        <p:spPr>
          <a:xfrm>
            <a:off x="2586179" y="1974932"/>
            <a:ext cx="1490236" cy="43063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4D4D4F"/>
                </a:solidFill>
                <a:effectLst/>
                <a:uLnTx/>
                <a:uFillTx/>
                <a:latin typeface="Calibri"/>
                <a:ea typeface="ＭＳ Ｐゴシック"/>
                <a:cs typeface="+mn-cs"/>
              </a:rPr>
              <a:t>Enterprise Systems Testing</a:t>
            </a:r>
          </a:p>
        </p:txBody>
      </p:sp>
      <p:cxnSp>
        <p:nvCxnSpPr>
          <p:cNvPr id="18" name="Straight Connector 17">
            <a:extLst>
              <a:ext uri="{FF2B5EF4-FFF2-40B4-BE49-F238E27FC236}">
                <a16:creationId xmlns:a16="http://schemas.microsoft.com/office/drawing/2014/main" id="{41CAB97D-EA19-D9FE-F991-522930CF120A}"/>
              </a:ext>
            </a:extLst>
          </p:cNvPr>
          <p:cNvCxnSpPr>
            <a:cxnSpLocks/>
          </p:cNvCxnSpPr>
          <p:nvPr/>
        </p:nvCxnSpPr>
        <p:spPr>
          <a:xfrm>
            <a:off x="2209754" y="2078767"/>
            <a:ext cx="0" cy="1653207"/>
          </a:xfrm>
          <a:prstGeom prst="line">
            <a:avLst/>
          </a:prstGeom>
          <a:noFill/>
          <a:ln w="6350" cap="flat" cmpd="sng" algn="ctr">
            <a:solidFill>
              <a:sysClr val="window" lastClr="FFFFFF">
                <a:lumMod val="85000"/>
              </a:sysClr>
            </a:solidFill>
            <a:prstDash val="solid"/>
            <a:miter lim="800000"/>
          </a:ln>
          <a:effectLst/>
        </p:spPr>
      </p:cxnSp>
      <p:sp>
        <p:nvSpPr>
          <p:cNvPr id="19" name="TextBox 18">
            <a:extLst>
              <a:ext uri="{FF2B5EF4-FFF2-40B4-BE49-F238E27FC236}">
                <a16:creationId xmlns:a16="http://schemas.microsoft.com/office/drawing/2014/main" id="{7828CBB8-2B8B-BEED-20ED-87B3803625EC}"/>
              </a:ext>
            </a:extLst>
          </p:cNvPr>
          <p:cNvSpPr txBox="1"/>
          <p:nvPr/>
        </p:nvSpPr>
        <p:spPr>
          <a:xfrm>
            <a:off x="2612220" y="2819963"/>
            <a:ext cx="1564352" cy="43063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it-IT" sz="1100" b="0" i="0" u="none" strike="noStrike" kern="0" cap="none" spc="0" normalizeH="0" baseline="0" noProof="0">
                <a:ln>
                  <a:noFill/>
                </a:ln>
                <a:solidFill>
                  <a:prstClr val="black"/>
                </a:solidFill>
                <a:effectLst/>
                <a:uLnTx/>
                <a:uFillTx/>
                <a:latin typeface="Calibri"/>
                <a:ea typeface="+mn-ea"/>
                <a:cs typeface="+mn-cs"/>
              </a:rPr>
              <a:t>Digital Commerce Testing</a:t>
            </a:r>
          </a:p>
        </p:txBody>
      </p:sp>
      <p:sp>
        <p:nvSpPr>
          <p:cNvPr id="20" name="TextBox 19">
            <a:extLst>
              <a:ext uri="{FF2B5EF4-FFF2-40B4-BE49-F238E27FC236}">
                <a16:creationId xmlns:a16="http://schemas.microsoft.com/office/drawing/2014/main" id="{7F11FEFA-963A-B823-62E9-1F70CE1D298A}"/>
              </a:ext>
            </a:extLst>
          </p:cNvPr>
          <p:cNvSpPr txBox="1"/>
          <p:nvPr/>
        </p:nvSpPr>
        <p:spPr>
          <a:xfrm>
            <a:off x="2612220" y="2393021"/>
            <a:ext cx="1564352" cy="43063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ERP &amp; Package Applications Testing</a:t>
            </a:r>
          </a:p>
        </p:txBody>
      </p:sp>
      <p:sp>
        <p:nvSpPr>
          <p:cNvPr id="21" name="TextBox 20">
            <a:extLst>
              <a:ext uri="{FF2B5EF4-FFF2-40B4-BE49-F238E27FC236}">
                <a16:creationId xmlns:a16="http://schemas.microsoft.com/office/drawing/2014/main" id="{461B1B3A-25DC-4FBB-5E0D-09C4EDB66279}"/>
              </a:ext>
            </a:extLst>
          </p:cNvPr>
          <p:cNvSpPr txBox="1"/>
          <p:nvPr/>
        </p:nvSpPr>
        <p:spPr>
          <a:xfrm>
            <a:off x="2612220" y="3246905"/>
            <a:ext cx="1564352" cy="268899"/>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Platform Engineering</a:t>
            </a:r>
          </a:p>
        </p:txBody>
      </p:sp>
      <p:sp>
        <p:nvSpPr>
          <p:cNvPr id="22" name="TextBox 21">
            <a:extLst>
              <a:ext uri="{FF2B5EF4-FFF2-40B4-BE49-F238E27FC236}">
                <a16:creationId xmlns:a16="http://schemas.microsoft.com/office/drawing/2014/main" id="{CFF253EE-3CBC-0A4E-1759-4FC6755CBEB0}"/>
              </a:ext>
            </a:extLst>
          </p:cNvPr>
          <p:cNvSpPr txBox="1"/>
          <p:nvPr/>
        </p:nvSpPr>
        <p:spPr>
          <a:xfrm>
            <a:off x="2612220" y="3494580"/>
            <a:ext cx="1564352" cy="2688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Connected Enterprise</a:t>
            </a:r>
          </a:p>
        </p:txBody>
      </p:sp>
      <p:cxnSp>
        <p:nvCxnSpPr>
          <p:cNvPr id="24" name="Straight Connector 23">
            <a:extLst>
              <a:ext uri="{FF2B5EF4-FFF2-40B4-BE49-F238E27FC236}">
                <a16:creationId xmlns:a16="http://schemas.microsoft.com/office/drawing/2014/main" id="{18F9E7EC-6A34-5650-4CD2-1F609195A629}"/>
              </a:ext>
            </a:extLst>
          </p:cNvPr>
          <p:cNvCxnSpPr>
            <a:cxnSpLocks/>
          </p:cNvCxnSpPr>
          <p:nvPr/>
        </p:nvCxnSpPr>
        <p:spPr>
          <a:xfrm flipH="1">
            <a:off x="2708329" y="2831893"/>
            <a:ext cx="1274370" cy="0"/>
          </a:xfrm>
          <a:prstGeom prst="line">
            <a:avLst/>
          </a:prstGeom>
          <a:noFill/>
          <a:ln w="6350" cap="flat" cmpd="sng" algn="ctr">
            <a:solidFill>
              <a:sysClr val="window" lastClr="FFFFFF">
                <a:lumMod val="85000"/>
              </a:sysClr>
            </a:solidFill>
            <a:prstDash val="solid"/>
            <a:miter lim="800000"/>
          </a:ln>
          <a:effectLst/>
        </p:spPr>
      </p:cxnSp>
      <p:cxnSp>
        <p:nvCxnSpPr>
          <p:cNvPr id="28" name="Straight Connector 27">
            <a:extLst>
              <a:ext uri="{FF2B5EF4-FFF2-40B4-BE49-F238E27FC236}">
                <a16:creationId xmlns:a16="http://schemas.microsoft.com/office/drawing/2014/main" id="{1F36EA0F-7075-9A8A-0879-ADAB79AD0EE4}"/>
              </a:ext>
            </a:extLst>
          </p:cNvPr>
          <p:cNvCxnSpPr>
            <a:cxnSpLocks/>
          </p:cNvCxnSpPr>
          <p:nvPr/>
        </p:nvCxnSpPr>
        <p:spPr>
          <a:xfrm flipH="1">
            <a:off x="2708329" y="3264953"/>
            <a:ext cx="1274370" cy="0"/>
          </a:xfrm>
          <a:prstGeom prst="line">
            <a:avLst/>
          </a:prstGeom>
          <a:noFill/>
          <a:ln w="6350" cap="flat" cmpd="sng" algn="ctr">
            <a:solidFill>
              <a:sysClr val="window" lastClr="FFFFFF">
                <a:lumMod val="85000"/>
              </a:sysClr>
            </a:solidFill>
            <a:prstDash val="solid"/>
            <a:miter lim="800000"/>
          </a:ln>
          <a:effectLst/>
        </p:spPr>
      </p:cxnSp>
      <p:cxnSp>
        <p:nvCxnSpPr>
          <p:cNvPr id="29" name="Straight Connector 28">
            <a:extLst>
              <a:ext uri="{FF2B5EF4-FFF2-40B4-BE49-F238E27FC236}">
                <a16:creationId xmlns:a16="http://schemas.microsoft.com/office/drawing/2014/main" id="{CD4D6898-5791-7613-5530-FE358B5F85C1}"/>
              </a:ext>
            </a:extLst>
          </p:cNvPr>
          <p:cNvCxnSpPr>
            <a:cxnSpLocks/>
          </p:cNvCxnSpPr>
          <p:nvPr/>
        </p:nvCxnSpPr>
        <p:spPr>
          <a:xfrm flipH="1">
            <a:off x="2708329" y="3515804"/>
            <a:ext cx="1274370" cy="0"/>
          </a:xfrm>
          <a:prstGeom prst="line">
            <a:avLst/>
          </a:prstGeom>
          <a:noFill/>
          <a:ln w="6350" cap="flat" cmpd="sng" algn="ctr">
            <a:solidFill>
              <a:sysClr val="window" lastClr="FFFFFF">
                <a:lumMod val="85000"/>
              </a:sysClr>
            </a:solidFill>
            <a:prstDash val="solid"/>
            <a:miter lim="800000"/>
          </a:ln>
          <a:effectLst/>
        </p:spPr>
      </p:cxnSp>
      <p:cxnSp>
        <p:nvCxnSpPr>
          <p:cNvPr id="30" name="Straight Connector 29">
            <a:extLst>
              <a:ext uri="{FF2B5EF4-FFF2-40B4-BE49-F238E27FC236}">
                <a16:creationId xmlns:a16="http://schemas.microsoft.com/office/drawing/2014/main" id="{16941E1E-361E-322F-3010-5EAD728F03E5}"/>
              </a:ext>
            </a:extLst>
          </p:cNvPr>
          <p:cNvCxnSpPr>
            <a:cxnSpLocks/>
          </p:cNvCxnSpPr>
          <p:nvPr/>
        </p:nvCxnSpPr>
        <p:spPr>
          <a:xfrm flipH="1">
            <a:off x="2279012" y="2406893"/>
            <a:ext cx="1703688" cy="0"/>
          </a:xfrm>
          <a:prstGeom prst="line">
            <a:avLst/>
          </a:prstGeom>
          <a:noFill/>
          <a:ln w="6350" cap="flat" cmpd="sng" algn="ctr">
            <a:solidFill>
              <a:srgbClr val="4C4C4E"/>
            </a:solidFill>
            <a:prstDash val="solid"/>
            <a:miter lim="800000"/>
          </a:ln>
          <a:effectLst/>
        </p:spPr>
      </p:cxnSp>
      <p:pic>
        <p:nvPicPr>
          <p:cNvPr id="31" name="Picture 30">
            <a:extLst>
              <a:ext uri="{FF2B5EF4-FFF2-40B4-BE49-F238E27FC236}">
                <a16:creationId xmlns:a16="http://schemas.microsoft.com/office/drawing/2014/main" id="{77AC4BE9-8A8A-0231-F424-6CB488939789}"/>
              </a:ext>
            </a:extLst>
          </p:cNvPr>
          <p:cNvPicPr>
            <a:picLocks noChangeAspect="1"/>
          </p:cNvPicPr>
          <p:nvPr/>
        </p:nvPicPr>
        <p:blipFill>
          <a:blip r:embed="rId4"/>
          <a:stretch>
            <a:fillRect/>
          </a:stretch>
        </p:blipFill>
        <p:spPr>
          <a:xfrm>
            <a:off x="2350093" y="2078767"/>
            <a:ext cx="256822" cy="256940"/>
          </a:xfrm>
          <a:prstGeom prst="rect">
            <a:avLst/>
          </a:prstGeom>
        </p:spPr>
      </p:pic>
      <p:grpSp>
        <p:nvGrpSpPr>
          <p:cNvPr id="32" name="Group 31">
            <a:extLst>
              <a:ext uri="{FF2B5EF4-FFF2-40B4-BE49-F238E27FC236}">
                <a16:creationId xmlns:a16="http://schemas.microsoft.com/office/drawing/2014/main" id="{6DDE8E8D-4824-B685-0B5F-7C35BB5713DC}"/>
              </a:ext>
            </a:extLst>
          </p:cNvPr>
          <p:cNvGrpSpPr/>
          <p:nvPr/>
        </p:nvGrpSpPr>
        <p:grpSpPr>
          <a:xfrm>
            <a:off x="2318383" y="4033384"/>
            <a:ext cx="2112984" cy="1834614"/>
            <a:chOff x="397908" y="2125469"/>
            <a:chExt cx="2177640" cy="1950688"/>
          </a:xfrm>
        </p:grpSpPr>
        <p:sp>
          <p:nvSpPr>
            <p:cNvPr id="33" name="TextBox 32">
              <a:extLst>
                <a:ext uri="{FF2B5EF4-FFF2-40B4-BE49-F238E27FC236}">
                  <a16:creationId xmlns:a16="http://schemas.microsoft.com/office/drawing/2014/main" id="{D879D08B-6366-3EF4-ABB2-8FD7899272B1}"/>
                </a:ext>
              </a:extLst>
            </p:cNvPr>
            <p:cNvSpPr txBox="1"/>
            <p:nvPr/>
          </p:nvSpPr>
          <p:spPr>
            <a:xfrm>
              <a:off x="674177" y="2125469"/>
              <a:ext cx="1901371" cy="285912"/>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4D4D4F"/>
                  </a:solidFill>
                  <a:effectLst/>
                  <a:uLnTx/>
                  <a:uFillTx/>
                  <a:latin typeface="Calibri"/>
                  <a:ea typeface="ＭＳ Ｐゴシック"/>
                  <a:cs typeface="+mn-cs"/>
                </a:rPr>
                <a:t>Quality Engineering</a:t>
              </a:r>
            </a:p>
          </p:txBody>
        </p:sp>
        <p:sp>
          <p:nvSpPr>
            <p:cNvPr id="34" name="TextBox 33">
              <a:extLst>
                <a:ext uri="{FF2B5EF4-FFF2-40B4-BE49-F238E27FC236}">
                  <a16:creationId xmlns:a16="http://schemas.microsoft.com/office/drawing/2014/main" id="{1506E028-5007-0C41-31F3-894213658FD1}"/>
                </a:ext>
              </a:extLst>
            </p:cNvPr>
            <p:cNvSpPr txBox="1"/>
            <p:nvPr/>
          </p:nvSpPr>
          <p:spPr>
            <a:xfrm>
              <a:off x="651512" y="2951994"/>
              <a:ext cx="1612220" cy="44152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it-IT" sz="1100" b="0" i="0" u="none" strike="noStrike" kern="0" cap="none" spc="0" normalizeH="0" baseline="0" noProof="0">
                  <a:ln>
                    <a:noFill/>
                  </a:ln>
                  <a:solidFill>
                    <a:prstClr val="black"/>
                  </a:solidFill>
                  <a:effectLst/>
                  <a:uLnTx/>
                  <a:uFillTx/>
                  <a:latin typeface="Calibri"/>
                  <a:ea typeface="+mn-ea"/>
                  <a:cs typeface="+mn-cs"/>
                </a:rPr>
                <a:t>Cognitive QA</a:t>
              </a:r>
            </a:p>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it-IT" sz="900" b="0" i="0" u="none" strike="noStrike" kern="0" cap="none" spc="0" normalizeH="0" baseline="0" noProof="0">
                  <a:ln>
                    <a:noFill/>
                  </a:ln>
                  <a:solidFill>
                    <a:prstClr val="black"/>
                  </a:solidFill>
                  <a:effectLst/>
                  <a:uLnTx/>
                  <a:uFillTx/>
                  <a:latin typeface="Calibri"/>
                  <a:ea typeface="+mn-ea"/>
                  <a:cs typeface="+mn-cs"/>
                </a:rPr>
                <a:t>(AI in Testing)</a:t>
              </a:r>
            </a:p>
          </p:txBody>
        </p:sp>
        <p:sp>
          <p:nvSpPr>
            <p:cNvPr id="45" name="TextBox 44">
              <a:extLst>
                <a:ext uri="{FF2B5EF4-FFF2-40B4-BE49-F238E27FC236}">
                  <a16:creationId xmlns:a16="http://schemas.microsoft.com/office/drawing/2014/main" id="{14B5EA18-CB58-8B69-A957-9C14A82F94CD}"/>
                </a:ext>
              </a:extLst>
            </p:cNvPr>
            <p:cNvSpPr txBox="1"/>
            <p:nvPr/>
          </p:nvSpPr>
          <p:spPr>
            <a:xfrm>
              <a:off x="651512" y="2441318"/>
              <a:ext cx="1612220" cy="572686"/>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GenAI-led Automation</a:t>
              </a:r>
            </a:p>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900" b="0" i="0" u="none" strike="noStrike" kern="0" cap="none" spc="0" normalizeH="0" baseline="0" noProof="0">
                  <a:ln>
                    <a:noFill/>
                  </a:ln>
                  <a:solidFill>
                    <a:prstClr val="black"/>
                  </a:solidFill>
                  <a:effectLst/>
                  <a:uLnTx/>
                  <a:uFillTx/>
                  <a:latin typeface="Calibri"/>
                  <a:ea typeface="+mn-ea"/>
                  <a:cs typeface="+mn-cs"/>
                </a:rPr>
                <a:t>Unified, AI enabled, TDD/BDD enabled, Data</a:t>
              </a:r>
            </a:p>
          </p:txBody>
        </p:sp>
        <p:sp>
          <p:nvSpPr>
            <p:cNvPr id="46" name="TextBox 45">
              <a:extLst>
                <a:ext uri="{FF2B5EF4-FFF2-40B4-BE49-F238E27FC236}">
                  <a16:creationId xmlns:a16="http://schemas.microsoft.com/office/drawing/2014/main" id="{FDEC7D92-731F-EA18-77E8-8038330F15B6}"/>
                </a:ext>
              </a:extLst>
            </p:cNvPr>
            <p:cNvSpPr txBox="1"/>
            <p:nvPr/>
          </p:nvSpPr>
          <p:spPr>
            <a:xfrm>
              <a:off x="651512" y="3334498"/>
              <a:ext cx="1612220" cy="285912"/>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DevSecTestOps</a:t>
              </a:r>
            </a:p>
          </p:txBody>
        </p:sp>
        <p:sp>
          <p:nvSpPr>
            <p:cNvPr id="47" name="TextBox 46">
              <a:extLst>
                <a:ext uri="{FF2B5EF4-FFF2-40B4-BE49-F238E27FC236}">
                  <a16:creationId xmlns:a16="http://schemas.microsoft.com/office/drawing/2014/main" id="{4B1C70E9-9778-EFF3-A22D-86342502688A}"/>
                </a:ext>
              </a:extLst>
            </p:cNvPr>
            <p:cNvSpPr txBox="1"/>
            <p:nvPr/>
          </p:nvSpPr>
          <p:spPr>
            <a:xfrm>
              <a:off x="651512" y="3618277"/>
              <a:ext cx="1612220" cy="45788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Testing Lifecycle Digitization</a:t>
              </a:r>
            </a:p>
          </p:txBody>
        </p:sp>
        <p:cxnSp>
          <p:nvCxnSpPr>
            <p:cNvPr id="48" name="Straight Connector 47">
              <a:extLst>
                <a:ext uri="{FF2B5EF4-FFF2-40B4-BE49-F238E27FC236}">
                  <a16:creationId xmlns:a16="http://schemas.microsoft.com/office/drawing/2014/main" id="{1FC61533-F4E3-C145-3F69-F397F03677FB}"/>
                </a:ext>
              </a:extLst>
            </p:cNvPr>
            <p:cNvCxnSpPr>
              <a:cxnSpLocks/>
            </p:cNvCxnSpPr>
            <p:nvPr/>
          </p:nvCxnSpPr>
          <p:spPr>
            <a:xfrm flipH="1">
              <a:off x="753315" y="2981271"/>
              <a:ext cx="1313364" cy="0"/>
            </a:xfrm>
            <a:prstGeom prst="line">
              <a:avLst/>
            </a:prstGeom>
            <a:noFill/>
            <a:ln w="6350" cap="flat" cmpd="sng" algn="ctr">
              <a:solidFill>
                <a:sysClr val="window" lastClr="FFFFFF">
                  <a:lumMod val="85000"/>
                </a:sysClr>
              </a:solidFill>
              <a:prstDash val="solid"/>
              <a:miter lim="800000"/>
            </a:ln>
            <a:effectLst/>
          </p:spPr>
        </p:cxnSp>
        <p:cxnSp>
          <p:nvCxnSpPr>
            <p:cNvPr id="49" name="Straight Connector 48">
              <a:extLst>
                <a:ext uri="{FF2B5EF4-FFF2-40B4-BE49-F238E27FC236}">
                  <a16:creationId xmlns:a16="http://schemas.microsoft.com/office/drawing/2014/main" id="{38B6B144-1E14-85BB-7185-0A9AA4F9E22C}"/>
                </a:ext>
              </a:extLst>
            </p:cNvPr>
            <p:cNvCxnSpPr>
              <a:cxnSpLocks/>
            </p:cNvCxnSpPr>
            <p:nvPr/>
          </p:nvCxnSpPr>
          <p:spPr>
            <a:xfrm flipH="1">
              <a:off x="753315" y="3334498"/>
              <a:ext cx="1313364" cy="0"/>
            </a:xfrm>
            <a:prstGeom prst="line">
              <a:avLst/>
            </a:prstGeom>
            <a:noFill/>
            <a:ln w="6350" cap="flat" cmpd="sng" algn="ctr">
              <a:solidFill>
                <a:sysClr val="window" lastClr="FFFFFF">
                  <a:lumMod val="85000"/>
                </a:sysClr>
              </a:solidFill>
              <a:prstDash val="solid"/>
              <a:miter lim="800000"/>
            </a:ln>
            <a:effectLst/>
          </p:spPr>
        </p:cxnSp>
        <p:cxnSp>
          <p:nvCxnSpPr>
            <p:cNvPr id="50" name="Straight Connector 49">
              <a:extLst>
                <a:ext uri="{FF2B5EF4-FFF2-40B4-BE49-F238E27FC236}">
                  <a16:creationId xmlns:a16="http://schemas.microsoft.com/office/drawing/2014/main" id="{0F3EAC7D-9E7F-18DA-F3B1-B1DD35C5E0A7}"/>
                </a:ext>
              </a:extLst>
            </p:cNvPr>
            <p:cNvCxnSpPr>
              <a:cxnSpLocks/>
            </p:cNvCxnSpPr>
            <p:nvPr/>
          </p:nvCxnSpPr>
          <p:spPr>
            <a:xfrm flipH="1">
              <a:off x="753315" y="3637940"/>
              <a:ext cx="1313364" cy="0"/>
            </a:xfrm>
            <a:prstGeom prst="line">
              <a:avLst/>
            </a:prstGeom>
            <a:noFill/>
            <a:ln w="6350" cap="flat" cmpd="sng" algn="ctr">
              <a:solidFill>
                <a:sysClr val="window" lastClr="FFFFFF">
                  <a:lumMod val="85000"/>
                </a:sysClr>
              </a:solidFill>
              <a:prstDash val="solid"/>
              <a:miter lim="800000"/>
            </a:ln>
            <a:effectLst/>
          </p:spPr>
        </p:cxnSp>
        <p:cxnSp>
          <p:nvCxnSpPr>
            <p:cNvPr id="51" name="Straight Connector 50">
              <a:extLst>
                <a:ext uri="{FF2B5EF4-FFF2-40B4-BE49-F238E27FC236}">
                  <a16:creationId xmlns:a16="http://schemas.microsoft.com/office/drawing/2014/main" id="{C770FC74-DF5C-82EE-51EB-B4DDDC003651}"/>
                </a:ext>
              </a:extLst>
            </p:cNvPr>
            <p:cNvCxnSpPr>
              <a:cxnSpLocks/>
            </p:cNvCxnSpPr>
            <p:nvPr/>
          </p:nvCxnSpPr>
          <p:spPr>
            <a:xfrm flipH="1">
              <a:off x="397908" y="2471636"/>
              <a:ext cx="1668771" cy="0"/>
            </a:xfrm>
            <a:prstGeom prst="line">
              <a:avLst/>
            </a:prstGeom>
            <a:noFill/>
            <a:ln w="6350" cap="flat" cmpd="sng" algn="ctr">
              <a:solidFill>
                <a:srgbClr val="4C4C4E"/>
              </a:solidFill>
              <a:prstDash val="solid"/>
              <a:miter lim="800000"/>
            </a:ln>
            <a:effectLst/>
          </p:spPr>
        </p:cxnSp>
        <p:grpSp>
          <p:nvGrpSpPr>
            <p:cNvPr id="52" name="Graphic 227">
              <a:extLst>
                <a:ext uri="{FF2B5EF4-FFF2-40B4-BE49-F238E27FC236}">
                  <a16:creationId xmlns:a16="http://schemas.microsoft.com/office/drawing/2014/main" id="{F02F4354-07D0-5D6A-89C5-6AECBA7B67BB}"/>
                </a:ext>
              </a:extLst>
            </p:cNvPr>
            <p:cNvGrpSpPr/>
            <p:nvPr/>
          </p:nvGrpSpPr>
          <p:grpSpPr>
            <a:xfrm>
              <a:off x="430545" y="2189306"/>
              <a:ext cx="251868" cy="218053"/>
              <a:chOff x="5123838" y="4063157"/>
              <a:chExt cx="290475" cy="243637"/>
            </a:xfrm>
          </p:grpSpPr>
          <p:sp>
            <p:nvSpPr>
              <p:cNvPr id="1325" name="Freeform: Shape 1324">
                <a:extLst>
                  <a:ext uri="{FF2B5EF4-FFF2-40B4-BE49-F238E27FC236}">
                    <a16:creationId xmlns:a16="http://schemas.microsoft.com/office/drawing/2014/main" id="{7D29A317-16E2-7CC6-7E9E-35D14B34220D}"/>
                  </a:ext>
                </a:extLst>
              </p:cNvPr>
              <p:cNvSpPr/>
              <p:nvPr/>
            </p:nvSpPr>
            <p:spPr>
              <a:xfrm>
                <a:off x="5173673" y="4201333"/>
                <a:ext cx="55473" cy="55473"/>
              </a:xfrm>
              <a:custGeom>
                <a:avLst/>
                <a:gdLst>
                  <a:gd name="connsiteX0" fmla="*/ 27686 w 55473"/>
                  <a:gd name="connsiteY0" fmla="*/ 55474 h 55473"/>
                  <a:gd name="connsiteX1" fmla="*/ 55474 w 55473"/>
                  <a:gd name="connsiteY1" fmla="*/ 27788 h 55473"/>
                  <a:gd name="connsiteX2" fmla="*/ 27787 w 55473"/>
                  <a:gd name="connsiteY2" fmla="*/ 0 h 55473"/>
                  <a:gd name="connsiteX3" fmla="*/ 0 w 55473"/>
                  <a:gd name="connsiteY3" fmla="*/ 27635 h 55473"/>
                  <a:gd name="connsiteX4" fmla="*/ 27686 w 55473"/>
                  <a:gd name="connsiteY4" fmla="*/ 55372 h 55473"/>
                  <a:gd name="connsiteX5" fmla="*/ 27686 w 55473"/>
                  <a:gd name="connsiteY5" fmla="*/ 9906 h 55473"/>
                  <a:gd name="connsiteX6" fmla="*/ 45466 w 55473"/>
                  <a:gd name="connsiteY6" fmla="*/ 27584 h 55473"/>
                  <a:gd name="connsiteX7" fmla="*/ 27788 w 55473"/>
                  <a:gd name="connsiteY7" fmla="*/ 45364 h 55473"/>
                  <a:gd name="connsiteX8" fmla="*/ 10008 w 55473"/>
                  <a:gd name="connsiteY8" fmla="*/ 27686 h 55473"/>
                  <a:gd name="connsiteX9" fmla="*/ 10008 w 55473"/>
                  <a:gd name="connsiteY9" fmla="*/ 27635 h 55473"/>
                  <a:gd name="connsiteX10" fmla="*/ 27686 w 55473"/>
                  <a:gd name="connsiteY10" fmla="*/ 9957 h 5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473" h="55473">
                    <a:moveTo>
                      <a:pt x="27686" y="55474"/>
                    </a:moveTo>
                    <a:cubicBezTo>
                      <a:pt x="43005" y="55502"/>
                      <a:pt x="55446" y="43106"/>
                      <a:pt x="55474" y="27788"/>
                    </a:cubicBezTo>
                    <a:cubicBezTo>
                      <a:pt x="55502" y="12469"/>
                      <a:pt x="43106" y="28"/>
                      <a:pt x="27787" y="0"/>
                    </a:cubicBezTo>
                    <a:cubicBezTo>
                      <a:pt x="12489" y="-28"/>
                      <a:pt x="56" y="12337"/>
                      <a:pt x="0" y="27635"/>
                    </a:cubicBezTo>
                    <a:cubicBezTo>
                      <a:pt x="0" y="42934"/>
                      <a:pt x="12387" y="55344"/>
                      <a:pt x="27686" y="55372"/>
                    </a:cubicBezTo>
                    <a:moveTo>
                      <a:pt x="27686" y="9906"/>
                    </a:moveTo>
                    <a:cubicBezTo>
                      <a:pt x="37478" y="9878"/>
                      <a:pt x="45438" y="17793"/>
                      <a:pt x="45466" y="27584"/>
                    </a:cubicBezTo>
                    <a:cubicBezTo>
                      <a:pt x="45494" y="37376"/>
                      <a:pt x="37579" y="45336"/>
                      <a:pt x="27788" y="45364"/>
                    </a:cubicBezTo>
                    <a:cubicBezTo>
                      <a:pt x="17996" y="45392"/>
                      <a:pt x="10036" y="37477"/>
                      <a:pt x="10008" y="27686"/>
                    </a:cubicBezTo>
                    <a:cubicBezTo>
                      <a:pt x="10008" y="27669"/>
                      <a:pt x="10008" y="27652"/>
                      <a:pt x="10008" y="27635"/>
                    </a:cubicBezTo>
                    <a:cubicBezTo>
                      <a:pt x="10036" y="17883"/>
                      <a:pt x="17934" y="9985"/>
                      <a:pt x="27686" y="9957"/>
                    </a:cubicBezTo>
                  </a:path>
                </a:pathLst>
              </a:custGeom>
              <a:solidFill>
                <a:srgbClr val="231F2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6" name="Freeform: Shape 1325">
                <a:extLst>
                  <a:ext uri="{FF2B5EF4-FFF2-40B4-BE49-F238E27FC236}">
                    <a16:creationId xmlns:a16="http://schemas.microsoft.com/office/drawing/2014/main" id="{92DFA27C-16DC-74C3-4861-AD761100742B}"/>
                  </a:ext>
                </a:extLst>
              </p:cNvPr>
              <p:cNvSpPr/>
              <p:nvPr/>
            </p:nvSpPr>
            <p:spPr>
              <a:xfrm>
                <a:off x="5123838" y="4151092"/>
                <a:ext cx="154737" cy="155702"/>
              </a:xfrm>
              <a:custGeom>
                <a:avLst/>
                <a:gdLst>
                  <a:gd name="connsiteX0" fmla="*/ 4623 w 154737"/>
                  <a:gd name="connsiteY0" fmla="*/ 93117 h 155702"/>
                  <a:gd name="connsiteX1" fmla="*/ 23521 w 154737"/>
                  <a:gd name="connsiteY1" fmla="*/ 95453 h 155702"/>
                  <a:gd name="connsiteX2" fmla="*/ 27178 w 154737"/>
                  <a:gd name="connsiteY2" fmla="*/ 104293 h 155702"/>
                  <a:gd name="connsiteX3" fmla="*/ 15189 w 154737"/>
                  <a:gd name="connsiteY3" fmla="*/ 119533 h 155702"/>
                  <a:gd name="connsiteX4" fmla="*/ 15596 w 154737"/>
                  <a:gd name="connsiteY4" fmla="*/ 126086 h 155702"/>
                  <a:gd name="connsiteX5" fmla="*/ 29566 w 154737"/>
                  <a:gd name="connsiteY5" fmla="*/ 140056 h 155702"/>
                  <a:gd name="connsiteX6" fmla="*/ 36170 w 154737"/>
                  <a:gd name="connsiteY6" fmla="*/ 140462 h 155702"/>
                  <a:gd name="connsiteX7" fmla="*/ 51410 w 154737"/>
                  <a:gd name="connsiteY7" fmla="*/ 128778 h 155702"/>
                  <a:gd name="connsiteX8" fmla="*/ 60300 w 154737"/>
                  <a:gd name="connsiteY8" fmla="*/ 132436 h 155702"/>
                  <a:gd name="connsiteX9" fmla="*/ 62637 w 154737"/>
                  <a:gd name="connsiteY9" fmla="*/ 151333 h 155702"/>
                  <a:gd name="connsiteX10" fmla="*/ 67717 w 154737"/>
                  <a:gd name="connsiteY10" fmla="*/ 155702 h 155702"/>
                  <a:gd name="connsiteX11" fmla="*/ 87732 w 154737"/>
                  <a:gd name="connsiteY11" fmla="*/ 155702 h 155702"/>
                  <a:gd name="connsiteX12" fmla="*/ 92812 w 154737"/>
                  <a:gd name="connsiteY12" fmla="*/ 151333 h 155702"/>
                  <a:gd name="connsiteX13" fmla="*/ 95199 w 154737"/>
                  <a:gd name="connsiteY13" fmla="*/ 132436 h 155702"/>
                  <a:gd name="connsiteX14" fmla="*/ 104039 w 154737"/>
                  <a:gd name="connsiteY14" fmla="*/ 128778 h 155702"/>
                  <a:gd name="connsiteX15" fmla="*/ 119025 w 154737"/>
                  <a:gd name="connsiteY15" fmla="*/ 140462 h 155702"/>
                  <a:gd name="connsiteX16" fmla="*/ 125679 w 154737"/>
                  <a:gd name="connsiteY16" fmla="*/ 140107 h 155702"/>
                  <a:gd name="connsiteX17" fmla="*/ 139649 w 154737"/>
                  <a:gd name="connsiteY17" fmla="*/ 126137 h 155702"/>
                  <a:gd name="connsiteX18" fmla="*/ 140056 w 154737"/>
                  <a:gd name="connsiteY18" fmla="*/ 119533 h 155702"/>
                  <a:gd name="connsiteX19" fmla="*/ 128321 w 154737"/>
                  <a:gd name="connsiteY19" fmla="*/ 104293 h 155702"/>
                  <a:gd name="connsiteX20" fmla="*/ 131979 w 154737"/>
                  <a:gd name="connsiteY20" fmla="*/ 95453 h 155702"/>
                  <a:gd name="connsiteX21" fmla="*/ 150317 w 154737"/>
                  <a:gd name="connsiteY21" fmla="*/ 93117 h 155702"/>
                  <a:gd name="connsiteX22" fmla="*/ 154737 w 154737"/>
                  <a:gd name="connsiteY22" fmla="*/ 88037 h 155702"/>
                  <a:gd name="connsiteX23" fmla="*/ 154737 w 154737"/>
                  <a:gd name="connsiteY23" fmla="*/ 67717 h 155702"/>
                  <a:gd name="connsiteX24" fmla="*/ 150317 w 154737"/>
                  <a:gd name="connsiteY24" fmla="*/ 62637 h 155702"/>
                  <a:gd name="connsiteX25" fmla="*/ 131420 w 154737"/>
                  <a:gd name="connsiteY25" fmla="*/ 60300 h 155702"/>
                  <a:gd name="connsiteX26" fmla="*/ 127762 w 154737"/>
                  <a:gd name="connsiteY26" fmla="*/ 51461 h 155702"/>
                  <a:gd name="connsiteX27" fmla="*/ 139497 w 154737"/>
                  <a:gd name="connsiteY27" fmla="*/ 36221 h 155702"/>
                  <a:gd name="connsiteX28" fmla="*/ 139091 w 154737"/>
                  <a:gd name="connsiteY28" fmla="*/ 29617 h 155702"/>
                  <a:gd name="connsiteX29" fmla="*/ 125324 w 154737"/>
                  <a:gd name="connsiteY29" fmla="*/ 15951 h 155702"/>
                  <a:gd name="connsiteX30" fmla="*/ 118720 w 154737"/>
                  <a:gd name="connsiteY30" fmla="*/ 15545 h 155702"/>
                  <a:gd name="connsiteX31" fmla="*/ 103480 w 154737"/>
                  <a:gd name="connsiteY31" fmla="*/ 27229 h 155702"/>
                  <a:gd name="connsiteX32" fmla="*/ 94590 w 154737"/>
                  <a:gd name="connsiteY32" fmla="*/ 23267 h 155702"/>
                  <a:gd name="connsiteX33" fmla="*/ 92202 w 154737"/>
                  <a:gd name="connsiteY33" fmla="*/ 4369 h 155702"/>
                  <a:gd name="connsiteX34" fmla="*/ 87122 w 154737"/>
                  <a:gd name="connsiteY34" fmla="*/ 0 h 155702"/>
                  <a:gd name="connsiteX35" fmla="*/ 67361 w 154737"/>
                  <a:gd name="connsiteY35" fmla="*/ 0 h 155702"/>
                  <a:gd name="connsiteX36" fmla="*/ 62281 w 154737"/>
                  <a:gd name="connsiteY36" fmla="*/ 4369 h 155702"/>
                  <a:gd name="connsiteX37" fmla="*/ 60147 w 154737"/>
                  <a:gd name="connsiteY37" fmla="*/ 23267 h 155702"/>
                  <a:gd name="connsiteX38" fmla="*/ 51257 w 154737"/>
                  <a:gd name="connsiteY38" fmla="*/ 26924 h 155702"/>
                  <a:gd name="connsiteX39" fmla="*/ 36271 w 154737"/>
                  <a:gd name="connsiteY39" fmla="*/ 15240 h 155702"/>
                  <a:gd name="connsiteX40" fmla="*/ 29667 w 154737"/>
                  <a:gd name="connsiteY40" fmla="*/ 15647 h 155702"/>
                  <a:gd name="connsiteX41" fmla="*/ 15748 w 154737"/>
                  <a:gd name="connsiteY41" fmla="*/ 29871 h 155702"/>
                  <a:gd name="connsiteX42" fmla="*/ 15088 w 154737"/>
                  <a:gd name="connsiteY42" fmla="*/ 36475 h 155702"/>
                  <a:gd name="connsiteX43" fmla="*/ 26823 w 154737"/>
                  <a:gd name="connsiteY43" fmla="*/ 51715 h 155702"/>
                  <a:gd name="connsiteX44" fmla="*/ 23317 w 154737"/>
                  <a:gd name="connsiteY44" fmla="*/ 60757 h 155702"/>
                  <a:gd name="connsiteX45" fmla="*/ 4420 w 154737"/>
                  <a:gd name="connsiteY45" fmla="*/ 63094 h 155702"/>
                  <a:gd name="connsiteX46" fmla="*/ 0 w 154737"/>
                  <a:gd name="connsiteY46" fmla="*/ 68174 h 155702"/>
                  <a:gd name="connsiteX47" fmla="*/ 0 w 154737"/>
                  <a:gd name="connsiteY47" fmla="*/ 88037 h 155702"/>
                  <a:gd name="connsiteX48" fmla="*/ 4674 w 154737"/>
                  <a:gd name="connsiteY48" fmla="*/ 92812 h 155702"/>
                  <a:gd name="connsiteX49" fmla="*/ 10262 w 154737"/>
                  <a:gd name="connsiteY49" fmla="*/ 72492 h 155702"/>
                  <a:gd name="connsiteX50" fmla="*/ 28042 w 154737"/>
                  <a:gd name="connsiteY50" fmla="*/ 70257 h 155702"/>
                  <a:gd name="connsiteX51" fmla="*/ 32309 w 154737"/>
                  <a:gd name="connsiteY51" fmla="*/ 66497 h 155702"/>
                  <a:gd name="connsiteX52" fmla="*/ 37389 w 154737"/>
                  <a:gd name="connsiteY52" fmla="*/ 54001 h 155702"/>
                  <a:gd name="connsiteX53" fmla="*/ 37033 w 154737"/>
                  <a:gd name="connsiteY53" fmla="*/ 48311 h 155702"/>
                  <a:gd name="connsiteX54" fmla="*/ 25908 w 154737"/>
                  <a:gd name="connsiteY54" fmla="*/ 34189 h 155702"/>
                  <a:gd name="connsiteX55" fmla="*/ 33477 w 154737"/>
                  <a:gd name="connsiteY55" fmla="*/ 26416 h 155702"/>
                  <a:gd name="connsiteX56" fmla="*/ 47803 w 154737"/>
                  <a:gd name="connsiteY56" fmla="*/ 37237 h 155702"/>
                  <a:gd name="connsiteX57" fmla="*/ 53493 w 154737"/>
                  <a:gd name="connsiteY57" fmla="*/ 37592 h 155702"/>
                  <a:gd name="connsiteX58" fmla="*/ 65989 w 154737"/>
                  <a:gd name="connsiteY58" fmla="*/ 32512 h 155702"/>
                  <a:gd name="connsiteX59" fmla="*/ 69749 w 154737"/>
                  <a:gd name="connsiteY59" fmla="*/ 28245 h 155702"/>
                  <a:gd name="connsiteX60" fmla="*/ 71984 w 154737"/>
                  <a:gd name="connsiteY60" fmla="*/ 10414 h 155702"/>
                  <a:gd name="connsiteX61" fmla="*/ 82906 w 154737"/>
                  <a:gd name="connsiteY61" fmla="*/ 10414 h 155702"/>
                  <a:gd name="connsiteX62" fmla="*/ 85243 w 154737"/>
                  <a:gd name="connsiteY62" fmla="*/ 28397 h 155702"/>
                  <a:gd name="connsiteX63" fmla="*/ 89002 w 154737"/>
                  <a:gd name="connsiteY63" fmla="*/ 32614 h 155702"/>
                  <a:gd name="connsiteX64" fmla="*/ 101499 w 154737"/>
                  <a:gd name="connsiteY64" fmla="*/ 37694 h 155702"/>
                  <a:gd name="connsiteX65" fmla="*/ 107137 w 154737"/>
                  <a:gd name="connsiteY65" fmla="*/ 37338 h 155702"/>
                  <a:gd name="connsiteX66" fmla="*/ 121260 w 154737"/>
                  <a:gd name="connsiteY66" fmla="*/ 26315 h 155702"/>
                  <a:gd name="connsiteX67" fmla="*/ 129032 w 154737"/>
                  <a:gd name="connsiteY67" fmla="*/ 34087 h 155702"/>
                  <a:gd name="connsiteX68" fmla="*/ 118009 w 154737"/>
                  <a:gd name="connsiteY68" fmla="*/ 48209 h 155702"/>
                  <a:gd name="connsiteX69" fmla="*/ 117704 w 154737"/>
                  <a:gd name="connsiteY69" fmla="*/ 53899 h 155702"/>
                  <a:gd name="connsiteX70" fmla="*/ 122784 w 154737"/>
                  <a:gd name="connsiteY70" fmla="*/ 66396 h 155702"/>
                  <a:gd name="connsiteX71" fmla="*/ 127051 w 154737"/>
                  <a:gd name="connsiteY71" fmla="*/ 70155 h 155702"/>
                  <a:gd name="connsiteX72" fmla="*/ 144831 w 154737"/>
                  <a:gd name="connsiteY72" fmla="*/ 72390 h 155702"/>
                  <a:gd name="connsiteX73" fmla="*/ 144831 w 154737"/>
                  <a:gd name="connsiteY73" fmla="*/ 83465 h 155702"/>
                  <a:gd name="connsiteX74" fmla="*/ 127051 w 154737"/>
                  <a:gd name="connsiteY74" fmla="*/ 85700 h 155702"/>
                  <a:gd name="connsiteX75" fmla="*/ 122784 w 154737"/>
                  <a:gd name="connsiteY75" fmla="*/ 89408 h 155702"/>
                  <a:gd name="connsiteX76" fmla="*/ 117704 w 154737"/>
                  <a:gd name="connsiteY76" fmla="*/ 101956 h 155702"/>
                  <a:gd name="connsiteX77" fmla="*/ 118009 w 154737"/>
                  <a:gd name="connsiteY77" fmla="*/ 107595 h 155702"/>
                  <a:gd name="connsiteX78" fmla="*/ 129032 w 154737"/>
                  <a:gd name="connsiteY78" fmla="*/ 121768 h 155702"/>
                  <a:gd name="connsiteX79" fmla="*/ 121260 w 154737"/>
                  <a:gd name="connsiteY79" fmla="*/ 129489 h 155702"/>
                  <a:gd name="connsiteX80" fmla="*/ 107137 w 154737"/>
                  <a:gd name="connsiteY80" fmla="*/ 118771 h 155702"/>
                  <a:gd name="connsiteX81" fmla="*/ 101499 w 154737"/>
                  <a:gd name="connsiteY81" fmla="*/ 118517 h 155702"/>
                  <a:gd name="connsiteX82" fmla="*/ 89002 w 154737"/>
                  <a:gd name="connsiteY82" fmla="*/ 123597 h 155702"/>
                  <a:gd name="connsiteX83" fmla="*/ 85243 w 154737"/>
                  <a:gd name="connsiteY83" fmla="*/ 127864 h 155702"/>
                  <a:gd name="connsiteX84" fmla="*/ 82957 w 154737"/>
                  <a:gd name="connsiteY84" fmla="*/ 145644 h 155702"/>
                  <a:gd name="connsiteX85" fmla="*/ 72085 w 154737"/>
                  <a:gd name="connsiteY85" fmla="*/ 145644 h 155702"/>
                  <a:gd name="connsiteX86" fmla="*/ 69799 w 154737"/>
                  <a:gd name="connsiteY86" fmla="*/ 127864 h 155702"/>
                  <a:gd name="connsiteX87" fmla="*/ 66091 w 154737"/>
                  <a:gd name="connsiteY87" fmla="*/ 123597 h 155702"/>
                  <a:gd name="connsiteX88" fmla="*/ 53797 w 154737"/>
                  <a:gd name="connsiteY88" fmla="*/ 118517 h 155702"/>
                  <a:gd name="connsiteX89" fmla="*/ 48159 w 154737"/>
                  <a:gd name="connsiteY89" fmla="*/ 118872 h 155702"/>
                  <a:gd name="connsiteX90" fmla="*/ 34036 w 154737"/>
                  <a:gd name="connsiteY90" fmla="*/ 129845 h 155702"/>
                  <a:gd name="connsiteX91" fmla="*/ 26315 w 154737"/>
                  <a:gd name="connsiteY91" fmla="*/ 121819 h 155702"/>
                  <a:gd name="connsiteX92" fmla="*/ 37338 w 154737"/>
                  <a:gd name="connsiteY92" fmla="*/ 107645 h 155702"/>
                  <a:gd name="connsiteX93" fmla="*/ 37643 w 154737"/>
                  <a:gd name="connsiteY93" fmla="*/ 102007 h 155702"/>
                  <a:gd name="connsiteX94" fmla="*/ 32563 w 154737"/>
                  <a:gd name="connsiteY94" fmla="*/ 89510 h 155702"/>
                  <a:gd name="connsiteX95" fmla="*/ 28296 w 154737"/>
                  <a:gd name="connsiteY95" fmla="*/ 85751 h 155702"/>
                  <a:gd name="connsiteX96" fmla="*/ 10363 w 154737"/>
                  <a:gd name="connsiteY96" fmla="*/ 83820 h 15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4737" h="155702">
                    <a:moveTo>
                      <a:pt x="4623" y="93117"/>
                    </a:moveTo>
                    <a:lnTo>
                      <a:pt x="23521" y="95453"/>
                    </a:lnTo>
                    <a:cubicBezTo>
                      <a:pt x="24485" y="98499"/>
                      <a:pt x="25709" y="101456"/>
                      <a:pt x="27178" y="104293"/>
                    </a:cubicBezTo>
                    <a:lnTo>
                      <a:pt x="15189" y="119533"/>
                    </a:lnTo>
                    <a:cubicBezTo>
                      <a:pt x="13706" y="121523"/>
                      <a:pt x="13877" y="124294"/>
                      <a:pt x="15596" y="126086"/>
                    </a:cubicBezTo>
                    <a:lnTo>
                      <a:pt x="29566" y="140056"/>
                    </a:lnTo>
                    <a:cubicBezTo>
                      <a:pt x="31365" y="141803"/>
                      <a:pt x="34170" y="141976"/>
                      <a:pt x="36170" y="140462"/>
                    </a:cubicBezTo>
                    <a:lnTo>
                      <a:pt x="51410" y="128778"/>
                    </a:lnTo>
                    <a:cubicBezTo>
                      <a:pt x="54273" y="130227"/>
                      <a:pt x="57246" y="131450"/>
                      <a:pt x="60300" y="132436"/>
                    </a:cubicBezTo>
                    <a:lnTo>
                      <a:pt x="62637" y="151333"/>
                    </a:lnTo>
                    <a:cubicBezTo>
                      <a:pt x="62993" y="153858"/>
                      <a:pt x="65167" y="155727"/>
                      <a:pt x="67717" y="155702"/>
                    </a:cubicBezTo>
                    <a:lnTo>
                      <a:pt x="87732" y="155702"/>
                    </a:lnTo>
                    <a:cubicBezTo>
                      <a:pt x="90281" y="155727"/>
                      <a:pt x="92455" y="153858"/>
                      <a:pt x="92812" y="151333"/>
                    </a:cubicBezTo>
                    <a:lnTo>
                      <a:pt x="95199" y="132436"/>
                    </a:lnTo>
                    <a:cubicBezTo>
                      <a:pt x="98237" y="131450"/>
                      <a:pt x="101193" y="130227"/>
                      <a:pt x="104039" y="128778"/>
                    </a:cubicBezTo>
                    <a:lnTo>
                      <a:pt x="119025" y="140462"/>
                    </a:lnTo>
                    <a:cubicBezTo>
                      <a:pt x="121022" y="142019"/>
                      <a:pt x="123860" y="141867"/>
                      <a:pt x="125679" y="140107"/>
                    </a:cubicBezTo>
                    <a:lnTo>
                      <a:pt x="139649" y="126137"/>
                    </a:lnTo>
                    <a:cubicBezTo>
                      <a:pt x="141396" y="124337"/>
                      <a:pt x="141569" y="121533"/>
                      <a:pt x="140056" y="119533"/>
                    </a:cubicBezTo>
                    <a:lnTo>
                      <a:pt x="128321" y="104293"/>
                    </a:lnTo>
                    <a:cubicBezTo>
                      <a:pt x="129791" y="101456"/>
                      <a:pt x="131014" y="98499"/>
                      <a:pt x="131979" y="95453"/>
                    </a:cubicBezTo>
                    <a:lnTo>
                      <a:pt x="150317" y="93117"/>
                    </a:lnTo>
                    <a:cubicBezTo>
                      <a:pt x="152862" y="92783"/>
                      <a:pt x="154759" y="90604"/>
                      <a:pt x="154737" y="88037"/>
                    </a:cubicBezTo>
                    <a:lnTo>
                      <a:pt x="154737" y="67717"/>
                    </a:lnTo>
                    <a:cubicBezTo>
                      <a:pt x="154759" y="65150"/>
                      <a:pt x="152862" y="62970"/>
                      <a:pt x="150317" y="62637"/>
                    </a:cubicBezTo>
                    <a:lnTo>
                      <a:pt x="131420" y="60300"/>
                    </a:lnTo>
                    <a:cubicBezTo>
                      <a:pt x="130465" y="57251"/>
                      <a:pt x="129240" y="54293"/>
                      <a:pt x="127762" y="51461"/>
                    </a:cubicBezTo>
                    <a:lnTo>
                      <a:pt x="139497" y="36221"/>
                    </a:lnTo>
                    <a:cubicBezTo>
                      <a:pt x="141010" y="34221"/>
                      <a:pt x="140838" y="31416"/>
                      <a:pt x="139091" y="29617"/>
                    </a:cubicBezTo>
                    <a:lnTo>
                      <a:pt x="125324" y="15951"/>
                    </a:lnTo>
                    <a:cubicBezTo>
                      <a:pt x="123524" y="14204"/>
                      <a:pt x="120720" y="14032"/>
                      <a:pt x="118720" y="15545"/>
                    </a:cubicBezTo>
                    <a:lnTo>
                      <a:pt x="103480" y="27229"/>
                    </a:lnTo>
                    <a:cubicBezTo>
                      <a:pt x="100633" y="25661"/>
                      <a:pt x="97659" y="24335"/>
                      <a:pt x="94590" y="23267"/>
                    </a:cubicBezTo>
                    <a:lnTo>
                      <a:pt x="92202" y="4369"/>
                    </a:lnTo>
                    <a:cubicBezTo>
                      <a:pt x="91845" y="1844"/>
                      <a:pt x="89672" y="-25"/>
                      <a:pt x="87122" y="0"/>
                    </a:cubicBezTo>
                    <a:lnTo>
                      <a:pt x="67361" y="0"/>
                    </a:lnTo>
                    <a:cubicBezTo>
                      <a:pt x="64811" y="-25"/>
                      <a:pt x="62638" y="1844"/>
                      <a:pt x="62281" y="4369"/>
                    </a:cubicBezTo>
                    <a:lnTo>
                      <a:pt x="60147" y="23267"/>
                    </a:lnTo>
                    <a:cubicBezTo>
                      <a:pt x="57082" y="24222"/>
                      <a:pt x="54107" y="25445"/>
                      <a:pt x="51257" y="26924"/>
                    </a:cubicBezTo>
                    <a:lnTo>
                      <a:pt x="36271" y="15240"/>
                    </a:lnTo>
                    <a:cubicBezTo>
                      <a:pt x="34271" y="13727"/>
                      <a:pt x="31467" y="13900"/>
                      <a:pt x="29667" y="15647"/>
                    </a:cubicBezTo>
                    <a:lnTo>
                      <a:pt x="15748" y="29871"/>
                    </a:lnTo>
                    <a:cubicBezTo>
                      <a:pt x="13922" y="31604"/>
                      <a:pt x="13641" y="34414"/>
                      <a:pt x="15088" y="36475"/>
                    </a:cubicBezTo>
                    <a:lnTo>
                      <a:pt x="26823" y="51715"/>
                    </a:lnTo>
                    <a:cubicBezTo>
                      <a:pt x="25406" y="54626"/>
                      <a:pt x="24233" y="57651"/>
                      <a:pt x="23317" y="60757"/>
                    </a:cubicBezTo>
                    <a:lnTo>
                      <a:pt x="4420" y="63094"/>
                    </a:lnTo>
                    <a:cubicBezTo>
                      <a:pt x="1875" y="63428"/>
                      <a:pt x="-22" y="65607"/>
                      <a:pt x="0" y="68174"/>
                    </a:cubicBezTo>
                    <a:lnTo>
                      <a:pt x="0" y="88037"/>
                    </a:lnTo>
                    <a:cubicBezTo>
                      <a:pt x="145" y="90573"/>
                      <a:pt x="2141" y="92613"/>
                      <a:pt x="4674" y="92812"/>
                    </a:cubicBezTo>
                    <a:moveTo>
                      <a:pt x="10262" y="72492"/>
                    </a:moveTo>
                    <a:lnTo>
                      <a:pt x="28042" y="70257"/>
                    </a:lnTo>
                    <a:cubicBezTo>
                      <a:pt x="30098" y="69992"/>
                      <a:pt x="31787" y="68504"/>
                      <a:pt x="32309" y="66497"/>
                    </a:cubicBezTo>
                    <a:cubicBezTo>
                      <a:pt x="33389" y="62108"/>
                      <a:pt x="35100" y="57899"/>
                      <a:pt x="37389" y="54001"/>
                    </a:cubicBezTo>
                    <a:cubicBezTo>
                      <a:pt x="38446" y="52210"/>
                      <a:pt x="38305" y="49956"/>
                      <a:pt x="37033" y="48311"/>
                    </a:cubicBezTo>
                    <a:lnTo>
                      <a:pt x="25908" y="34189"/>
                    </a:lnTo>
                    <a:lnTo>
                      <a:pt x="33477" y="26416"/>
                    </a:lnTo>
                    <a:lnTo>
                      <a:pt x="47803" y="37237"/>
                    </a:lnTo>
                    <a:cubicBezTo>
                      <a:pt x="49448" y="38509"/>
                      <a:pt x="51702" y="38649"/>
                      <a:pt x="53493" y="37592"/>
                    </a:cubicBezTo>
                    <a:cubicBezTo>
                      <a:pt x="57371" y="35263"/>
                      <a:pt x="61586" y="33549"/>
                      <a:pt x="65989" y="32512"/>
                    </a:cubicBezTo>
                    <a:cubicBezTo>
                      <a:pt x="67996" y="31990"/>
                      <a:pt x="69484" y="30301"/>
                      <a:pt x="69749" y="28245"/>
                    </a:cubicBezTo>
                    <a:lnTo>
                      <a:pt x="71984" y="10414"/>
                    </a:lnTo>
                    <a:lnTo>
                      <a:pt x="82906" y="10414"/>
                    </a:lnTo>
                    <a:lnTo>
                      <a:pt x="85243" y="28397"/>
                    </a:lnTo>
                    <a:cubicBezTo>
                      <a:pt x="85527" y="30434"/>
                      <a:pt x="87011" y="32099"/>
                      <a:pt x="89002" y="32614"/>
                    </a:cubicBezTo>
                    <a:cubicBezTo>
                      <a:pt x="93391" y="33694"/>
                      <a:pt x="97601" y="35405"/>
                      <a:pt x="101499" y="37694"/>
                    </a:cubicBezTo>
                    <a:cubicBezTo>
                      <a:pt x="103277" y="38728"/>
                      <a:pt x="105503" y="38587"/>
                      <a:pt x="107137" y="37338"/>
                    </a:cubicBezTo>
                    <a:lnTo>
                      <a:pt x="121260" y="26315"/>
                    </a:lnTo>
                    <a:lnTo>
                      <a:pt x="129032" y="34087"/>
                    </a:lnTo>
                    <a:lnTo>
                      <a:pt x="118009" y="48209"/>
                    </a:lnTo>
                    <a:cubicBezTo>
                      <a:pt x="116753" y="49865"/>
                      <a:pt x="116632" y="52119"/>
                      <a:pt x="117704" y="53899"/>
                    </a:cubicBezTo>
                    <a:cubicBezTo>
                      <a:pt x="119973" y="57807"/>
                      <a:pt x="121683" y="62013"/>
                      <a:pt x="122784" y="66396"/>
                    </a:cubicBezTo>
                    <a:cubicBezTo>
                      <a:pt x="123306" y="68402"/>
                      <a:pt x="124995" y="69890"/>
                      <a:pt x="127051" y="70155"/>
                    </a:cubicBezTo>
                    <a:lnTo>
                      <a:pt x="144831" y="72390"/>
                    </a:lnTo>
                    <a:lnTo>
                      <a:pt x="144831" y="83465"/>
                    </a:lnTo>
                    <a:lnTo>
                      <a:pt x="127051" y="85700"/>
                    </a:lnTo>
                    <a:cubicBezTo>
                      <a:pt x="125009" y="85957"/>
                      <a:pt x="123323" y="87421"/>
                      <a:pt x="122784" y="89408"/>
                    </a:cubicBezTo>
                    <a:cubicBezTo>
                      <a:pt x="121692" y="93810"/>
                      <a:pt x="119982" y="98035"/>
                      <a:pt x="117704" y="101956"/>
                    </a:cubicBezTo>
                    <a:cubicBezTo>
                      <a:pt x="116655" y="103724"/>
                      <a:pt x="116775" y="105950"/>
                      <a:pt x="118009" y="107595"/>
                    </a:cubicBezTo>
                    <a:lnTo>
                      <a:pt x="129032" y="121768"/>
                    </a:lnTo>
                    <a:lnTo>
                      <a:pt x="121260" y="129489"/>
                    </a:lnTo>
                    <a:lnTo>
                      <a:pt x="107137" y="118771"/>
                    </a:lnTo>
                    <a:cubicBezTo>
                      <a:pt x="105482" y="117553"/>
                      <a:pt x="103257" y="117453"/>
                      <a:pt x="101499" y="118517"/>
                    </a:cubicBezTo>
                    <a:cubicBezTo>
                      <a:pt x="97591" y="120786"/>
                      <a:pt x="93384" y="122496"/>
                      <a:pt x="89002" y="123597"/>
                    </a:cubicBezTo>
                    <a:cubicBezTo>
                      <a:pt x="86995" y="124119"/>
                      <a:pt x="85507" y="125807"/>
                      <a:pt x="85243" y="127864"/>
                    </a:cubicBezTo>
                    <a:lnTo>
                      <a:pt x="82957" y="145644"/>
                    </a:lnTo>
                    <a:lnTo>
                      <a:pt x="72085" y="145644"/>
                    </a:lnTo>
                    <a:lnTo>
                      <a:pt x="69799" y="127864"/>
                    </a:lnTo>
                    <a:cubicBezTo>
                      <a:pt x="69542" y="125822"/>
                      <a:pt x="68078" y="124136"/>
                      <a:pt x="66091" y="123597"/>
                    </a:cubicBezTo>
                    <a:cubicBezTo>
                      <a:pt x="61777" y="122483"/>
                      <a:pt x="57639" y="120773"/>
                      <a:pt x="53797" y="118517"/>
                    </a:cubicBezTo>
                    <a:cubicBezTo>
                      <a:pt x="52019" y="117482"/>
                      <a:pt x="49793" y="117623"/>
                      <a:pt x="48159" y="118872"/>
                    </a:cubicBezTo>
                    <a:lnTo>
                      <a:pt x="34036" y="129845"/>
                    </a:lnTo>
                    <a:lnTo>
                      <a:pt x="26315" y="121819"/>
                    </a:lnTo>
                    <a:lnTo>
                      <a:pt x="37338" y="107645"/>
                    </a:lnTo>
                    <a:cubicBezTo>
                      <a:pt x="38572" y="106001"/>
                      <a:pt x="38691" y="103775"/>
                      <a:pt x="37643" y="102007"/>
                    </a:cubicBezTo>
                    <a:cubicBezTo>
                      <a:pt x="35374" y="98099"/>
                      <a:pt x="33663" y="93892"/>
                      <a:pt x="32563" y="89510"/>
                    </a:cubicBezTo>
                    <a:cubicBezTo>
                      <a:pt x="32041" y="87503"/>
                      <a:pt x="30352" y="86015"/>
                      <a:pt x="28296" y="85751"/>
                    </a:cubicBezTo>
                    <a:lnTo>
                      <a:pt x="10363" y="83820"/>
                    </a:lnTo>
                    <a:close/>
                  </a:path>
                </a:pathLst>
              </a:custGeom>
              <a:solidFill>
                <a:srgbClr val="231F2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7" name="Freeform: Shape 1326">
                <a:extLst>
                  <a:ext uri="{FF2B5EF4-FFF2-40B4-BE49-F238E27FC236}">
                    <a16:creationId xmlns:a16="http://schemas.microsoft.com/office/drawing/2014/main" id="{A1F269D1-98B2-AEA3-7DBE-32B647100859}"/>
                  </a:ext>
                </a:extLst>
              </p:cNvPr>
              <p:cNvSpPr/>
              <p:nvPr/>
            </p:nvSpPr>
            <p:spPr>
              <a:xfrm>
                <a:off x="5309106" y="4112789"/>
                <a:ext cx="55371" cy="55371"/>
              </a:xfrm>
              <a:custGeom>
                <a:avLst/>
                <a:gdLst>
                  <a:gd name="connsiteX0" fmla="*/ 27686 w 55371"/>
                  <a:gd name="connsiteY0" fmla="*/ 0 h 55371"/>
                  <a:gd name="connsiteX1" fmla="*/ 0 w 55371"/>
                  <a:gd name="connsiteY1" fmla="*/ 27686 h 55371"/>
                  <a:gd name="connsiteX2" fmla="*/ 27686 w 55371"/>
                  <a:gd name="connsiteY2" fmla="*/ 55372 h 55371"/>
                  <a:gd name="connsiteX3" fmla="*/ 55372 w 55371"/>
                  <a:gd name="connsiteY3" fmla="*/ 27686 h 55371"/>
                  <a:gd name="connsiteX4" fmla="*/ 27686 w 55371"/>
                  <a:gd name="connsiteY4" fmla="*/ 0 h 55371"/>
                  <a:gd name="connsiteX5" fmla="*/ 27686 w 55371"/>
                  <a:gd name="connsiteY5" fmla="*/ 45415 h 55371"/>
                  <a:gd name="connsiteX6" fmla="*/ 9906 w 55371"/>
                  <a:gd name="connsiteY6" fmla="*/ 27737 h 55371"/>
                  <a:gd name="connsiteX7" fmla="*/ 27584 w 55371"/>
                  <a:gd name="connsiteY7" fmla="*/ 9957 h 55371"/>
                  <a:gd name="connsiteX8" fmla="*/ 45364 w 55371"/>
                  <a:gd name="connsiteY8" fmla="*/ 27635 h 55371"/>
                  <a:gd name="connsiteX9" fmla="*/ 45364 w 55371"/>
                  <a:gd name="connsiteY9" fmla="*/ 27737 h 55371"/>
                  <a:gd name="connsiteX10" fmla="*/ 27686 w 55371"/>
                  <a:gd name="connsiteY10" fmla="*/ 45415 h 5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71" h="55371">
                    <a:moveTo>
                      <a:pt x="27686" y="0"/>
                    </a:moveTo>
                    <a:cubicBezTo>
                      <a:pt x="12395" y="0"/>
                      <a:pt x="0" y="12395"/>
                      <a:pt x="0" y="27686"/>
                    </a:cubicBezTo>
                    <a:cubicBezTo>
                      <a:pt x="0" y="42977"/>
                      <a:pt x="12395" y="55372"/>
                      <a:pt x="27686" y="55372"/>
                    </a:cubicBezTo>
                    <a:cubicBezTo>
                      <a:pt x="42977" y="55372"/>
                      <a:pt x="55372" y="42977"/>
                      <a:pt x="55372" y="27686"/>
                    </a:cubicBezTo>
                    <a:cubicBezTo>
                      <a:pt x="55372" y="12395"/>
                      <a:pt x="42977" y="0"/>
                      <a:pt x="27686" y="0"/>
                    </a:cubicBezTo>
                    <a:moveTo>
                      <a:pt x="27686" y="45415"/>
                    </a:moveTo>
                    <a:cubicBezTo>
                      <a:pt x="17894" y="45443"/>
                      <a:pt x="9934" y="37529"/>
                      <a:pt x="9906" y="27737"/>
                    </a:cubicBezTo>
                    <a:cubicBezTo>
                      <a:pt x="9878" y="17945"/>
                      <a:pt x="17793" y="9985"/>
                      <a:pt x="27584" y="9957"/>
                    </a:cubicBezTo>
                    <a:cubicBezTo>
                      <a:pt x="37376" y="9929"/>
                      <a:pt x="45336" y="17844"/>
                      <a:pt x="45364" y="27635"/>
                    </a:cubicBezTo>
                    <a:cubicBezTo>
                      <a:pt x="45364" y="27669"/>
                      <a:pt x="45364" y="27703"/>
                      <a:pt x="45364" y="27737"/>
                    </a:cubicBezTo>
                    <a:cubicBezTo>
                      <a:pt x="45336" y="37489"/>
                      <a:pt x="37438" y="45387"/>
                      <a:pt x="27686" y="45415"/>
                    </a:cubicBezTo>
                  </a:path>
                </a:pathLst>
              </a:custGeom>
              <a:solidFill>
                <a:srgbClr val="231F2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8" name="Freeform: Shape 1327">
                <a:extLst>
                  <a:ext uri="{FF2B5EF4-FFF2-40B4-BE49-F238E27FC236}">
                    <a16:creationId xmlns:a16="http://schemas.microsoft.com/office/drawing/2014/main" id="{052A83D2-D833-DCB7-AD7F-641E03DCDF96}"/>
                  </a:ext>
                </a:extLst>
              </p:cNvPr>
              <p:cNvSpPr/>
              <p:nvPr/>
            </p:nvSpPr>
            <p:spPr>
              <a:xfrm>
                <a:off x="5259576" y="4063157"/>
                <a:ext cx="154737" cy="154991"/>
              </a:xfrm>
              <a:custGeom>
                <a:avLst/>
                <a:gdLst>
                  <a:gd name="connsiteX0" fmla="*/ 150114 w 154737"/>
                  <a:gd name="connsiteY0" fmla="*/ 62484 h 154991"/>
                  <a:gd name="connsiteX1" fmla="*/ 131420 w 154737"/>
                  <a:gd name="connsiteY1" fmla="*/ 60097 h 154991"/>
                  <a:gd name="connsiteX2" fmla="*/ 127762 w 154737"/>
                  <a:gd name="connsiteY2" fmla="*/ 51257 h 154991"/>
                  <a:gd name="connsiteX3" fmla="*/ 139497 w 154737"/>
                  <a:gd name="connsiteY3" fmla="*/ 36271 h 154991"/>
                  <a:gd name="connsiteX4" fmla="*/ 139091 w 154737"/>
                  <a:gd name="connsiteY4" fmla="*/ 29667 h 154991"/>
                  <a:gd name="connsiteX5" fmla="*/ 125121 w 154737"/>
                  <a:gd name="connsiteY5" fmla="*/ 15697 h 154991"/>
                  <a:gd name="connsiteX6" fmla="*/ 118517 w 154737"/>
                  <a:gd name="connsiteY6" fmla="*/ 15291 h 154991"/>
                  <a:gd name="connsiteX7" fmla="*/ 103277 w 154737"/>
                  <a:gd name="connsiteY7" fmla="*/ 27026 h 154991"/>
                  <a:gd name="connsiteX8" fmla="*/ 94437 w 154737"/>
                  <a:gd name="connsiteY8" fmla="*/ 23267 h 154991"/>
                  <a:gd name="connsiteX9" fmla="*/ 91948 w 154737"/>
                  <a:gd name="connsiteY9" fmla="*/ 4420 h 154991"/>
                  <a:gd name="connsiteX10" fmla="*/ 86868 w 154737"/>
                  <a:gd name="connsiteY10" fmla="*/ 0 h 154991"/>
                  <a:gd name="connsiteX11" fmla="*/ 67005 w 154737"/>
                  <a:gd name="connsiteY11" fmla="*/ 0 h 154991"/>
                  <a:gd name="connsiteX12" fmla="*/ 61925 w 154737"/>
                  <a:gd name="connsiteY12" fmla="*/ 4420 h 154991"/>
                  <a:gd name="connsiteX13" fmla="*/ 59639 w 154737"/>
                  <a:gd name="connsiteY13" fmla="*/ 23571 h 154991"/>
                  <a:gd name="connsiteX14" fmla="*/ 50800 w 154737"/>
                  <a:gd name="connsiteY14" fmla="*/ 27229 h 154991"/>
                  <a:gd name="connsiteX15" fmla="*/ 35560 w 154737"/>
                  <a:gd name="connsiteY15" fmla="*/ 15494 h 154991"/>
                  <a:gd name="connsiteX16" fmla="*/ 28956 w 154737"/>
                  <a:gd name="connsiteY16" fmla="*/ 15901 h 154991"/>
                  <a:gd name="connsiteX17" fmla="*/ 14986 w 154737"/>
                  <a:gd name="connsiteY17" fmla="*/ 29871 h 154991"/>
                  <a:gd name="connsiteX18" fmla="*/ 14580 w 154737"/>
                  <a:gd name="connsiteY18" fmla="*/ 36475 h 154991"/>
                  <a:gd name="connsiteX19" fmla="*/ 26315 w 154737"/>
                  <a:gd name="connsiteY19" fmla="*/ 51715 h 154991"/>
                  <a:gd name="connsiteX20" fmla="*/ 22657 w 154737"/>
                  <a:gd name="connsiteY20" fmla="*/ 60554 h 154991"/>
                  <a:gd name="connsiteX21" fmla="*/ 4420 w 154737"/>
                  <a:gd name="connsiteY21" fmla="*/ 62484 h 154991"/>
                  <a:gd name="connsiteX22" fmla="*/ 0 w 154737"/>
                  <a:gd name="connsiteY22" fmla="*/ 67564 h 154991"/>
                  <a:gd name="connsiteX23" fmla="*/ 0 w 154737"/>
                  <a:gd name="connsiteY23" fmla="*/ 87579 h 154991"/>
                  <a:gd name="connsiteX24" fmla="*/ 4420 w 154737"/>
                  <a:gd name="connsiteY24" fmla="*/ 92659 h 154991"/>
                  <a:gd name="connsiteX25" fmla="*/ 23317 w 154737"/>
                  <a:gd name="connsiteY25" fmla="*/ 95047 h 154991"/>
                  <a:gd name="connsiteX26" fmla="*/ 26975 w 154737"/>
                  <a:gd name="connsiteY26" fmla="*/ 103886 h 154991"/>
                  <a:gd name="connsiteX27" fmla="*/ 15240 w 154737"/>
                  <a:gd name="connsiteY27" fmla="*/ 118872 h 154991"/>
                  <a:gd name="connsiteX28" fmla="*/ 15647 w 154737"/>
                  <a:gd name="connsiteY28" fmla="*/ 125476 h 154991"/>
                  <a:gd name="connsiteX29" fmla="*/ 29413 w 154737"/>
                  <a:gd name="connsiteY29" fmla="*/ 139192 h 154991"/>
                  <a:gd name="connsiteX30" fmla="*/ 36017 w 154737"/>
                  <a:gd name="connsiteY30" fmla="*/ 139599 h 154991"/>
                  <a:gd name="connsiteX31" fmla="*/ 51003 w 154737"/>
                  <a:gd name="connsiteY31" fmla="*/ 127864 h 154991"/>
                  <a:gd name="connsiteX32" fmla="*/ 59893 w 154737"/>
                  <a:gd name="connsiteY32" fmla="*/ 131826 h 154991"/>
                  <a:gd name="connsiteX33" fmla="*/ 62383 w 154737"/>
                  <a:gd name="connsiteY33" fmla="*/ 150571 h 154991"/>
                  <a:gd name="connsiteX34" fmla="*/ 67463 w 154737"/>
                  <a:gd name="connsiteY34" fmla="*/ 154991 h 154991"/>
                  <a:gd name="connsiteX35" fmla="*/ 87478 w 154737"/>
                  <a:gd name="connsiteY35" fmla="*/ 154991 h 154991"/>
                  <a:gd name="connsiteX36" fmla="*/ 92558 w 154737"/>
                  <a:gd name="connsiteY36" fmla="*/ 150571 h 154991"/>
                  <a:gd name="connsiteX37" fmla="*/ 94691 w 154737"/>
                  <a:gd name="connsiteY37" fmla="*/ 131674 h 154991"/>
                  <a:gd name="connsiteX38" fmla="*/ 103581 w 154737"/>
                  <a:gd name="connsiteY38" fmla="*/ 128016 h 154991"/>
                  <a:gd name="connsiteX39" fmla="*/ 118821 w 154737"/>
                  <a:gd name="connsiteY39" fmla="*/ 139700 h 154991"/>
                  <a:gd name="connsiteX40" fmla="*/ 125425 w 154737"/>
                  <a:gd name="connsiteY40" fmla="*/ 139345 h 154991"/>
                  <a:gd name="connsiteX41" fmla="*/ 138938 w 154737"/>
                  <a:gd name="connsiteY41" fmla="*/ 125171 h 154991"/>
                  <a:gd name="connsiteX42" fmla="*/ 139548 w 154737"/>
                  <a:gd name="connsiteY42" fmla="*/ 118263 h 154991"/>
                  <a:gd name="connsiteX43" fmla="*/ 127813 w 154737"/>
                  <a:gd name="connsiteY43" fmla="*/ 103023 h 154991"/>
                  <a:gd name="connsiteX44" fmla="*/ 131420 w 154737"/>
                  <a:gd name="connsiteY44" fmla="*/ 94691 h 154991"/>
                  <a:gd name="connsiteX45" fmla="*/ 150317 w 154737"/>
                  <a:gd name="connsiteY45" fmla="*/ 92355 h 154991"/>
                  <a:gd name="connsiteX46" fmla="*/ 154737 w 154737"/>
                  <a:gd name="connsiteY46" fmla="*/ 87275 h 154991"/>
                  <a:gd name="connsiteX47" fmla="*/ 154737 w 154737"/>
                  <a:gd name="connsiteY47" fmla="*/ 67209 h 154991"/>
                  <a:gd name="connsiteX48" fmla="*/ 150063 w 154737"/>
                  <a:gd name="connsiteY48" fmla="*/ 62484 h 154991"/>
                  <a:gd name="connsiteX49" fmla="*/ 144475 w 154737"/>
                  <a:gd name="connsiteY49" fmla="*/ 82804 h 154991"/>
                  <a:gd name="connsiteX50" fmla="*/ 126645 w 154737"/>
                  <a:gd name="connsiteY50" fmla="*/ 85039 h 154991"/>
                  <a:gd name="connsiteX51" fmla="*/ 122428 w 154737"/>
                  <a:gd name="connsiteY51" fmla="*/ 88748 h 154991"/>
                  <a:gd name="connsiteX52" fmla="*/ 117348 w 154737"/>
                  <a:gd name="connsiteY52" fmla="*/ 101245 h 154991"/>
                  <a:gd name="connsiteX53" fmla="*/ 117704 w 154737"/>
                  <a:gd name="connsiteY53" fmla="*/ 106934 h 154991"/>
                  <a:gd name="connsiteX54" fmla="*/ 128727 w 154737"/>
                  <a:gd name="connsiteY54" fmla="*/ 121057 h 154991"/>
                  <a:gd name="connsiteX55" fmla="*/ 121260 w 154737"/>
                  <a:gd name="connsiteY55" fmla="*/ 128829 h 154991"/>
                  <a:gd name="connsiteX56" fmla="*/ 107137 w 154737"/>
                  <a:gd name="connsiteY56" fmla="*/ 117805 h 154991"/>
                  <a:gd name="connsiteX57" fmla="*/ 101448 w 154737"/>
                  <a:gd name="connsiteY57" fmla="*/ 117450 h 154991"/>
                  <a:gd name="connsiteX58" fmla="*/ 88951 w 154737"/>
                  <a:gd name="connsiteY58" fmla="*/ 122530 h 154991"/>
                  <a:gd name="connsiteX59" fmla="*/ 85192 w 154737"/>
                  <a:gd name="connsiteY59" fmla="*/ 126746 h 154991"/>
                  <a:gd name="connsiteX60" fmla="*/ 82957 w 154737"/>
                  <a:gd name="connsiteY60" fmla="*/ 144577 h 154991"/>
                  <a:gd name="connsiteX61" fmla="*/ 71730 w 154737"/>
                  <a:gd name="connsiteY61" fmla="*/ 144577 h 154991"/>
                  <a:gd name="connsiteX62" fmla="*/ 69495 w 154737"/>
                  <a:gd name="connsiteY62" fmla="*/ 126695 h 154991"/>
                  <a:gd name="connsiteX63" fmla="*/ 65735 w 154737"/>
                  <a:gd name="connsiteY63" fmla="*/ 122428 h 154991"/>
                  <a:gd name="connsiteX64" fmla="*/ 53239 w 154737"/>
                  <a:gd name="connsiteY64" fmla="*/ 117348 h 154991"/>
                  <a:gd name="connsiteX65" fmla="*/ 47600 w 154737"/>
                  <a:gd name="connsiteY65" fmla="*/ 117653 h 154991"/>
                  <a:gd name="connsiteX66" fmla="*/ 33477 w 154737"/>
                  <a:gd name="connsiteY66" fmla="*/ 128727 h 154991"/>
                  <a:gd name="connsiteX67" fmla="*/ 25705 w 154737"/>
                  <a:gd name="connsiteY67" fmla="*/ 120955 h 154991"/>
                  <a:gd name="connsiteX68" fmla="*/ 36678 w 154737"/>
                  <a:gd name="connsiteY68" fmla="*/ 106833 h 154991"/>
                  <a:gd name="connsiteX69" fmla="*/ 37033 w 154737"/>
                  <a:gd name="connsiteY69" fmla="*/ 101143 h 154991"/>
                  <a:gd name="connsiteX70" fmla="*/ 31953 w 154737"/>
                  <a:gd name="connsiteY70" fmla="*/ 88646 h 154991"/>
                  <a:gd name="connsiteX71" fmla="*/ 27686 w 154737"/>
                  <a:gd name="connsiteY71" fmla="*/ 84938 h 154991"/>
                  <a:gd name="connsiteX72" fmla="*/ 9906 w 154737"/>
                  <a:gd name="connsiteY72" fmla="*/ 82703 h 154991"/>
                  <a:gd name="connsiteX73" fmla="*/ 9906 w 154737"/>
                  <a:gd name="connsiteY73" fmla="*/ 71628 h 154991"/>
                  <a:gd name="connsiteX74" fmla="*/ 27788 w 154737"/>
                  <a:gd name="connsiteY74" fmla="*/ 69291 h 154991"/>
                  <a:gd name="connsiteX75" fmla="*/ 32055 w 154737"/>
                  <a:gd name="connsiteY75" fmla="*/ 65532 h 154991"/>
                  <a:gd name="connsiteX76" fmla="*/ 37135 w 154737"/>
                  <a:gd name="connsiteY76" fmla="*/ 53086 h 154991"/>
                  <a:gd name="connsiteX77" fmla="*/ 36779 w 154737"/>
                  <a:gd name="connsiteY77" fmla="*/ 47397 h 154991"/>
                  <a:gd name="connsiteX78" fmla="*/ 25807 w 154737"/>
                  <a:gd name="connsiteY78" fmla="*/ 33274 h 154991"/>
                  <a:gd name="connsiteX79" fmla="*/ 33579 w 154737"/>
                  <a:gd name="connsiteY79" fmla="*/ 25502 h 154991"/>
                  <a:gd name="connsiteX80" fmla="*/ 47701 w 154737"/>
                  <a:gd name="connsiteY80" fmla="*/ 36525 h 154991"/>
                  <a:gd name="connsiteX81" fmla="*/ 53340 w 154737"/>
                  <a:gd name="connsiteY81" fmla="*/ 36830 h 154991"/>
                  <a:gd name="connsiteX82" fmla="*/ 65837 w 154737"/>
                  <a:gd name="connsiteY82" fmla="*/ 31750 h 154991"/>
                  <a:gd name="connsiteX83" fmla="*/ 69596 w 154737"/>
                  <a:gd name="connsiteY83" fmla="*/ 27483 h 154991"/>
                  <a:gd name="connsiteX84" fmla="*/ 71882 w 154737"/>
                  <a:gd name="connsiteY84" fmla="*/ 9703 h 154991"/>
                  <a:gd name="connsiteX85" fmla="*/ 82804 w 154737"/>
                  <a:gd name="connsiteY85" fmla="*/ 9703 h 154991"/>
                  <a:gd name="connsiteX86" fmla="*/ 85090 w 154737"/>
                  <a:gd name="connsiteY86" fmla="*/ 27483 h 154991"/>
                  <a:gd name="connsiteX87" fmla="*/ 88799 w 154737"/>
                  <a:gd name="connsiteY87" fmla="*/ 31750 h 154991"/>
                  <a:gd name="connsiteX88" fmla="*/ 101295 w 154737"/>
                  <a:gd name="connsiteY88" fmla="*/ 36830 h 154991"/>
                  <a:gd name="connsiteX89" fmla="*/ 106985 w 154737"/>
                  <a:gd name="connsiteY89" fmla="*/ 36525 h 154991"/>
                  <a:gd name="connsiteX90" fmla="*/ 121260 w 154737"/>
                  <a:gd name="connsiteY90" fmla="*/ 25603 h 154991"/>
                  <a:gd name="connsiteX91" fmla="*/ 129032 w 154737"/>
                  <a:gd name="connsiteY91" fmla="*/ 33376 h 154991"/>
                  <a:gd name="connsiteX92" fmla="*/ 118009 w 154737"/>
                  <a:gd name="connsiteY92" fmla="*/ 47498 h 154991"/>
                  <a:gd name="connsiteX93" fmla="*/ 117653 w 154737"/>
                  <a:gd name="connsiteY93" fmla="*/ 53188 h 154991"/>
                  <a:gd name="connsiteX94" fmla="*/ 122733 w 154737"/>
                  <a:gd name="connsiteY94" fmla="*/ 65634 h 154991"/>
                  <a:gd name="connsiteX95" fmla="*/ 126949 w 154737"/>
                  <a:gd name="connsiteY95" fmla="*/ 69393 h 154991"/>
                  <a:gd name="connsiteX96" fmla="*/ 144831 w 154737"/>
                  <a:gd name="connsiteY96" fmla="*/ 71628 h 15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4737" h="154991">
                    <a:moveTo>
                      <a:pt x="150114" y="62484"/>
                    </a:moveTo>
                    <a:lnTo>
                      <a:pt x="131420" y="60097"/>
                    </a:lnTo>
                    <a:cubicBezTo>
                      <a:pt x="130456" y="57051"/>
                      <a:pt x="129232" y="54094"/>
                      <a:pt x="127762" y="51257"/>
                    </a:cubicBezTo>
                    <a:lnTo>
                      <a:pt x="139497" y="36271"/>
                    </a:lnTo>
                    <a:cubicBezTo>
                      <a:pt x="141010" y="34271"/>
                      <a:pt x="140838" y="31467"/>
                      <a:pt x="139091" y="29667"/>
                    </a:cubicBezTo>
                    <a:lnTo>
                      <a:pt x="125121" y="15697"/>
                    </a:lnTo>
                    <a:cubicBezTo>
                      <a:pt x="123321" y="13950"/>
                      <a:pt x="120517" y="13778"/>
                      <a:pt x="118517" y="15291"/>
                    </a:cubicBezTo>
                    <a:lnTo>
                      <a:pt x="103277" y="27026"/>
                    </a:lnTo>
                    <a:cubicBezTo>
                      <a:pt x="100442" y="25523"/>
                      <a:pt x="97485" y="24266"/>
                      <a:pt x="94437" y="23267"/>
                    </a:cubicBezTo>
                    <a:lnTo>
                      <a:pt x="91948" y="4420"/>
                    </a:lnTo>
                    <a:cubicBezTo>
                      <a:pt x="91614" y="1875"/>
                      <a:pt x="89435" y="-22"/>
                      <a:pt x="86868" y="0"/>
                    </a:cubicBezTo>
                    <a:lnTo>
                      <a:pt x="67005" y="0"/>
                    </a:lnTo>
                    <a:cubicBezTo>
                      <a:pt x="64438" y="-22"/>
                      <a:pt x="62259" y="1875"/>
                      <a:pt x="61925" y="4420"/>
                    </a:cubicBezTo>
                    <a:lnTo>
                      <a:pt x="59639" y="23571"/>
                    </a:lnTo>
                    <a:cubicBezTo>
                      <a:pt x="56594" y="24536"/>
                      <a:pt x="53637" y="25759"/>
                      <a:pt x="50800" y="27229"/>
                    </a:cubicBezTo>
                    <a:lnTo>
                      <a:pt x="35560" y="15494"/>
                    </a:lnTo>
                    <a:cubicBezTo>
                      <a:pt x="33560" y="13981"/>
                      <a:pt x="30756" y="14154"/>
                      <a:pt x="28956" y="15901"/>
                    </a:cubicBezTo>
                    <a:lnTo>
                      <a:pt x="14986" y="29871"/>
                    </a:lnTo>
                    <a:cubicBezTo>
                      <a:pt x="13239" y="31670"/>
                      <a:pt x="13066" y="34475"/>
                      <a:pt x="14580" y="36475"/>
                    </a:cubicBezTo>
                    <a:lnTo>
                      <a:pt x="26315" y="51715"/>
                    </a:lnTo>
                    <a:cubicBezTo>
                      <a:pt x="24845" y="54551"/>
                      <a:pt x="23621" y="57508"/>
                      <a:pt x="22657" y="60554"/>
                    </a:cubicBezTo>
                    <a:lnTo>
                      <a:pt x="4420" y="62484"/>
                    </a:lnTo>
                    <a:cubicBezTo>
                      <a:pt x="1875" y="62818"/>
                      <a:pt x="-22" y="64997"/>
                      <a:pt x="0" y="67564"/>
                    </a:cubicBezTo>
                    <a:lnTo>
                      <a:pt x="0" y="87579"/>
                    </a:lnTo>
                    <a:cubicBezTo>
                      <a:pt x="-22" y="90146"/>
                      <a:pt x="1875" y="92326"/>
                      <a:pt x="4420" y="92659"/>
                    </a:cubicBezTo>
                    <a:lnTo>
                      <a:pt x="23317" y="95047"/>
                    </a:lnTo>
                    <a:cubicBezTo>
                      <a:pt x="24282" y="98092"/>
                      <a:pt x="25505" y="101050"/>
                      <a:pt x="26975" y="103886"/>
                    </a:cubicBezTo>
                    <a:lnTo>
                      <a:pt x="15240" y="118872"/>
                    </a:lnTo>
                    <a:cubicBezTo>
                      <a:pt x="13727" y="120872"/>
                      <a:pt x="13900" y="123677"/>
                      <a:pt x="15647" y="125476"/>
                    </a:cubicBezTo>
                    <a:lnTo>
                      <a:pt x="29413" y="139192"/>
                    </a:lnTo>
                    <a:cubicBezTo>
                      <a:pt x="31213" y="140939"/>
                      <a:pt x="34017" y="141112"/>
                      <a:pt x="36017" y="139599"/>
                    </a:cubicBezTo>
                    <a:lnTo>
                      <a:pt x="51003" y="127864"/>
                    </a:lnTo>
                    <a:cubicBezTo>
                      <a:pt x="53850" y="129432"/>
                      <a:pt x="56824" y="130757"/>
                      <a:pt x="59893" y="131826"/>
                    </a:cubicBezTo>
                    <a:lnTo>
                      <a:pt x="62383" y="150571"/>
                    </a:lnTo>
                    <a:cubicBezTo>
                      <a:pt x="62716" y="153116"/>
                      <a:pt x="64896" y="155013"/>
                      <a:pt x="67463" y="154991"/>
                    </a:cubicBezTo>
                    <a:lnTo>
                      <a:pt x="87478" y="154991"/>
                    </a:lnTo>
                    <a:cubicBezTo>
                      <a:pt x="90045" y="155013"/>
                      <a:pt x="92224" y="153116"/>
                      <a:pt x="92558" y="150571"/>
                    </a:cubicBezTo>
                    <a:lnTo>
                      <a:pt x="94691" y="131674"/>
                    </a:lnTo>
                    <a:cubicBezTo>
                      <a:pt x="97754" y="130710"/>
                      <a:pt x="100727" y="129486"/>
                      <a:pt x="103581" y="128016"/>
                    </a:cubicBezTo>
                    <a:lnTo>
                      <a:pt x="118821" y="139700"/>
                    </a:lnTo>
                    <a:cubicBezTo>
                      <a:pt x="120809" y="141227"/>
                      <a:pt x="123613" y="141076"/>
                      <a:pt x="125425" y="139345"/>
                    </a:cubicBezTo>
                    <a:lnTo>
                      <a:pt x="138938" y="125171"/>
                    </a:lnTo>
                    <a:cubicBezTo>
                      <a:pt x="140926" y="123387"/>
                      <a:pt x="141193" y="120368"/>
                      <a:pt x="139548" y="118263"/>
                    </a:cubicBezTo>
                    <a:lnTo>
                      <a:pt x="127813" y="103023"/>
                    </a:lnTo>
                    <a:cubicBezTo>
                      <a:pt x="129237" y="100347"/>
                      <a:pt x="130443" y="97561"/>
                      <a:pt x="131420" y="94691"/>
                    </a:cubicBezTo>
                    <a:lnTo>
                      <a:pt x="150317" y="92355"/>
                    </a:lnTo>
                    <a:cubicBezTo>
                      <a:pt x="152862" y="92021"/>
                      <a:pt x="154759" y="89842"/>
                      <a:pt x="154737" y="87275"/>
                    </a:cubicBezTo>
                    <a:lnTo>
                      <a:pt x="154737" y="67209"/>
                    </a:lnTo>
                    <a:cubicBezTo>
                      <a:pt x="154568" y="64692"/>
                      <a:pt x="152578" y="62680"/>
                      <a:pt x="150063" y="62484"/>
                    </a:cubicBezTo>
                    <a:moveTo>
                      <a:pt x="144475" y="82804"/>
                    </a:moveTo>
                    <a:lnTo>
                      <a:pt x="126645" y="85039"/>
                    </a:lnTo>
                    <a:cubicBezTo>
                      <a:pt x="124622" y="85316"/>
                      <a:pt x="122961" y="86777"/>
                      <a:pt x="122428" y="88748"/>
                    </a:cubicBezTo>
                    <a:cubicBezTo>
                      <a:pt x="121366" y="93143"/>
                      <a:pt x="119654" y="97355"/>
                      <a:pt x="117348" y="101245"/>
                    </a:cubicBezTo>
                    <a:cubicBezTo>
                      <a:pt x="116291" y="103035"/>
                      <a:pt x="116432" y="105289"/>
                      <a:pt x="117704" y="106934"/>
                    </a:cubicBezTo>
                    <a:lnTo>
                      <a:pt x="128727" y="121057"/>
                    </a:lnTo>
                    <a:lnTo>
                      <a:pt x="121260" y="128829"/>
                    </a:lnTo>
                    <a:lnTo>
                      <a:pt x="107137" y="117805"/>
                    </a:lnTo>
                    <a:cubicBezTo>
                      <a:pt x="105492" y="116533"/>
                      <a:pt x="103238" y="116393"/>
                      <a:pt x="101448" y="117450"/>
                    </a:cubicBezTo>
                    <a:cubicBezTo>
                      <a:pt x="97559" y="119756"/>
                      <a:pt x="93346" y="121468"/>
                      <a:pt x="88951" y="122530"/>
                    </a:cubicBezTo>
                    <a:cubicBezTo>
                      <a:pt x="86960" y="123045"/>
                      <a:pt x="85476" y="124709"/>
                      <a:pt x="85192" y="126746"/>
                    </a:cubicBezTo>
                    <a:lnTo>
                      <a:pt x="82957" y="144577"/>
                    </a:lnTo>
                    <a:lnTo>
                      <a:pt x="71730" y="144577"/>
                    </a:lnTo>
                    <a:lnTo>
                      <a:pt x="69495" y="126695"/>
                    </a:lnTo>
                    <a:cubicBezTo>
                      <a:pt x="69230" y="124639"/>
                      <a:pt x="67742" y="122950"/>
                      <a:pt x="65735" y="122428"/>
                    </a:cubicBezTo>
                    <a:cubicBezTo>
                      <a:pt x="61353" y="121328"/>
                      <a:pt x="57146" y="119617"/>
                      <a:pt x="53239" y="117348"/>
                    </a:cubicBezTo>
                    <a:cubicBezTo>
                      <a:pt x="51470" y="116300"/>
                      <a:pt x="49245" y="116420"/>
                      <a:pt x="47600" y="117653"/>
                    </a:cubicBezTo>
                    <a:lnTo>
                      <a:pt x="33477" y="128727"/>
                    </a:lnTo>
                    <a:lnTo>
                      <a:pt x="25705" y="120955"/>
                    </a:lnTo>
                    <a:lnTo>
                      <a:pt x="36678" y="106833"/>
                    </a:lnTo>
                    <a:cubicBezTo>
                      <a:pt x="37949" y="105188"/>
                      <a:pt x="38091" y="102934"/>
                      <a:pt x="37033" y="101143"/>
                    </a:cubicBezTo>
                    <a:cubicBezTo>
                      <a:pt x="34747" y="97244"/>
                      <a:pt x="33036" y="93035"/>
                      <a:pt x="31953" y="88646"/>
                    </a:cubicBezTo>
                    <a:cubicBezTo>
                      <a:pt x="31414" y="86659"/>
                      <a:pt x="29728" y="85195"/>
                      <a:pt x="27686" y="84938"/>
                    </a:cubicBezTo>
                    <a:lnTo>
                      <a:pt x="9906" y="82703"/>
                    </a:lnTo>
                    <a:lnTo>
                      <a:pt x="9906" y="71628"/>
                    </a:lnTo>
                    <a:lnTo>
                      <a:pt x="27788" y="69291"/>
                    </a:lnTo>
                    <a:cubicBezTo>
                      <a:pt x="29844" y="69027"/>
                      <a:pt x="31533" y="67539"/>
                      <a:pt x="32055" y="65532"/>
                    </a:cubicBezTo>
                    <a:cubicBezTo>
                      <a:pt x="33126" y="61156"/>
                      <a:pt x="34838" y="56962"/>
                      <a:pt x="37135" y="53086"/>
                    </a:cubicBezTo>
                    <a:cubicBezTo>
                      <a:pt x="38192" y="51295"/>
                      <a:pt x="38051" y="49041"/>
                      <a:pt x="36779" y="47397"/>
                    </a:cubicBezTo>
                    <a:lnTo>
                      <a:pt x="25807" y="33274"/>
                    </a:lnTo>
                    <a:lnTo>
                      <a:pt x="33579" y="25502"/>
                    </a:lnTo>
                    <a:lnTo>
                      <a:pt x="47701" y="36525"/>
                    </a:lnTo>
                    <a:cubicBezTo>
                      <a:pt x="49346" y="37758"/>
                      <a:pt x="51572" y="37879"/>
                      <a:pt x="53340" y="36830"/>
                    </a:cubicBezTo>
                    <a:cubicBezTo>
                      <a:pt x="57248" y="34561"/>
                      <a:pt x="61454" y="32851"/>
                      <a:pt x="65837" y="31750"/>
                    </a:cubicBezTo>
                    <a:cubicBezTo>
                      <a:pt x="67844" y="31228"/>
                      <a:pt x="69332" y="29539"/>
                      <a:pt x="69596" y="27483"/>
                    </a:cubicBezTo>
                    <a:lnTo>
                      <a:pt x="71882" y="9703"/>
                    </a:lnTo>
                    <a:lnTo>
                      <a:pt x="82804" y="9703"/>
                    </a:lnTo>
                    <a:lnTo>
                      <a:pt x="85090" y="27483"/>
                    </a:lnTo>
                    <a:cubicBezTo>
                      <a:pt x="85348" y="29525"/>
                      <a:pt x="86812" y="31211"/>
                      <a:pt x="88799" y="31750"/>
                    </a:cubicBezTo>
                    <a:cubicBezTo>
                      <a:pt x="93184" y="32842"/>
                      <a:pt x="97392" y="34552"/>
                      <a:pt x="101295" y="36830"/>
                    </a:cubicBezTo>
                    <a:cubicBezTo>
                      <a:pt x="103076" y="37902"/>
                      <a:pt x="105329" y="37781"/>
                      <a:pt x="106985" y="36525"/>
                    </a:cubicBezTo>
                    <a:lnTo>
                      <a:pt x="121260" y="25603"/>
                    </a:lnTo>
                    <a:lnTo>
                      <a:pt x="129032" y="33376"/>
                    </a:lnTo>
                    <a:lnTo>
                      <a:pt x="118009" y="47498"/>
                    </a:lnTo>
                    <a:cubicBezTo>
                      <a:pt x="116737" y="49143"/>
                      <a:pt x="116596" y="51397"/>
                      <a:pt x="117653" y="53188"/>
                    </a:cubicBezTo>
                    <a:cubicBezTo>
                      <a:pt x="119950" y="57063"/>
                      <a:pt x="121662" y="61257"/>
                      <a:pt x="122733" y="65634"/>
                    </a:cubicBezTo>
                    <a:cubicBezTo>
                      <a:pt x="123248" y="67625"/>
                      <a:pt x="124913" y="69109"/>
                      <a:pt x="126949" y="69393"/>
                    </a:cubicBezTo>
                    <a:lnTo>
                      <a:pt x="144831" y="71628"/>
                    </a:lnTo>
                    <a:close/>
                  </a:path>
                </a:pathLst>
              </a:custGeom>
              <a:solidFill>
                <a:srgbClr val="231F2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53" name="Group 52">
              <a:extLst>
                <a:ext uri="{FF2B5EF4-FFF2-40B4-BE49-F238E27FC236}">
                  <a16:creationId xmlns:a16="http://schemas.microsoft.com/office/drawing/2014/main" id="{1910AC69-19BF-509B-F118-A141EC7695FA}"/>
                </a:ext>
              </a:extLst>
            </p:cNvPr>
            <p:cNvGrpSpPr/>
            <p:nvPr/>
          </p:nvGrpSpPr>
          <p:grpSpPr>
            <a:xfrm>
              <a:off x="449644" y="2559330"/>
              <a:ext cx="231953" cy="241676"/>
              <a:chOff x="1955496" y="2716566"/>
              <a:chExt cx="231953" cy="234142"/>
            </a:xfrm>
            <a:solidFill>
              <a:srgbClr val="FF0000"/>
            </a:solidFill>
          </p:grpSpPr>
          <p:sp>
            <p:nvSpPr>
              <p:cNvPr id="867" name="Freeform: Shape 866">
                <a:extLst>
                  <a:ext uri="{FF2B5EF4-FFF2-40B4-BE49-F238E27FC236}">
                    <a16:creationId xmlns:a16="http://schemas.microsoft.com/office/drawing/2014/main" id="{B7A4C459-5718-C279-B8BD-85B1DD0497C7}"/>
                  </a:ext>
                </a:extLst>
              </p:cNvPr>
              <p:cNvSpPr/>
              <p:nvPr/>
            </p:nvSpPr>
            <p:spPr>
              <a:xfrm>
                <a:off x="2016704" y="2778363"/>
                <a:ext cx="109689" cy="110662"/>
              </a:xfrm>
              <a:custGeom>
                <a:avLst/>
                <a:gdLst>
                  <a:gd name="connsiteX0" fmla="*/ 63437 w 109689"/>
                  <a:gd name="connsiteY0" fmla="*/ 110661 h 110662"/>
                  <a:gd name="connsiteX1" fmla="*/ 46292 w 109689"/>
                  <a:gd name="connsiteY1" fmla="*/ 110661 h 110662"/>
                  <a:gd name="connsiteX2" fmla="*/ 43205 w 109689"/>
                  <a:gd name="connsiteY2" fmla="*/ 107633 h 110662"/>
                  <a:gd name="connsiteX3" fmla="*/ 42920 w 109689"/>
                  <a:gd name="connsiteY3" fmla="*/ 94298 h 110662"/>
                  <a:gd name="connsiteX4" fmla="*/ 36024 w 109689"/>
                  <a:gd name="connsiteY4" fmla="*/ 91478 h 110662"/>
                  <a:gd name="connsiteX5" fmla="*/ 26499 w 109689"/>
                  <a:gd name="connsiteY5" fmla="*/ 100717 h 110662"/>
                  <a:gd name="connsiteX6" fmla="*/ 22155 w 109689"/>
                  <a:gd name="connsiteY6" fmla="*/ 100717 h 110662"/>
                  <a:gd name="connsiteX7" fmla="*/ 10001 w 109689"/>
                  <a:gd name="connsiteY7" fmla="*/ 88430 h 110662"/>
                  <a:gd name="connsiteX8" fmla="*/ 10001 w 109689"/>
                  <a:gd name="connsiteY8" fmla="*/ 84144 h 110662"/>
                  <a:gd name="connsiteX9" fmla="*/ 19107 w 109689"/>
                  <a:gd name="connsiteY9" fmla="*/ 74333 h 110662"/>
                  <a:gd name="connsiteX10" fmla="*/ 16250 w 109689"/>
                  <a:gd name="connsiteY10" fmla="*/ 67361 h 110662"/>
                  <a:gd name="connsiteX11" fmla="*/ 3029 w 109689"/>
                  <a:gd name="connsiteY11" fmla="*/ 67075 h 110662"/>
                  <a:gd name="connsiteX12" fmla="*/ 0 w 109689"/>
                  <a:gd name="connsiteY12" fmla="*/ 63989 h 110662"/>
                  <a:gd name="connsiteX13" fmla="*/ 0 w 109689"/>
                  <a:gd name="connsiteY13" fmla="*/ 46596 h 110662"/>
                  <a:gd name="connsiteX14" fmla="*/ 3029 w 109689"/>
                  <a:gd name="connsiteY14" fmla="*/ 43510 h 110662"/>
                  <a:gd name="connsiteX15" fmla="*/ 16250 w 109689"/>
                  <a:gd name="connsiteY15" fmla="*/ 43224 h 110662"/>
                  <a:gd name="connsiteX16" fmla="*/ 19107 w 109689"/>
                  <a:gd name="connsiteY16" fmla="*/ 36233 h 110662"/>
                  <a:gd name="connsiteX17" fmla="*/ 9925 w 109689"/>
                  <a:gd name="connsiteY17" fmla="*/ 26556 h 110662"/>
                  <a:gd name="connsiteX18" fmla="*/ 9925 w 109689"/>
                  <a:gd name="connsiteY18" fmla="*/ 22250 h 110662"/>
                  <a:gd name="connsiteX19" fmla="*/ 22079 w 109689"/>
                  <a:gd name="connsiteY19" fmla="*/ 9982 h 110662"/>
                  <a:gd name="connsiteX20" fmla="*/ 26422 w 109689"/>
                  <a:gd name="connsiteY20" fmla="*/ 9982 h 110662"/>
                  <a:gd name="connsiteX21" fmla="*/ 35947 w 109689"/>
                  <a:gd name="connsiteY21" fmla="*/ 19221 h 110662"/>
                  <a:gd name="connsiteX22" fmla="*/ 42805 w 109689"/>
                  <a:gd name="connsiteY22" fmla="*/ 16364 h 110662"/>
                  <a:gd name="connsiteX23" fmla="*/ 43091 w 109689"/>
                  <a:gd name="connsiteY23" fmla="*/ 3029 h 110662"/>
                  <a:gd name="connsiteX24" fmla="*/ 46177 w 109689"/>
                  <a:gd name="connsiteY24" fmla="*/ 0 h 110662"/>
                  <a:gd name="connsiteX25" fmla="*/ 63322 w 109689"/>
                  <a:gd name="connsiteY25" fmla="*/ 0 h 110662"/>
                  <a:gd name="connsiteX26" fmla="*/ 66427 w 109689"/>
                  <a:gd name="connsiteY26" fmla="*/ 3029 h 110662"/>
                  <a:gd name="connsiteX27" fmla="*/ 66713 w 109689"/>
                  <a:gd name="connsiteY27" fmla="*/ 16364 h 110662"/>
                  <a:gd name="connsiteX28" fmla="*/ 73552 w 109689"/>
                  <a:gd name="connsiteY28" fmla="*/ 19221 h 110662"/>
                  <a:gd name="connsiteX29" fmla="*/ 83077 w 109689"/>
                  <a:gd name="connsiteY29" fmla="*/ 9982 h 110662"/>
                  <a:gd name="connsiteX30" fmla="*/ 87420 w 109689"/>
                  <a:gd name="connsiteY30" fmla="*/ 9982 h 110662"/>
                  <a:gd name="connsiteX31" fmla="*/ 99574 w 109689"/>
                  <a:gd name="connsiteY31" fmla="*/ 22250 h 110662"/>
                  <a:gd name="connsiteX32" fmla="*/ 99574 w 109689"/>
                  <a:gd name="connsiteY32" fmla="*/ 26556 h 110662"/>
                  <a:gd name="connsiteX33" fmla="*/ 90583 w 109689"/>
                  <a:gd name="connsiteY33" fmla="*/ 36233 h 110662"/>
                  <a:gd name="connsiteX34" fmla="*/ 93440 w 109689"/>
                  <a:gd name="connsiteY34" fmla="*/ 43205 h 110662"/>
                  <a:gd name="connsiteX35" fmla="*/ 106661 w 109689"/>
                  <a:gd name="connsiteY35" fmla="*/ 43491 h 110662"/>
                  <a:gd name="connsiteX36" fmla="*/ 109690 w 109689"/>
                  <a:gd name="connsiteY36" fmla="*/ 46577 h 110662"/>
                  <a:gd name="connsiteX37" fmla="*/ 109690 w 109689"/>
                  <a:gd name="connsiteY37" fmla="*/ 63951 h 110662"/>
                  <a:gd name="connsiteX38" fmla="*/ 106661 w 109689"/>
                  <a:gd name="connsiteY38" fmla="*/ 67037 h 110662"/>
                  <a:gd name="connsiteX39" fmla="*/ 93440 w 109689"/>
                  <a:gd name="connsiteY39" fmla="*/ 67323 h 110662"/>
                  <a:gd name="connsiteX40" fmla="*/ 90583 w 109689"/>
                  <a:gd name="connsiteY40" fmla="*/ 74333 h 110662"/>
                  <a:gd name="connsiteX41" fmla="*/ 99765 w 109689"/>
                  <a:gd name="connsiteY41" fmla="*/ 84011 h 110662"/>
                  <a:gd name="connsiteX42" fmla="*/ 99765 w 109689"/>
                  <a:gd name="connsiteY42" fmla="*/ 88297 h 110662"/>
                  <a:gd name="connsiteX43" fmla="*/ 87611 w 109689"/>
                  <a:gd name="connsiteY43" fmla="*/ 100584 h 110662"/>
                  <a:gd name="connsiteX44" fmla="*/ 83268 w 109689"/>
                  <a:gd name="connsiteY44" fmla="*/ 100584 h 110662"/>
                  <a:gd name="connsiteX45" fmla="*/ 73743 w 109689"/>
                  <a:gd name="connsiteY45" fmla="*/ 91345 h 110662"/>
                  <a:gd name="connsiteX46" fmla="*/ 66904 w 109689"/>
                  <a:gd name="connsiteY46" fmla="*/ 94202 h 110662"/>
                  <a:gd name="connsiteX47" fmla="*/ 66618 w 109689"/>
                  <a:gd name="connsiteY47" fmla="*/ 107537 h 110662"/>
                  <a:gd name="connsiteX48" fmla="*/ 63533 w 109689"/>
                  <a:gd name="connsiteY48" fmla="*/ 110661 h 110662"/>
                  <a:gd name="connsiteX49" fmla="*/ 63437 w 109689"/>
                  <a:gd name="connsiteY49" fmla="*/ 110661 h 110662"/>
                  <a:gd name="connsiteX50" fmla="*/ 49282 w 109689"/>
                  <a:gd name="connsiteY50" fmla="*/ 104470 h 110662"/>
                  <a:gd name="connsiteX51" fmla="*/ 60408 w 109689"/>
                  <a:gd name="connsiteY51" fmla="*/ 104470 h 110662"/>
                  <a:gd name="connsiteX52" fmla="*/ 60674 w 109689"/>
                  <a:gd name="connsiteY52" fmla="*/ 92107 h 110662"/>
                  <a:gd name="connsiteX53" fmla="*/ 62579 w 109689"/>
                  <a:gd name="connsiteY53" fmla="*/ 89306 h 110662"/>
                  <a:gd name="connsiteX54" fmla="*/ 73152 w 109689"/>
                  <a:gd name="connsiteY54" fmla="*/ 84887 h 110662"/>
                  <a:gd name="connsiteX55" fmla="*/ 76505 w 109689"/>
                  <a:gd name="connsiteY55" fmla="*/ 85515 h 110662"/>
                  <a:gd name="connsiteX56" fmla="*/ 85325 w 109689"/>
                  <a:gd name="connsiteY56" fmla="*/ 94050 h 110662"/>
                  <a:gd name="connsiteX57" fmla="*/ 93212 w 109689"/>
                  <a:gd name="connsiteY57" fmla="*/ 86068 h 110662"/>
                  <a:gd name="connsiteX58" fmla="*/ 84734 w 109689"/>
                  <a:gd name="connsiteY58" fmla="*/ 77114 h 110662"/>
                  <a:gd name="connsiteX59" fmla="*/ 84106 w 109689"/>
                  <a:gd name="connsiteY59" fmla="*/ 73819 h 110662"/>
                  <a:gd name="connsiteX60" fmla="*/ 88487 w 109689"/>
                  <a:gd name="connsiteY60" fmla="*/ 63132 h 110662"/>
                  <a:gd name="connsiteX61" fmla="*/ 91288 w 109689"/>
                  <a:gd name="connsiteY61" fmla="*/ 61227 h 110662"/>
                  <a:gd name="connsiteX62" fmla="*/ 103499 w 109689"/>
                  <a:gd name="connsiteY62" fmla="*/ 60998 h 110662"/>
                  <a:gd name="connsiteX63" fmla="*/ 103499 w 109689"/>
                  <a:gd name="connsiteY63" fmla="*/ 49568 h 110662"/>
                  <a:gd name="connsiteX64" fmla="*/ 91288 w 109689"/>
                  <a:gd name="connsiteY64" fmla="*/ 49301 h 110662"/>
                  <a:gd name="connsiteX65" fmla="*/ 88487 w 109689"/>
                  <a:gd name="connsiteY65" fmla="*/ 47396 h 110662"/>
                  <a:gd name="connsiteX66" fmla="*/ 84106 w 109689"/>
                  <a:gd name="connsiteY66" fmla="*/ 36709 h 110662"/>
                  <a:gd name="connsiteX67" fmla="*/ 84734 w 109689"/>
                  <a:gd name="connsiteY67" fmla="*/ 33414 h 110662"/>
                  <a:gd name="connsiteX68" fmla="*/ 93212 w 109689"/>
                  <a:gd name="connsiteY68" fmla="*/ 24460 h 110662"/>
                  <a:gd name="connsiteX69" fmla="*/ 85325 w 109689"/>
                  <a:gd name="connsiteY69" fmla="*/ 16516 h 110662"/>
                  <a:gd name="connsiteX70" fmla="*/ 76505 w 109689"/>
                  <a:gd name="connsiteY70" fmla="*/ 25051 h 110662"/>
                  <a:gd name="connsiteX71" fmla="*/ 73152 w 109689"/>
                  <a:gd name="connsiteY71" fmla="*/ 25679 h 110662"/>
                  <a:gd name="connsiteX72" fmla="*/ 62579 w 109689"/>
                  <a:gd name="connsiteY72" fmla="*/ 21260 h 110662"/>
                  <a:gd name="connsiteX73" fmla="*/ 60674 w 109689"/>
                  <a:gd name="connsiteY73" fmla="*/ 18459 h 110662"/>
                  <a:gd name="connsiteX74" fmla="*/ 60408 w 109689"/>
                  <a:gd name="connsiteY74" fmla="*/ 6096 h 110662"/>
                  <a:gd name="connsiteX75" fmla="*/ 49282 w 109689"/>
                  <a:gd name="connsiteY75" fmla="*/ 6096 h 110662"/>
                  <a:gd name="connsiteX76" fmla="*/ 49016 w 109689"/>
                  <a:gd name="connsiteY76" fmla="*/ 18459 h 110662"/>
                  <a:gd name="connsiteX77" fmla="*/ 47111 w 109689"/>
                  <a:gd name="connsiteY77" fmla="*/ 21260 h 110662"/>
                  <a:gd name="connsiteX78" fmla="*/ 36538 w 109689"/>
                  <a:gd name="connsiteY78" fmla="*/ 25679 h 110662"/>
                  <a:gd name="connsiteX79" fmla="*/ 33185 w 109689"/>
                  <a:gd name="connsiteY79" fmla="*/ 25051 h 110662"/>
                  <a:gd name="connsiteX80" fmla="*/ 24365 w 109689"/>
                  <a:gd name="connsiteY80" fmla="*/ 16516 h 110662"/>
                  <a:gd name="connsiteX81" fmla="*/ 16459 w 109689"/>
                  <a:gd name="connsiteY81" fmla="*/ 24498 h 110662"/>
                  <a:gd name="connsiteX82" fmla="*/ 24936 w 109689"/>
                  <a:gd name="connsiteY82" fmla="*/ 33452 h 110662"/>
                  <a:gd name="connsiteX83" fmla="*/ 25565 w 109689"/>
                  <a:gd name="connsiteY83" fmla="*/ 36747 h 110662"/>
                  <a:gd name="connsiteX84" fmla="*/ 21184 w 109689"/>
                  <a:gd name="connsiteY84" fmla="*/ 47434 h 110662"/>
                  <a:gd name="connsiteX85" fmla="*/ 18383 w 109689"/>
                  <a:gd name="connsiteY85" fmla="*/ 49339 h 110662"/>
                  <a:gd name="connsiteX86" fmla="*/ 6191 w 109689"/>
                  <a:gd name="connsiteY86" fmla="*/ 49568 h 110662"/>
                  <a:gd name="connsiteX87" fmla="*/ 6191 w 109689"/>
                  <a:gd name="connsiteY87" fmla="*/ 60998 h 110662"/>
                  <a:gd name="connsiteX88" fmla="*/ 18402 w 109689"/>
                  <a:gd name="connsiteY88" fmla="*/ 61265 h 110662"/>
                  <a:gd name="connsiteX89" fmla="*/ 21203 w 109689"/>
                  <a:gd name="connsiteY89" fmla="*/ 63170 h 110662"/>
                  <a:gd name="connsiteX90" fmla="*/ 25584 w 109689"/>
                  <a:gd name="connsiteY90" fmla="*/ 73857 h 110662"/>
                  <a:gd name="connsiteX91" fmla="*/ 24956 w 109689"/>
                  <a:gd name="connsiteY91" fmla="*/ 77153 h 110662"/>
                  <a:gd name="connsiteX92" fmla="*/ 16478 w 109689"/>
                  <a:gd name="connsiteY92" fmla="*/ 86106 h 110662"/>
                  <a:gd name="connsiteX93" fmla="*/ 24365 w 109689"/>
                  <a:gd name="connsiteY93" fmla="*/ 94050 h 110662"/>
                  <a:gd name="connsiteX94" fmla="*/ 33166 w 109689"/>
                  <a:gd name="connsiteY94" fmla="*/ 85515 h 110662"/>
                  <a:gd name="connsiteX95" fmla="*/ 36519 w 109689"/>
                  <a:gd name="connsiteY95" fmla="*/ 84887 h 110662"/>
                  <a:gd name="connsiteX96" fmla="*/ 47092 w 109689"/>
                  <a:gd name="connsiteY96" fmla="*/ 89306 h 110662"/>
                  <a:gd name="connsiteX97" fmla="*/ 48997 w 109689"/>
                  <a:gd name="connsiteY97" fmla="*/ 92107 h 11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689" h="110662">
                    <a:moveTo>
                      <a:pt x="63437" y="110661"/>
                    </a:moveTo>
                    <a:lnTo>
                      <a:pt x="46292" y="110661"/>
                    </a:lnTo>
                    <a:cubicBezTo>
                      <a:pt x="44613" y="110652"/>
                      <a:pt x="43247" y="109311"/>
                      <a:pt x="43205" y="107633"/>
                    </a:cubicBezTo>
                    <a:lnTo>
                      <a:pt x="42920" y="94298"/>
                    </a:lnTo>
                    <a:lnTo>
                      <a:pt x="36024" y="91478"/>
                    </a:lnTo>
                    <a:lnTo>
                      <a:pt x="26499" y="100717"/>
                    </a:lnTo>
                    <a:cubicBezTo>
                      <a:pt x="25296" y="101909"/>
                      <a:pt x="23358" y="101909"/>
                      <a:pt x="22155" y="100717"/>
                    </a:cubicBezTo>
                    <a:lnTo>
                      <a:pt x="10001" y="88430"/>
                    </a:lnTo>
                    <a:cubicBezTo>
                      <a:pt x="8837" y="87239"/>
                      <a:pt x="8837" y="85336"/>
                      <a:pt x="10001" y="84144"/>
                    </a:cubicBezTo>
                    <a:lnTo>
                      <a:pt x="19107" y="74333"/>
                    </a:lnTo>
                    <a:lnTo>
                      <a:pt x="16250" y="67361"/>
                    </a:lnTo>
                    <a:lnTo>
                      <a:pt x="3029" y="67075"/>
                    </a:lnTo>
                    <a:cubicBezTo>
                      <a:pt x="1351" y="67034"/>
                      <a:pt x="10" y="65667"/>
                      <a:pt x="0" y="63989"/>
                    </a:cubicBezTo>
                    <a:lnTo>
                      <a:pt x="0" y="46596"/>
                    </a:lnTo>
                    <a:cubicBezTo>
                      <a:pt x="10" y="44918"/>
                      <a:pt x="1351" y="43551"/>
                      <a:pt x="3029" y="43510"/>
                    </a:cubicBezTo>
                    <a:lnTo>
                      <a:pt x="16250" y="43224"/>
                    </a:lnTo>
                    <a:lnTo>
                      <a:pt x="19107" y="36233"/>
                    </a:lnTo>
                    <a:lnTo>
                      <a:pt x="9925" y="26556"/>
                    </a:lnTo>
                    <a:cubicBezTo>
                      <a:pt x="8759" y="25358"/>
                      <a:pt x="8759" y="23448"/>
                      <a:pt x="9925" y="22250"/>
                    </a:cubicBezTo>
                    <a:lnTo>
                      <a:pt x="22079" y="9982"/>
                    </a:lnTo>
                    <a:cubicBezTo>
                      <a:pt x="23282" y="8791"/>
                      <a:pt x="25220" y="8791"/>
                      <a:pt x="26422" y="9982"/>
                    </a:cubicBezTo>
                    <a:lnTo>
                      <a:pt x="35947" y="19221"/>
                    </a:lnTo>
                    <a:lnTo>
                      <a:pt x="42805" y="16364"/>
                    </a:lnTo>
                    <a:lnTo>
                      <a:pt x="43091" y="3029"/>
                    </a:lnTo>
                    <a:cubicBezTo>
                      <a:pt x="43132" y="1351"/>
                      <a:pt x="44499" y="10"/>
                      <a:pt x="46177" y="0"/>
                    </a:cubicBezTo>
                    <a:lnTo>
                      <a:pt x="63322" y="0"/>
                    </a:lnTo>
                    <a:cubicBezTo>
                      <a:pt x="65008" y="-1"/>
                      <a:pt x="66386" y="1344"/>
                      <a:pt x="66427" y="3029"/>
                    </a:cubicBezTo>
                    <a:lnTo>
                      <a:pt x="66713" y="16364"/>
                    </a:lnTo>
                    <a:lnTo>
                      <a:pt x="73552" y="19221"/>
                    </a:lnTo>
                    <a:lnTo>
                      <a:pt x="83077" y="9982"/>
                    </a:lnTo>
                    <a:cubicBezTo>
                      <a:pt x="84284" y="8801"/>
                      <a:pt x="86213" y="8801"/>
                      <a:pt x="87420" y="9982"/>
                    </a:cubicBezTo>
                    <a:lnTo>
                      <a:pt x="99574" y="22250"/>
                    </a:lnTo>
                    <a:cubicBezTo>
                      <a:pt x="100741" y="23448"/>
                      <a:pt x="100741" y="25358"/>
                      <a:pt x="99574" y="26556"/>
                    </a:cubicBezTo>
                    <a:lnTo>
                      <a:pt x="90583" y="36233"/>
                    </a:lnTo>
                    <a:lnTo>
                      <a:pt x="93440" y="43205"/>
                    </a:lnTo>
                    <a:lnTo>
                      <a:pt x="106661" y="43491"/>
                    </a:lnTo>
                    <a:cubicBezTo>
                      <a:pt x="108343" y="43522"/>
                      <a:pt x="109690" y="44895"/>
                      <a:pt x="109690" y="46577"/>
                    </a:cubicBezTo>
                    <a:lnTo>
                      <a:pt x="109690" y="63951"/>
                    </a:lnTo>
                    <a:cubicBezTo>
                      <a:pt x="109690" y="65633"/>
                      <a:pt x="108343" y="67006"/>
                      <a:pt x="106661" y="67037"/>
                    </a:cubicBezTo>
                    <a:lnTo>
                      <a:pt x="93440" y="67323"/>
                    </a:lnTo>
                    <a:lnTo>
                      <a:pt x="90583" y="74333"/>
                    </a:lnTo>
                    <a:lnTo>
                      <a:pt x="99765" y="84011"/>
                    </a:lnTo>
                    <a:cubicBezTo>
                      <a:pt x="100929" y="85202"/>
                      <a:pt x="100929" y="87105"/>
                      <a:pt x="99765" y="88297"/>
                    </a:cubicBezTo>
                    <a:lnTo>
                      <a:pt x="87611" y="100584"/>
                    </a:lnTo>
                    <a:cubicBezTo>
                      <a:pt x="86404" y="101765"/>
                      <a:pt x="84475" y="101765"/>
                      <a:pt x="83268" y="100584"/>
                    </a:cubicBezTo>
                    <a:lnTo>
                      <a:pt x="73743" y="91345"/>
                    </a:lnTo>
                    <a:lnTo>
                      <a:pt x="66904" y="94202"/>
                    </a:lnTo>
                    <a:lnTo>
                      <a:pt x="66618" y="107537"/>
                    </a:lnTo>
                    <a:cubicBezTo>
                      <a:pt x="66629" y="109252"/>
                      <a:pt x="65248" y="110652"/>
                      <a:pt x="63533" y="110661"/>
                    </a:cubicBezTo>
                    <a:cubicBezTo>
                      <a:pt x="63501" y="110663"/>
                      <a:pt x="63469" y="110661"/>
                      <a:pt x="63437" y="110661"/>
                    </a:cubicBezTo>
                    <a:close/>
                    <a:moveTo>
                      <a:pt x="49282" y="104470"/>
                    </a:moveTo>
                    <a:lnTo>
                      <a:pt x="60408" y="104470"/>
                    </a:lnTo>
                    <a:lnTo>
                      <a:pt x="60674" y="92107"/>
                    </a:lnTo>
                    <a:cubicBezTo>
                      <a:pt x="60704" y="90880"/>
                      <a:pt x="61449" y="89785"/>
                      <a:pt x="62579" y="89306"/>
                    </a:cubicBezTo>
                    <a:lnTo>
                      <a:pt x="73152" y="84887"/>
                    </a:lnTo>
                    <a:cubicBezTo>
                      <a:pt x="74295" y="84409"/>
                      <a:pt x="75613" y="84656"/>
                      <a:pt x="76505" y="85515"/>
                    </a:cubicBezTo>
                    <a:lnTo>
                      <a:pt x="85325" y="94050"/>
                    </a:lnTo>
                    <a:lnTo>
                      <a:pt x="93212" y="86068"/>
                    </a:lnTo>
                    <a:lnTo>
                      <a:pt x="84734" y="77114"/>
                    </a:lnTo>
                    <a:cubicBezTo>
                      <a:pt x="83894" y="76236"/>
                      <a:pt x="83648" y="74945"/>
                      <a:pt x="84106" y="73819"/>
                    </a:cubicBezTo>
                    <a:lnTo>
                      <a:pt x="88487" y="63132"/>
                    </a:lnTo>
                    <a:cubicBezTo>
                      <a:pt x="88958" y="61996"/>
                      <a:pt x="90058" y="61247"/>
                      <a:pt x="91288" y="61227"/>
                    </a:cubicBezTo>
                    <a:lnTo>
                      <a:pt x="103499" y="60998"/>
                    </a:lnTo>
                    <a:lnTo>
                      <a:pt x="103499" y="49568"/>
                    </a:lnTo>
                    <a:lnTo>
                      <a:pt x="91288" y="49301"/>
                    </a:lnTo>
                    <a:cubicBezTo>
                      <a:pt x="90058" y="49281"/>
                      <a:pt x="88958" y="48533"/>
                      <a:pt x="88487" y="47396"/>
                    </a:cubicBezTo>
                    <a:lnTo>
                      <a:pt x="84106" y="36709"/>
                    </a:lnTo>
                    <a:cubicBezTo>
                      <a:pt x="83648" y="35583"/>
                      <a:pt x="83894" y="34292"/>
                      <a:pt x="84734" y="33414"/>
                    </a:cubicBezTo>
                    <a:lnTo>
                      <a:pt x="93212" y="24460"/>
                    </a:lnTo>
                    <a:lnTo>
                      <a:pt x="85325" y="16516"/>
                    </a:lnTo>
                    <a:lnTo>
                      <a:pt x="76505" y="25051"/>
                    </a:lnTo>
                    <a:cubicBezTo>
                      <a:pt x="75613" y="25910"/>
                      <a:pt x="74295" y="26158"/>
                      <a:pt x="73152" y="25679"/>
                    </a:cubicBezTo>
                    <a:lnTo>
                      <a:pt x="62579" y="21260"/>
                    </a:lnTo>
                    <a:cubicBezTo>
                      <a:pt x="61449" y="20781"/>
                      <a:pt x="60704" y="19686"/>
                      <a:pt x="60674" y="18459"/>
                    </a:cubicBezTo>
                    <a:lnTo>
                      <a:pt x="60408" y="6096"/>
                    </a:lnTo>
                    <a:lnTo>
                      <a:pt x="49282" y="6096"/>
                    </a:lnTo>
                    <a:lnTo>
                      <a:pt x="49016" y="18459"/>
                    </a:lnTo>
                    <a:cubicBezTo>
                      <a:pt x="48991" y="19688"/>
                      <a:pt x="48244" y="20785"/>
                      <a:pt x="47111" y="21260"/>
                    </a:cubicBezTo>
                    <a:lnTo>
                      <a:pt x="36538" y="25679"/>
                    </a:lnTo>
                    <a:cubicBezTo>
                      <a:pt x="35395" y="26157"/>
                      <a:pt x="34077" y="25910"/>
                      <a:pt x="33185" y="25051"/>
                    </a:cubicBezTo>
                    <a:lnTo>
                      <a:pt x="24365" y="16516"/>
                    </a:lnTo>
                    <a:lnTo>
                      <a:pt x="16459" y="24498"/>
                    </a:lnTo>
                    <a:lnTo>
                      <a:pt x="24936" y="33452"/>
                    </a:lnTo>
                    <a:cubicBezTo>
                      <a:pt x="25777" y="34331"/>
                      <a:pt x="26023" y="35621"/>
                      <a:pt x="25565" y="36747"/>
                    </a:cubicBezTo>
                    <a:lnTo>
                      <a:pt x="21184" y="47434"/>
                    </a:lnTo>
                    <a:cubicBezTo>
                      <a:pt x="20713" y="48571"/>
                      <a:pt x="19613" y="49319"/>
                      <a:pt x="18383" y="49339"/>
                    </a:cubicBezTo>
                    <a:lnTo>
                      <a:pt x="6191" y="49568"/>
                    </a:lnTo>
                    <a:lnTo>
                      <a:pt x="6191" y="60998"/>
                    </a:lnTo>
                    <a:lnTo>
                      <a:pt x="18402" y="61265"/>
                    </a:lnTo>
                    <a:cubicBezTo>
                      <a:pt x="19632" y="61285"/>
                      <a:pt x="20732" y="62033"/>
                      <a:pt x="21203" y="63170"/>
                    </a:cubicBezTo>
                    <a:lnTo>
                      <a:pt x="25584" y="73857"/>
                    </a:lnTo>
                    <a:cubicBezTo>
                      <a:pt x="26042" y="74983"/>
                      <a:pt x="25796" y="76274"/>
                      <a:pt x="24956" y="77153"/>
                    </a:cubicBezTo>
                    <a:lnTo>
                      <a:pt x="16478" y="86106"/>
                    </a:lnTo>
                    <a:lnTo>
                      <a:pt x="24365" y="94050"/>
                    </a:lnTo>
                    <a:lnTo>
                      <a:pt x="33166" y="85515"/>
                    </a:lnTo>
                    <a:cubicBezTo>
                      <a:pt x="34058" y="84656"/>
                      <a:pt x="35376" y="84409"/>
                      <a:pt x="36519" y="84887"/>
                    </a:cubicBezTo>
                    <a:lnTo>
                      <a:pt x="47092" y="89306"/>
                    </a:lnTo>
                    <a:cubicBezTo>
                      <a:pt x="48225" y="89781"/>
                      <a:pt x="48971" y="90879"/>
                      <a:pt x="48997" y="9210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8" name="Freeform: Shape 867">
                <a:extLst>
                  <a:ext uri="{FF2B5EF4-FFF2-40B4-BE49-F238E27FC236}">
                    <a16:creationId xmlns:a16="http://schemas.microsoft.com/office/drawing/2014/main" id="{336DDE9D-19A2-4CFE-2819-00E673A31D86}"/>
                  </a:ext>
                </a:extLst>
              </p:cNvPr>
              <p:cNvSpPr/>
              <p:nvPr/>
            </p:nvSpPr>
            <p:spPr>
              <a:xfrm>
                <a:off x="2047107" y="2809205"/>
                <a:ext cx="48649" cy="48882"/>
              </a:xfrm>
              <a:custGeom>
                <a:avLst/>
                <a:gdLst>
                  <a:gd name="connsiteX0" fmla="*/ 24441 w 48649"/>
                  <a:gd name="connsiteY0" fmla="*/ 48882 h 48882"/>
                  <a:gd name="connsiteX1" fmla="*/ 0 w 48649"/>
                  <a:gd name="connsiteY1" fmla="*/ 24441 h 48882"/>
                  <a:gd name="connsiteX2" fmla="*/ 24441 w 48649"/>
                  <a:gd name="connsiteY2" fmla="*/ 0 h 48882"/>
                  <a:gd name="connsiteX3" fmla="*/ 34290 w 48649"/>
                  <a:gd name="connsiteY3" fmla="*/ 2115 h 48882"/>
                  <a:gd name="connsiteX4" fmla="*/ 31756 w 48649"/>
                  <a:gd name="connsiteY4" fmla="*/ 7830 h 48882"/>
                  <a:gd name="connsiteX5" fmla="*/ 24441 w 48649"/>
                  <a:gd name="connsiteY5" fmla="*/ 6191 h 48882"/>
                  <a:gd name="connsiteX6" fmla="*/ 6105 w 48649"/>
                  <a:gd name="connsiteY6" fmla="*/ 24239 h 48882"/>
                  <a:gd name="connsiteX7" fmla="*/ 24152 w 48649"/>
                  <a:gd name="connsiteY7" fmla="*/ 42576 h 48882"/>
                  <a:gd name="connsiteX8" fmla="*/ 42489 w 48649"/>
                  <a:gd name="connsiteY8" fmla="*/ 24528 h 48882"/>
                  <a:gd name="connsiteX9" fmla="*/ 41186 w 48649"/>
                  <a:gd name="connsiteY9" fmla="*/ 17621 h 48882"/>
                  <a:gd name="connsiteX10" fmla="*/ 46901 w 48649"/>
                  <a:gd name="connsiteY10" fmla="*/ 15335 h 48882"/>
                  <a:gd name="connsiteX11" fmla="*/ 33233 w 48649"/>
                  <a:gd name="connsiteY11" fmla="*/ 47142 h 48882"/>
                  <a:gd name="connsiteX12" fmla="*/ 24441 w 48649"/>
                  <a:gd name="connsiteY12" fmla="*/ 48882 h 4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49" h="48882">
                    <a:moveTo>
                      <a:pt x="24441" y="48882"/>
                    </a:moveTo>
                    <a:cubicBezTo>
                      <a:pt x="10943" y="48882"/>
                      <a:pt x="0" y="37940"/>
                      <a:pt x="0" y="24441"/>
                    </a:cubicBezTo>
                    <a:cubicBezTo>
                      <a:pt x="0" y="10943"/>
                      <a:pt x="10943" y="0"/>
                      <a:pt x="24441" y="0"/>
                    </a:cubicBezTo>
                    <a:cubicBezTo>
                      <a:pt x="27837" y="-1"/>
                      <a:pt x="31194" y="720"/>
                      <a:pt x="34290" y="2115"/>
                    </a:cubicBezTo>
                    <a:lnTo>
                      <a:pt x="31756" y="7830"/>
                    </a:lnTo>
                    <a:cubicBezTo>
                      <a:pt x="29462" y="6771"/>
                      <a:pt x="26968" y="6213"/>
                      <a:pt x="24441" y="6191"/>
                    </a:cubicBezTo>
                    <a:cubicBezTo>
                      <a:pt x="14394" y="6111"/>
                      <a:pt x="6184" y="14192"/>
                      <a:pt x="6105" y="24239"/>
                    </a:cubicBezTo>
                    <a:cubicBezTo>
                      <a:pt x="6025" y="34286"/>
                      <a:pt x="14105" y="42496"/>
                      <a:pt x="24152" y="42576"/>
                    </a:cubicBezTo>
                    <a:cubicBezTo>
                      <a:pt x="34200" y="42655"/>
                      <a:pt x="42409" y="34575"/>
                      <a:pt x="42489" y="24528"/>
                    </a:cubicBezTo>
                    <a:cubicBezTo>
                      <a:pt x="42508" y="22163"/>
                      <a:pt x="42065" y="19817"/>
                      <a:pt x="41186" y="17621"/>
                    </a:cubicBezTo>
                    <a:lnTo>
                      <a:pt x="46901" y="15335"/>
                    </a:lnTo>
                    <a:cubicBezTo>
                      <a:pt x="51910" y="27893"/>
                      <a:pt x="45791" y="42133"/>
                      <a:pt x="33233" y="47142"/>
                    </a:cubicBezTo>
                    <a:cubicBezTo>
                      <a:pt x="30435" y="48258"/>
                      <a:pt x="27454" y="48848"/>
                      <a:pt x="24441" y="4888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9" name="Freeform: Shape 868">
                <a:extLst>
                  <a:ext uri="{FF2B5EF4-FFF2-40B4-BE49-F238E27FC236}">
                    <a16:creationId xmlns:a16="http://schemas.microsoft.com/office/drawing/2014/main" id="{7EDD2593-0E70-A10A-9B9F-165E0DC85C12}"/>
                  </a:ext>
                </a:extLst>
              </p:cNvPr>
              <p:cNvSpPr/>
              <p:nvPr/>
            </p:nvSpPr>
            <p:spPr>
              <a:xfrm>
                <a:off x="2068462" y="2734758"/>
                <a:ext cx="6191" cy="35871"/>
              </a:xfrm>
              <a:custGeom>
                <a:avLst/>
                <a:gdLst>
                  <a:gd name="connsiteX0" fmla="*/ 0 w 6191"/>
                  <a:gd name="connsiteY0" fmla="*/ 0 h 35871"/>
                  <a:gd name="connsiteX1" fmla="*/ 6191 w 6191"/>
                  <a:gd name="connsiteY1" fmla="*/ 0 h 35871"/>
                  <a:gd name="connsiteX2" fmla="*/ 6191 w 6191"/>
                  <a:gd name="connsiteY2" fmla="*/ 35871 h 35871"/>
                  <a:gd name="connsiteX3" fmla="*/ 0 w 6191"/>
                  <a:gd name="connsiteY3" fmla="*/ 35871 h 35871"/>
                </a:gdLst>
                <a:ahLst/>
                <a:cxnLst>
                  <a:cxn ang="0">
                    <a:pos x="connsiteX0" y="connsiteY0"/>
                  </a:cxn>
                  <a:cxn ang="0">
                    <a:pos x="connsiteX1" y="connsiteY1"/>
                  </a:cxn>
                  <a:cxn ang="0">
                    <a:pos x="connsiteX2" y="connsiteY2"/>
                  </a:cxn>
                  <a:cxn ang="0">
                    <a:pos x="connsiteX3" y="connsiteY3"/>
                  </a:cxn>
                </a:cxnLst>
                <a:rect l="l" t="t" r="r" b="b"/>
                <a:pathLst>
                  <a:path w="6191" h="35871">
                    <a:moveTo>
                      <a:pt x="0" y="0"/>
                    </a:moveTo>
                    <a:lnTo>
                      <a:pt x="6191" y="0"/>
                    </a:lnTo>
                    <a:lnTo>
                      <a:pt x="6191" y="35871"/>
                    </a:lnTo>
                    <a:lnTo>
                      <a:pt x="0" y="3587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70" name="Freeform: Shape 869">
                <a:extLst>
                  <a:ext uri="{FF2B5EF4-FFF2-40B4-BE49-F238E27FC236}">
                    <a16:creationId xmlns:a16="http://schemas.microsoft.com/office/drawing/2014/main" id="{7163FB22-30EB-F107-3D42-D33355C0C3CC}"/>
                  </a:ext>
                </a:extLst>
              </p:cNvPr>
              <p:cNvSpPr/>
              <p:nvPr/>
            </p:nvSpPr>
            <p:spPr>
              <a:xfrm>
                <a:off x="2060804" y="2716566"/>
                <a:ext cx="21298" cy="21298"/>
              </a:xfrm>
              <a:custGeom>
                <a:avLst/>
                <a:gdLst>
                  <a:gd name="connsiteX0" fmla="*/ 10744 w 21298"/>
                  <a:gd name="connsiteY0" fmla="*/ 21298 h 21298"/>
                  <a:gd name="connsiteX1" fmla="*/ 0 w 21298"/>
                  <a:gd name="connsiteY1" fmla="*/ 10744 h 21298"/>
                  <a:gd name="connsiteX2" fmla="*/ 10554 w 21298"/>
                  <a:gd name="connsiteY2" fmla="*/ 0 h 21298"/>
                  <a:gd name="connsiteX3" fmla="*/ 21298 w 21298"/>
                  <a:gd name="connsiteY3" fmla="*/ 10554 h 21298"/>
                  <a:gd name="connsiteX4" fmla="*/ 21298 w 21298"/>
                  <a:gd name="connsiteY4" fmla="*/ 10649 h 21298"/>
                  <a:gd name="connsiteX5" fmla="*/ 10744 w 21298"/>
                  <a:gd name="connsiteY5" fmla="*/ 21298 h 21298"/>
                  <a:gd name="connsiteX6" fmla="*/ 10744 w 21298"/>
                  <a:gd name="connsiteY6" fmla="*/ 6191 h 21298"/>
                  <a:gd name="connsiteX7" fmla="*/ 6211 w 21298"/>
                  <a:gd name="connsiteY7" fmla="*/ 10572 h 21298"/>
                  <a:gd name="connsiteX8" fmla="*/ 10592 w 21298"/>
                  <a:gd name="connsiteY8" fmla="*/ 15105 h 21298"/>
                  <a:gd name="connsiteX9" fmla="*/ 15125 w 21298"/>
                  <a:gd name="connsiteY9" fmla="*/ 10724 h 21298"/>
                  <a:gd name="connsiteX10" fmla="*/ 15126 w 21298"/>
                  <a:gd name="connsiteY10" fmla="*/ 10649 h 21298"/>
                  <a:gd name="connsiteX11" fmla="*/ 10745 w 21298"/>
                  <a:gd name="connsiteY11" fmla="*/ 6191 h 21298"/>
                  <a:gd name="connsiteX12" fmla="*/ 10744 w 21298"/>
                  <a:gd name="connsiteY12" fmla="*/ 6191 h 2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98" h="21298">
                    <a:moveTo>
                      <a:pt x="10744" y="21298"/>
                    </a:moveTo>
                    <a:cubicBezTo>
                      <a:pt x="4863" y="21350"/>
                      <a:pt x="53" y="16625"/>
                      <a:pt x="0" y="10744"/>
                    </a:cubicBezTo>
                    <a:cubicBezTo>
                      <a:pt x="-52" y="4863"/>
                      <a:pt x="4673" y="53"/>
                      <a:pt x="10554" y="0"/>
                    </a:cubicBezTo>
                    <a:cubicBezTo>
                      <a:pt x="16435" y="-52"/>
                      <a:pt x="21245" y="4673"/>
                      <a:pt x="21298" y="10554"/>
                    </a:cubicBezTo>
                    <a:cubicBezTo>
                      <a:pt x="21298" y="10585"/>
                      <a:pt x="21298" y="10617"/>
                      <a:pt x="21298" y="10649"/>
                    </a:cubicBezTo>
                    <a:cubicBezTo>
                      <a:pt x="21319" y="16501"/>
                      <a:pt x="16597" y="21266"/>
                      <a:pt x="10744" y="21298"/>
                    </a:cubicBezTo>
                    <a:close/>
                    <a:moveTo>
                      <a:pt x="10744" y="6191"/>
                    </a:moveTo>
                    <a:cubicBezTo>
                      <a:pt x="8283" y="6149"/>
                      <a:pt x="6253" y="8110"/>
                      <a:pt x="6211" y="10572"/>
                    </a:cubicBezTo>
                    <a:cubicBezTo>
                      <a:pt x="6169" y="13033"/>
                      <a:pt x="8130" y="15063"/>
                      <a:pt x="10592" y="15105"/>
                    </a:cubicBezTo>
                    <a:cubicBezTo>
                      <a:pt x="13053" y="15147"/>
                      <a:pt x="15083" y="13186"/>
                      <a:pt x="15125" y="10724"/>
                    </a:cubicBezTo>
                    <a:cubicBezTo>
                      <a:pt x="15126" y="10699"/>
                      <a:pt x="15126" y="10674"/>
                      <a:pt x="15126" y="10649"/>
                    </a:cubicBezTo>
                    <a:cubicBezTo>
                      <a:pt x="15147" y="8208"/>
                      <a:pt x="13185" y="6212"/>
                      <a:pt x="10745" y="6191"/>
                    </a:cubicBezTo>
                    <a:cubicBezTo>
                      <a:pt x="10744" y="6191"/>
                      <a:pt x="10744" y="6191"/>
                      <a:pt x="10744" y="6191"/>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85" name="Freeform: Shape 1284">
                <a:extLst>
                  <a:ext uri="{FF2B5EF4-FFF2-40B4-BE49-F238E27FC236}">
                    <a16:creationId xmlns:a16="http://schemas.microsoft.com/office/drawing/2014/main" id="{2215F251-3BE4-1531-24F0-840ED9802500}"/>
                  </a:ext>
                </a:extLst>
              </p:cNvPr>
              <p:cNvSpPr/>
              <p:nvPr/>
            </p:nvSpPr>
            <p:spPr>
              <a:xfrm rot="20262001">
                <a:off x="2041204" y="2758214"/>
                <a:ext cx="6191" cy="17887"/>
              </a:xfrm>
              <a:custGeom>
                <a:avLst/>
                <a:gdLst>
                  <a:gd name="connsiteX0" fmla="*/ 0 w 6191"/>
                  <a:gd name="connsiteY0" fmla="*/ 0 h 17887"/>
                  <a:gd name="connsiteX1" fmla="*/ 6191 w 6191"/>
                  <a:gd name="connsiteY1" fmla="*/ 0 h 17887"/>
                  <a:gd name="connsiteX2" fmla="*/ 6191 w 6191"/>
                  <a:gd name="connsiteY2" fmla="*/ 17888 h 17887"/>
                  <a:gd name="connsiteX3" fmla="*/ 0 w 6191"/>
                  <a:gd name="connsiteY3" fmla="*/ 17888 h 17887"/>
                </a:gdLst>
                <a:ahLst/>
                <a:cxnLst>
                  <a:cxn ang="0">
                    <a:pos x="connsiteX0" y="connsiteY0"/>
                  </a:cxn>
                  <a:cxn ang="0">
                    <a:pos x="connsiteX1" y="connsiteY1"/>
                  </a:cxn>
                  <a:cxn ang="0">
                    <a:pos x="connsiteX2" y="connsiteY2"/>
                  </a:cxn>
                  <a:cxn ang="0">
                    <a:pos x="connsiteX3" y="connsiteY3"/>
                  </a:cxn>
                </a:cxnLst>
                <a:rect l="l" t="t" r="r" b="b"/>
                <a:pathLst>
                  <a:path w="6191" h="17887">
                    <a:moveTo>
                      <a:pt x="0" y="0"/>
                    </a:moveTo>
                    <a:lnTo>
                      <a:pt x="6191" y="0"/>
                    </a:lnTo>
                    <a:lnTo>
                      <a:pt x="6191" y="17888"/>
                    </a:lnTo>
                    <a:lnTo>
                      <a:pt x="0" y="17888"/>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86" name="Freeform: Shape 1285">
                <a:extLst>
                  <a:ext uri="{FF2B5EF4-FFF2-40B4-BE49-F238E27FC236}">
                    <a16:creationId xmlns:a16="http://schemas.microsoft.com/office/drawing/2014/main" id="{B47FFA39-8E28-9504-307C-3EE93F96218D}"/>
                  </a:ext>
                </a:extLst>
              </p:cNvPr>
              <p:cNvSpPr/>
              <p:nvPr/>
            </p:nvSpPr>
            <p:spPr>
              <a:xfrm>
                <a:off x="2027473" y="2741278"/>
                <a:ext cx="21100" cy="21274"/>
              </a:xfrm>
              <a:custGeom>
                <a:avLst/>
                <a:gdLst>
                  <a:gd name="connsiteX0" fmla="*/ 10567 w 21100"/>
                  <a:gd name="connsiteY0" fmla="*/ 21274 h 21274"/>
                  <a:gd name="connsiteX1" fmla="*/ 794 w 21100"/>
                  <a:gd name="connsiteY1" fmla="*/ 14702 h 21274"/>
                  <a:gd name="connsiteX2" fmla="*/ 6509 w 21100"/>
                  <a:gd name="connsiteY2" fmla="*/ 814 h 21274"/>
                  <a:gd name="connsiteX3" fmla="*/ 14586 w 21100"/>
                  <a:gd name="connsiteY3" fmla="*/ 814 h 21274"/>
                  <a:gd name="connsiteX4" fmla="*/ 20301 w 21100"/>
                  <a:gd name="connsiteY4" fmla="*/ 6529 h 21274"/>
                  <a:gd name="connsiteX5" fmla="*/ 20301 w 21100"/>
                  <a:gd name="connsiteY5" fmla="*/ 6529 h 21274"/>
                  <a:gd name="connsiteX6" fmla="*/ 14586 w 21100"/>
                  <a:gd name="connsiteY6" fmla="*/ 20417 h 21274"/>
                  <a:gd name="connsiteX7" fmla="*/ 10567 w 21100"/>
                  <a:gd name="connsiteY7" fmla="*/ 21274 h 21274"/>
                  <a:gd name="connsiteX8" fmla="*/ 10567 w 21100"/>
                  <a:gd name="connsiteY8" fmla="*/ 6186 h 21274"/>
                  <a:gd name="connsiteX9" fmla="*/ 6156 w 21100"/>
                  <a:gd name="connsiteY9" fmla="*/ 10577 h 21274"/>
                  <a:gd name="connsiteX10" fmla="*/ 6528 w 21100"/>
                  <a:gd name="connsiteY10" fmla="*/ 12359 h 21274"/>
                  <a:gd name="connsiteX11" fmla="*/ 8909 w 21100"/>
                  <a:gd name="connsiteY11" fmla="*/ 14778 h 21274"/>
                  <a:gd name="connsiteX12" fmla="*/ 12224 w 21100"/>
                  <a:gd name="connsiteY12" fmla="*/ 14778 h 21274"/>
                  <a:gd name="connsiteX13" fmla="*/ 14605 w 21100"/>
                  <a:gd name="connsiteY13" fmla="*/ 8949 h 21274"/>
                  <a:gd name="connsiteX14" fmla="*/ 14605 w 21100"/>
                  <a:gd name="connsiteY14" fmla="*/ 8949 h 21274"/>
                  <a:gd name="connsiteX15" fmla="*/ 12205 w 21100"/>
                  <a:gd name="connsiteY15" fmla="*/ 6548 h 21274"/>
                  <a:gd name="connsiteX16" fmla="*/ 10567 w 21100"/>
                  <a:gd name="connsiteY16" fmla="*/ 6186 h 2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100" h="21274">
                    <a:moveTo>
                      <a:pt x="10567" y="21274"/>
                    </a:moveTo>
                    <a:cubicBezTo>
                      <a:pt x="6278" y="21268"/>
                      <a:pt x="2417" y="18672"/>
                      <a:pt x="794" y="14702"/>
                    </a:cubicBezTo>
                    <a:cubicBezTo>
                      <a:pt x="-1411" y="9289"/>
                      <a:pt x="1132" y="3107"/>
                      <a:pt x="6509" y="814"/>
                    </a:cubicBezTo>
                    <a:cubicBezTo>
                      <a:pt x="9092" y="-271"/>
                      <a:pt x="12003" y="-271"/>
                      <a:pt x="14586" y="814"/>
                    </a:cubicBezTo>
                    <a:cubicBezTo>
                      <a:pt x="17173" y="1887"/>
                      <a:pt x="19228" y="3943"/>
                      <a:pt x="20301" y="6529"/>
                    </a:cubicBezTo>
                    <a:lnTo>
                      <a:pt x="20301" y="6529"/>
                    </a:lnTo>
                    <a:cubicBezTo>
                      <a:pt x="22518" y="11942"/>
                      <a:pt x="19971" y="18132"/>
                      <a:pt x="14586" y="20417"/>
                    </a:cubicBezTo>
                    <a:cubicBezTo>
                      <a:pt x="13316" y="20966"/>
                      <a:pt x="11950" y="21258"/>
                      <a:pt x="10567" y="21274"/>
                    </a:cubicBezTo>
                    <a:close/>
                    <a:moveTo>
                      <a:pt x="10567" y="6186"/>
                    </a:moveTo>
                    <a:cubicBezTo>
                      <a:pt x="8136" y="6181"/>
                      <a:pt x="6161" y="8146"/>
                      <a:pt x="6156" y="10577"/>
                    </a:cubicBezTo>
                    <a:cubicBezTo>
                      <a:pt x="6154" y="11190"/>
                      <a:pt x="6281" y="11797"/>
                      <a:pt x="6528" y="12359"/>
                    </a:cubicBezTo>
                    <a:cubicBezTo>
                      <a:pt x="6968" y="13450"/>
                      <a:pt x="7825" y="14321"/>
                      <a:pt x="8909" y="14778"/>
                    </a:cubicBezTo>
                    <a:cubicBezTo>
                      <a:pt x="9971" y="15216"/>
                      <a:pt x="11163" y="15216"/>
                      <a:pt x="12224" y="14778"/>
                    </a:cubicBezTo>
                    <a:cubicBezTo>
                      <a:pt x="14481" y="13816"/>
                      <a:pt x="15543" y="11216"/>
                      <a:pt x="14605" y="8949"/>
                    </a:cubicBezTo>
                    <a:lnTo>
                      <a:pt x="14605" y="8949"/>
                    </a:lnTo>
                    <a:cubicBezTo>
                      <a:pt x="14157" y="7861"/>
                      <a:pt x="13293" y="6997"/>
                      <a:pt x="12205" y="6548"/>
                    </a:cubicBezTo>
                    <a:cubicBezTo>
                      <a:pt x="11690" y="6315"/>
                      <a:pt x="11132" y="6192"/>
                      <a:pt x="10567" y="618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87" name="Freeform: Shape 1286">
                <a:extLst>
                  <a:ext uri="{FF2B5EF4-FFF2-40B4-BE49-F238E27FC236}">
                    <a16:creationId xmlns:a16="http://schemas.microsoft.com/office/drawing/2014/main" id="{76AC8081-C6C7-B024-6A16-7D65D0208892}"/>
                  </a:ext>
                </a:extLst>
              </p:cNvPr>
              <p:cNvSpPr/>
              <p:nvPr/>
            </p:nvSpPr>
            <p:spPr>
              <a:xfrm rot="17562000">
                <a:off x="2002629" y="2797226"/>
                <a:ext cx="6191" cy="17754"/>
              </a:xfrm>
              <a:custGeom>
                <a:avLst/>
                <a:gdLst>
                  <a:gd name="connsiteX0" fmla="*/ 0 w 6191"/>
                  <a:gd name="connsiteY0" fmla="*/ 0 h 17754"/>
                  <a:gd name="connsiteX1" fmla="*/ 6191 w 6191"/>
                  <a:gd name="connsiteY1" fmla="*/ 0 h 17754"/>
                  <a:gd name="connsiteX2" fmla="*/ 6191 w 6191"/>
                  <a:gd name="connsiteY2" fmla="*/ 17755 h 17754"/>
                  <a:gd name="connsiteX3" fmla="*/ 0 w 6191"/>
                  <a:gd name="connsiteY3" fmla="*/ 17755 h 17754"/>
                </a:gdLst>
                <a:ahLst/>
                <a:cxnLst>
                  <a:cxn ang="0">
                    <a:pos x="connsiteX0" y="connsiteY0"/>
                  </a:cxn>
                  <a:cxn ang="0">
                    <a:pos x="connsiteX1" y="connsiteY1"/>
                  </a:cxn>
                  <a:cxn ang="0">
                    <a:pos x="connsiteX2" y="connsiteY2"/>
                  </a:cxn>
                  <a:cxn ang="0">
                    <a:pos x="connsiteX3" y="connsiteY3"/>
                  </a:cxn>
                </a:cxnLst>
                <a:rect l="l" t="t" r="r" b="b"/>
                <a:pathLst>
                  <a:path w="6191" h="17754">
                    <a:moveTo>
                      <a:pt x="0" y="0"/>
                    </a:moveTo>
                    <a:lnTo>
                      <a:pt x="6191" y="0"/>
                    </a:lnTo>
                    <a:lnTo>
                      <a:pt x="6191" y="17755"/>
                    </a:lnTo>
                    <a:lnTo>
                      <a:pt x="0" y="17755"/>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88" name="Freeform: Shape 1287">
                <a:extLst>
                  <a:ext uri="{FF2B5EF4-FFF2-40B4-BE49-F238E27FC236}">
                    <a16:creationId xmlns:a16="http://schemas.microsoft.com/office/drawing/2014/main" id="{BD3A05F1-4FD1-0F82-7CA4-1A01ABD005BA}"/>
                  </a:ext>
                </a:extLst>
              </p:cNvPr>
              <p:cNvSpPr/>
              <p:nvPr/>
            </p:nvSpPr>
            <p:spPr>
              <a:xfrm>
                <a:off x="1980060" y="2789138"/>
                <a:ext cx="21123" cy="21305"/>
              </a:xfrm>
              <a:custGeom>
                <a:avLst/>
                <a:gdLst>
                  <a:gd name="connsiteX0" fmla="*/ 10583 w 21123"/>
                  <a:gd name="connsiteY0" fmla="*/ 21306 h 21305"/>
                  <a:gd name="connsiteX1" fmla="*/ 6526 w 21123"/>
                  <a:gd name="connsiteY1" fmla="*/ 20468 h 21305"/>
                  <a:gd name="connsiteX2" fmla="*/ 841 w 21123"/>
                  <a:gd name="connsiteY2" fmla="*/ 6493 h 21305"/>
                  <a:gd name="connsiteX3" fmla="*/ 6526 w 21123"/>
                  <a:gd name="connsiteY3" fmla="*/ 808 h 21305"/>
                  <a:gd name="connsiteX4" fmla="*/ 14603 w 21123"/>
                  <a:gd name="connsiteY4" fmla="*/ 808 h 21305"/>
                  <a:gd name="connsiteX5" fmla="*/ 20318 w 21123"/>
                  <a:gd name="connsiteY5" fmla="*/ 14696 h 21305"/>
                  <a:gd name="connsiteX6" fmla="*/ 14603 w 21123"/>
                  <a:gd name="connsiteY6" fmla="*/ 20411 h 21305"/>
                  <a:gd name="connsiteX7" fmla="*/ 10583 w 21123"/>
                  <a:gd name="connsiteY7" fmla="*/ 21306 h 21305"/>
                  <a:gd name="connsiteX8" fmla="*/ 10583 w 21123"/>
                  <a:gd name="connsiteY8" fmla="*/ 6199 h 21305"/>
                  <a:gd name="connsiteX9" fmla="*/ 6545 w 21123"/>
                  <a:gd name="connsiteY9" fmla="*/ 8942 h 21305"/>
                  <a:gd name="connsiteX10" fmla="*/ 8926 w 21123"/>
                  <a:gd name="connsiteY10" fmla="*/ 14772 h 21305"/>
                  <a:gd name="connsiteX11" fmla="*/ 12241 w 21123"/>
                  <a:gd name="connsiteY11" fmla="*/ 14772 h 21305"/>
                  <a:gd name="connsiteX12" fmla="*/ 14622 w 21123"/>
                  <a:gd name="connsiteY12" fmla="*/ 12371 h 21305"/>
                  <a:gd name="connsiteX13" fmla="*/ 12241 w 21123"/>
                  <a:gd name="connsiteY13" fmla="*/ 6542 h 21305"/>
                  <a:gd name="connsiteX14" fmla="*/ 12241 w 21123"/>
                  <a:gd name="connsiteY14" fmla="*/ 6542 h 21305"/>
                  <a:gd name="connsiteX15" fmla="*/ 10583 w 21123"/>
                  <a:gd name="connsiteY15" fmla="*/ 6199 h 2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23" h="21305">
                    <a:moveTo>
                      <a:pt x="10583" y="21306"/>
                    </a:moveTo>
                    <a:cubicBezTo>
                      <a:pt x="9188" y="21300"/>
                      <a:pt x="7809" y="21015"/>
                      <a:pt x="6526" y="20468"/>
                    </a:cubicBezTo>
                    <a:cubicBezTo>
                      <a:pt x="1097" y="18178"/>
                      <a:pt x="-1448" y="11922"/>
                      <a:pt x="841" y="6493"/>
                    </a:cubicBezTo>
                    <a:cubicBezTo>
                      <a:pt x="1922" y="3929"/>
                      <a:pt x="3962" y="1889"/>
                      <a:pt x="6526" y="808"/>
                    </a:cubicBezTo>
                    <a:cubicBezTo>
                      <a:pt x="9110" y="-269"/>
                      <a:pt x="12018" y="-269"/>
                      <a:pt x="14603" y="808"/>
                    </a:cubicBezTo>
                    <a:cubicBezTo>
                      <a:pt x="19995" y="3085"/>
                      <a:pt x="22546" y="9282"/>
                      <a:pt x="20318" y="14696"/>
                    </a:cubicBezTo>
                    <a:cubicBezTo>
                      <a:pt x="19256" y="17289"/>
                      <a:pt x="17197" y="19348"/>
                      <a:pt x="14603" y="20411"/>
                    </a:cubicBezTo>
                    <a:cubicBezTo>
                      <a:pt x="13334" y="20969"/>
                      <a:pt x="11969" y="21273"/>
                      <a:pt x="10583" y="21306"/>
                    </a:cubicBezTo>
                    <a:close/>
                    <a:moveTo>
                      <a:pt x="10583" y="6199"/>
                    </a:moveTo>
                    <a:cubicBezTo>
                      <a:pt x="8804" y="6204"/>
                      <a:pt x="7205" y="7290"/>
                      <a:pt x="6545" y="8942"/>
                    </a:cubicBezTo>
                    <a:cubicBezTo>
                      <a:pt x="5607" y="11210"/>
                      <a:pt x="6669" y="13810"/>
                      <a:pt x="8926" y="14772"/>
                    </a:cubicBezTo>
                    <a:cubicBezTo>
                      <a:pt x="9983" y="15230"/>
                      <a:pt x="11183" y="15230"/>
                      <a:pt x="12241" y="14772"/>
                    </a:cubicBezTo>
                    <a:cubicBezTo>
                      <a:pt x="13327" y="14328"/>
                      <a:pt x="14187" y="13461"/>
                      <a:pt x="14622" y="12371"/>
                    </a:cubicBezTo>
                    <a:cubicBezTo>
                      <a:pt x="15560" y="10104"/>
                      <a:pt x="14498" y="7504"/>
                      <a:pt x="12241" y="6542"/>
                    </a:cubicBezTo>
                    <a:lnTo>
                      <a:pt x="12241" y="6542"/>
                    </a:lnTo>
                    <a:cubicBezTo>
                      <a:pt x="11717" y="6316"/>
                      <a:pt x="11154" y="6199"/>
                      <a:pt x="10583" y="619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89" name="Freeform: Shape 1288">
                <a:extLst>
                  <a:ext uri="{FF2B5EF4-FFF2-40B4-BE49-F238E27FC236}">
                    <a16:creationId xmlns:a16="http://schemas.microsoft.com/office/drawing/2014/main" id="{594B325F-5ADE-CB25-73F6-378BD9A2F6DB}"/>
                  </a:ext>
                </a:extLst>
              </p:cNvPr>
              <p:cNvSpPr/>
              <p:nvPr/>
            </p:nvSpPr>
            <p:spPr>
              <a:xfrm rot="20236800">
                <a:off x="1996845" y="2858101"/>
                <a:ext cx="17754" cy="6191"/>
              </a:xfrm>
              <a:custGeom>
                <a:avLst/>
                <a:gdLst>
                  <a:gd name="connsiteX0" fmla="*/ 0 w 17754"/>
                  <a:gd name="connsiteY0" fmla="*/ 0 h 6191"/>
                  <a:gd name="connsiteX1" fmla="*/ 17755 w 17754"/>
                  <a:gd name="connsiteY1" fmla="*/ 0 h 6191"/>
                  <a:gd name="connsiteX2" fmla="*/ 17755 w 17754"/>
                  <a:gd name="connsiteY2" fmla="*/ 6191 h 6191"/>
                  <a:gd name="connsiteX3" fmla="*/ 0 w 17754"/>
                  <a:gd name="connsiteY3" fmla="*/ 6191 h 6191"/>
                </a:gdLst>
                <a:ahLst/>
                <a:cxnLst>
                  <a:cxn ang="0">
                    <a:pos x="connsiteX0" y="connsiteY0"/>
                  </a:cxn>
                  <a:cxn ang="0">
                    <a:pos x="connsiteX1" y="connsiteY1"/>
                  </a:cxn>
                  <a:cxn ang="0">
                    <a:pos x="connsiteX2" y="connsiteY2"/>
                  </a:cxn>
                  <a:cxn ang="0">
                    <a:pos x="connsiteX3" y="connsiteY3"/>
                  </a:cxn>
                </a:cxnLst>
                <a:rect l="l" t="t" r="r" b="b"/>
                <a:pathLst>
                  <a:path w="17754" h="6191">
                    <a:moveTo>
                      <a:pt x="0" y="0"/>
                    </a:moveTo>
                    <a:lnTo>
                      <a:pt x="17755" y="0"/>
                    </a:lnTo>
                    <a:lnTo>
                      <a:pt x="177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96" name="Freeform: Shape 1295">
                <a:extLst>
                  <a:ext uri="{FF2B5EF4-FFF2-40B4-BE49-F238E27FC236}">
                    <a16:creationId xmlns:a16="http://schemas.microsoft.com/office/drawing/2014/main" id="{C2A25A9D-3E52-53BB-978D-A1CC0C462045}"/>
                  </a:ext>
                </a:extLst>
              </p:cNvPr>
              <p:cNvSpPr/>
              <p:nvPr/>
            </p:nvSpPr>
            <p:spPr>
              <a:xfrm>
                <a:off x="1980106" y="2856855"/>
                <a:ext cx="21096" cy="21292"/>
              </a:xfrm>
              <a:custGeom>
                <a:avLst/>
                <a:gdLst>
                  <a:gd name="connsiteX0" fmla="*/ 10538 w 21096"/>
                  <a:gd name="connsiteY0" fmla="*/ 21292 h 21292"/>
                  <a:gd name="connsiteX1" fmla="*/ 1 w 21096"/>
                  <a:gd name="connsiteY1" fmla="*/ 10495 h 21292"/>
                  <a:gd name="connsiteX2" fmla="*/ 6480 w 21096"/>
                  <a:gd name="connsiteY2" fmla="*/ 813 h 21292"/>
                  <a:gd name="connsiteX3" fmla="*/ 20279 w 21096"/>
                  <a:gd name="connsiteY3" fmla="*/ 6500 h 21292"/>
                  <a:gd name="connsiteX4" fmla="*/ 20291 w 21096"/>
                  <a:gd name="connsiteY4" fmla="*/ 6528 h 21292"/>
                  <a:gd name="connsiteX5" fmla="*/ 14576 w 21096"/>
                  <a:gd name="connsiteY5" fmla="*/ 20416 h 21292"/>
                  <a:gd name="connsiteX6" fmla="*/ 10538 w 21096"/>
                  <a:gd name="connsiteY6" fmla="*/ 21292 h 21292"/>
                  <a:gd name="connsiteX7" fmla="*/ 10538 w 21096"/>
                  <a:gd name="connsiteY7" fmla="*/ 6186 h 21292"/>
                  <a:gd name="connsiteX8" fmla="*/ 8880 w 21096"/>
                  <a:gd name="connsiteY8" fmla="*/ 6528 h 21292"/>
                  <a:gd name="connsiteX9" fmla="*/ 8880 w 21096"/>
                  <a:gd name="connsiteY9" fmla="*/ 6528 h 21292"/>
                  <a:gd name="connsiteX10" fmla="*/ 6499 w 21096"/>
                  <a:gd name="connsiteY10" fmla="*/ 12358 h 21292"/>
                  <a:gd name="connsiteX11" fmla="*/ 8880 w 21096"/>
                  <a:gd name="connsiteY11" fmla="*/ 14777 h 21292"/>
                  <a:gd name="connsiteX12" fmla="*/ 12214 w 21096"/>
                  <a:gd name="connsiteY12" fmla="*/ 14777 h 21292"/>
                  <a:gd name="connsiteX13" fmla="*/ 14576 w 21096"/>
                  <a:gd name="connsiteY13" fmla="*/ 8948 h 21292"/>
                  <a:gd name="connsiteX14" fmla="*/ 12195 w 21096"/>
                  <a:gd name="connsiteY14" fmla="*/ 6548 h 21292"/>
                  <a:gd name="connsiteX15" fmla="*/ 10538 w 21096"/>
                  <a:gd name="connsiteY15" fmla="*/ 6186 h 2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096" h="21292">
                    <a:moveTo>
                      <a:pt x="10538" y="21292"/>
                    </a:moveTo>
                    <a:cubicBezTo>
                      <a:pt x="4646" y="21220"/>
                      <a:pt x="-71" y="16386"/>
                      <a:pt x="1" y="10495"/>
                    </a:cubicBezTo>
                    <a:cubicBezTo>
                      <a:pt x="52" y="6269"/>
                      <a:pt x="2593" y="2473"/>
                      <a:pt x="6480" y="813"/>
                    </a:cubicBezTo>
                    <a:cubicBezTo>
                      <a:pt x="11861" y="-1427"/>
                      <a:pt x="18039" y="1119"/>
                      <a:pt x="20279" y="6500"/>
                    </a:cubicBezTo>
                    <a:cubicBezTo>
                      <a:pt x="20283" y="6509"/>
                      <a:pt x="20287" y="6519"/>
                      <a:pt x="20291" y="6528"/>
                    </a:cubicBezTo>
                    <a:cubicBezTo>
                      <a:pt x="22519" y="11942"/>
                      <a:pt x="19969" y="18139"/>
                      <a:pt x="14576" y="20416"/>
                    </a:cubicBezTo>
                    <a:cubicBezTo>
                      <a:pt x="13302" y="20974"/>
                      <a:pt x="11929" y="21272"/>
                      <a:pt x="10538" y="21292"/>
                    </a:cubicBezTo>
                    <a:close/>
                    <a:moveTo>
                      <a:pt x="10538" y="6186"/>
                    </a:moveTo>
                    <a:cubicBezTo>
                      <a:pt x="9967" y="6185"/>
                      <a:pt x="9404" y="6302"/>
                      <a:pt x="8880" y="6528"/>
                    </a:cubicBezTo>
                    <a:lnTo>
                      <a:pt x="8880" y="6528"/>
                    </a:lnTo>
                    <a:cubicBezTo>
                      <a:pt x="6623" y="7491"/>
                      <a:pt x="5561" y="10090"/>
                      <a:pt x="6499" y="12358"/>
                    </a:cubicBezTo>
                    <a:cubicBezTo>
                      <a:pt x="6939" y="13449"/>
                      <a:pt x="7796" y="14320"/>
                      <a:pt x="8880" y="14777"/>
                    </a:cubicBezTo>
                    <a:cubicBezTo>
                      <a:pt x="9946" y="15225"/>
                      <a:pt x="11148" y="15225"/>
                      <a:pt x="12214" y="14777"/>
                    </a:cubicBezTo>
                    <a:cubicBezTo>
                      <a:pt x="14464" y="13808"/>
                      <a:pt x="15516" y="11210"/>
                      <a:pt x="14576" y="8948"/>
                    </a:cubicBezTo>
                    <a:cubicBezTo>
                      <a:pt x="14141" y="7858"/>
                      <a:pt x="13282" y="6991"/>
                      <a:pt x="12195" y="6548"/>
                    </a:cubicBezTo>
                    <a:cubicBezTo>
                      <a:pt x="11673" y="6316"/>
                      <a:pt x="11109" y="6193"/>
                      <a:pt x="10538" y="618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98" name="Freeform: Shape 1297">
                <a:extLst>
                  <a:ext uri="{FF2B5EF4-FFF2-40B4-BE49-F238E27FC236}">
                    <a16:creationId xmlns:a16="http://schemas.microsoft.com/office/drawing/2014/main" id="{F1C76957-B5A9-82FE-3518-02904AB6FA84}"/>
                  </a:ext>
                </a:extLst>
              </p:cNvPr>
              <p:cNvSpPr/>
              <p:nvPr/>
            </p:nvSpPr>
            <p:spPr>
              <a:xfrm rot="17536800">
                <a:off x="2035352" y="2897079"/>
                <a:ext cx="17887" cy="6191"/>
              </a:xfrm>
              <a:custGeom>
                <a:avLst/>
                <a:gdLst>
                  <a:gd name="connsiteX0" fmla="*/ 0 w 17887"/>
                  <a:gd name="connsiteY0" fmla="*/ 0 h 6191"/>
                  <a:gd name="connsiteX1" fmla="*/ 17888 w 17887"/>
                  <a:gd name="connsiteY1" fmla="*/ 0 h 6191"/>
                  <a:gd name="connsiteX2" fmla="*/ 17888 w 17887"/>
                  <a:gd name="connsiteY2" fmla="*/ 6191 h 6191"/>
                  <a:gd name="connsiteX3" fmla="*/ 0 w 17887"/>
                  <a:gd name="connsiteY3" fmla="*/ 6191 h 6191"/>
                </a:gdLst>
                <a:ahLst/>
                <a:cxnLst>
                  <a:cxn ang="0">
                    <a:pos x="connsiteX0" y="connsiteY0"/>
                  </a:cxn>
                  <a:cxn ang="0">
                    <a:pos x="connsiteX1" y="connsiteY1"/>
                  </a:cxn>
                  <a:cxn ang="0">
                    <a:pos x="connsiteX2" y="connsiteY2"/>
                  </a:cxn>
                  <a:cxn ang="0">
                    <a:pos x="connsiteX3" y="connsiteY3"/>
                  </a:cxn>
                </a:cxnLst>
                <a:rect l="l" t="t" r="r" b="b"/>
                <a:pathLst>
                  <a:path w="17887" h="6191">
                    <a:moveTo>
                      <a:pt x="0" y="0"/>
                    </a:moveTo>
                    <a:lnTo>
                      <a:pt x="17888" y="0"/>
                    </a:lnTo>
                    <a:lnTo>
                      <a:pt x="17888"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99" name="Freeform: Shape 1298">
                <a:extLst>
                  <a:ext uri="{FF2B5EF4-FFF2-40B4-BE49-F238E27FC236}">
                    <a16:creationId xmlns:a16="http://schemas.microsoft.com/office/drawing/2014/main" id="{2D01FF9C-5A6F-1465-B24D-A43F15A3D107}"/>
                  </a:ext>
                </a:extLst>
              </p:cNvPr>
              <p:cNvSpPr/>
              <p:nvPr/>
            </p:nvSpPr>
            <p:spPr>
              <a:xfrm>
                <a:off x="2027473" y="2904784"/>
                <a:ext cx="21172" cy="21274"/>
              </a:xfrm>
              <a:custGeom>
                <a:avLst/>
                <a:gdLst>
                  <a:gd name="connsiteX0" fmla="*/ 10567 w 21172"/>
                  <a:gd name="connsiteY0" fmla="*/ 21236 h 21274"/>
                  <a:gd name="connsiteX1" fmla="*/ 6509 w 21172"/>
                  <a:gd name="connsiteY1" fmla="*/ 20417 h 21274"/>
                  <a:gd name="connsiteX2" fmla="*/ 794 w 21172"/>
                  <a:gd name="connsiteY2" fmla="*/ 6529 h 21274"/>
                  <a:gd name="connsiteX3" fmla="*/ 794 w 21172"/>
                  <a:gd name="connsiteY3" fmla="*/ 6529 h 21274"/>
                  <a:gd name="connsiteX4" fmla="*/ 6509 w 21172"/>
                  <a:gd name="connsiteY4" fmla="*/ 814 h 21274"/>
                  <a:gd name="connsiteX5" fmla="*/ 14586 w 21172"/>
                  <a:gd name="connsiteY5" fmla="*/ 814 h 21274"/>
                  <a:gd name="connsiteX6" fmla="*/ 20370 w 21172"/>
                  <a:gd name="connsiteY6" fmla="*/ 14690 h 21274"/>
                  <a:gd name="connsiteX7" fmla="*/ 10529 w 21172"/>
                  <a:gd name="connsiteY7" fmla="*/ 21274 h 21274"/>
                  <a:gd name="connsiteX8" fmla="*/ 6528 w 21172"/>
                  <a:gd name="connsiteY8" fmla="*/ 8873 h 21274"/>
                  <a:gd name="connsiteX9" fmla="*/ 8890 w 21172"/>
                  <a:gd name="connsiteY9" fmla="*/ 14702 h 21274"/>
                  <a:gd name="connsiteX10" fmla="*/ 12205 w 21172"/>
                  <a:gd name="connsiteY10" fmla="*/ 14702 h 21274"/>
                  <a:gd name="connsiteX11" fmla="*/ 14605 w 21172"/>
                  <a:gd name="connsiteY11" fmla="*/ 12302 h 21274"/>
                  <a:gd name="connsiteX12" fmla="*/ 12224 w 21172"/>
                  <a:gd name="connsiteY12" fmla="*/ 6453 h 21274"/>
                  <a:gd name="connsiteX13" fmla="*/ 8909 w 21172"/>
                  <a:gd name="connsiteY13" fmla="*/ 6453 h 21274"/>
                  <a:gd name="connsiteX14" fmla="*/ 6528 w 21172"/>
                  <a:gd name="connsiteY14" fmla="*/ 8873 h 2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72" h="21274">
                    <a:moveTo>
                      <a:pt x="10567" y="21236"/>
                    </a:moveTo>
                    <a:cubicBezTo>
                      <a:pt x="9173" y="21236"/>
                      <a:pt x="7793" y="20958"/>
                      <a:pt x="6509" y="20417"/>
                    </a:cubicBezTo>
                    <a:cubicBezTo>
                      <a:pt x="1132" y="18123"/>
                      <a:pt x="-1411" y="11943"/>
                      <a:pt x="794" y="6529"/>
                    </a:cubicBezTo>
                    <a:lnTo>
                      <a:pt x="794" y="6529"/>
                    </a:lnTo>
                    <a:cubicBezTo>
                      <a:pt x="1865" y="3942"/>
                      <a:pt x="3921" y="1885"/>
                      <a:pt x="6509" y="814"/>
                    </a:cubicBezTo>
                    <a:cubicBezTo>
                      <a:pt x="9092" y="-271"/>
                      <a:pt x="12003" y="-271"/>
                      <a:pt x="14586" y="814"/>
                    </a:cubicBezTo>
                    <a:cubicBezTo>
                      <a:pt x="20015" y="3049"/>
                      <a:pt x="22605" y="9261"/>
                      <a:pt x="20370" y="14690"/>
                    </a:cubicBezTo>
                    <a:cubicBezTo>
                      <a:pt x="18729" y="18678"/>
                      <a:pt x="14841" y="21278"/>
                      <a:pt x="10529" y="21274"/>
                    </a:cubicBezTo>
                    <a:close/>
                    <a:moveTo>
                      <a:pt x="6528" y="8873"/>
                    </a:moveTo>
                    <a:cubicBezTo>
                      <a:pt x="5599" y="11134"/>
                      <a:pt x="6648" y="13725"/>
                      <a:pt x="8890" y="14702"/>
                    </a:cubicBezTo>
                    <a:cubicBezTo>
                      <a:pt x="9952" y="15140"/>
                      <a:pt x="11143" y="15140"/>
                      <a:pt x="12205" y="14702"/>
                    </a:cubicBezTo>
                    <a:cubicBezTo>
                      <a:pt x="13293" y="14252"/>
                      <a:pt x="14157" y="13389"/>
                      <a:pt x="14605" y="12302"/>
                    </a:cubicBezTo>
                    <a:cubicBezTo>
                      <a:pt x="15545" y="10029"/>
                      <a:pt x="14483" y="7423"/>
                      <a:pt x="12224" y="6453"/>
                    </a:cubicBezTo>
                    <a:cubicBezTo>
                      <a:pt x="11163" y="6015"/>
                      <a:pt x="9971" y="6015"/>
                      <a:pt x="8909" y="6453"/>
                    </a:cubicBezTo>
                    <a:cubicBezTo>
                      <a:pt x="7825" y="6910"/>
                      <a:pt x="6968" y="7781"/>
                      <a:pt x="6528" y="8873"/>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1" name="Freeform: Shape 1300">
                <a:extLst>
                  <a:ext uri="{FF2B5EF4-FFF2-40B4-BE49-F238E27FC236}">
                    <a16:creationId xmlns:a16="http://schemas.microsoft.com/office/drawing/2014/main" id="{D5568A7C-1FAE-C06A-11D1-D585FDFB3B1F}"/>
                  </a:ext>
                </a:extLst>
              </p:cNvPr>
              <p:cNvSpPr/>
              <p:nvPr/>
            </p:nvSpPr>
            <p:spPr>
              <a:xfrm rot="20262001">
                <a:off x="2095723" y="2891219"/>
                <a:ext cx="6191" cy="17887"/>
              </a:xfrm>
              <a:custGeom>
                <a:avLst/>
                <a:gdLst>
                  <a:gd name="connsiteX0" fmla="*/ 0 w 6191"/>
                  <a:gd name="connsiteY0" fmla="*/ 0 h 17887"/>
                  <a:gd name="connsiteX1" fmla="*/ 6191 w 6191"/>
                  <a:gd name="connsiteY1" fmla="*/ 0 h 17887"/>
                  <a:gd name="connsiteX2" fmla="*/ 6191 w 6191"/>
                  <a:gd name="connsiteY2" fmla="*/ 17888 h 17887"/>
                  <a:gd name="connsiteX3" fmla="*/ 0 w 6191"/>
                  <a:gd name="connsiteY3" fmla="*/ 17888 h 17887"/>
                </a:gdLst>
                <a:ahLst/>
                <a:cxnLst>
                  <a:cxn ang="0">
                    <a:pos x="connsiteX0" y="connsiteY0"/>
                  </a:cxn>
                  <a:cxn ang="0">
                    <a:pos x="connsiteX1" y="connsiteY1"/>
                  </a:cxn>
                  <a:cxn ang="0">
                    <a:pos x="connsiteX2" y="connsiteY2"/>
                  </a:cxn>
                  <a:cxn ang="0">
                    <a:pos x="connsiteX3" y="connsiteY3"/>
                  </a:cxn>
                </a:cxnLst>
                <a:rect l="l" t="t" r="r" b="b"/>
                <a:pathLst>
                  <a:path w="6191" h="17887">
                    <a:moveTo>
                      <a:pt x="0" y="0"/>
                    </a:moveTo>
                    <a:lnTo>
                      <a:pt x="6191" y="0"/>
                    </a:lnTo>
                    <a:lnTo>
                      <a:pt x="6191" y="17888"/>
                    </a:lnTo>
                    <a:lnTo>
                      <a:pt x="0" y="17888"/>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4" name="Freeform: Shape 1303">
                <a:extLst>
                  <a:ext uri="{FF2B5EF4-FFF2-40B4-BE49-F238E27FC236}">
                    <a16:creationId xmlns:a16="http://schemas.microsoft.com/office/drawing/2014/main" id="{D741DF0A-8646-A9C1-A35B-98B946FE5711}"/>
                  </a:ext>
                </a:extLst>
              </p:cNvPr>
              <p:cNvSpPr/>
              <p:nvPr/>
            </p:nvSpPr>
            <p:spPr>
              <a:xfrm>
                <a:off x="2094504" y="2904670"/>
                <a:ext cx="21106" cy="21350"/>
              </a:xfrm>
              <a:custGeom>
                <a:avLst/>
                <a:gdLst>
                  <a:gd name="connsiteX0" fmla="*/ 10553 w 21106"/>
                  <a:gd name="connsiteY0" fmla="*/ 21350 h 21350"/>
                  <a:gd name="connsiteX1" fmla="*/ 800 w 21106"/>
                  <a:gd name="connsiteY1" fmla="*/ 14702 h 21350"/>
                  <a:gd name="connsiteX2" fmla="*/ 800 w 21106"/>
                  <a:gd name="connsiteY2" fmla="*/ 14702 h 21350"/>
                  <a:gd name="connsiteX3" fmla="*/ 6515 w 21106"/>
                  <a:gd name="connsiteY3" fmla="*/ 814 h 21350"/>
                  <a:gd name="connsiteX4" fmla="*/ 14592 w 21106"/>
                  <a:gd name="connsiteY4" fmla="*/ 814 h 21350"/>
                  <a:gd name="connsiteX5" fmla="*/ 20307 w 21106"/>
                  <a:gd name="connsiteY5" fmla="*/ 6529 h 21350"/>
                  <a:gd name="connsiteX6" fmla="*/ 14592 w 21106"/>
                  <a:gd name="connsiteY6" fmla="*/ 20417 h 21350"/>
                  <a:gd name="connsiteX7" fmla="*/ 10553 w 21106"/>
                  <a:gd name="connsiteY7" fmla="*/ 21350 h 21350"/>
                  <a:gd name="connsiteX8" fmla="*/ 6515 w 21106"/>
                  <a:gd name="connsiteY8" fmla="*/ 12435 h 21350"/>
                  <a:gd name="connsiteX9" fmla="*/ 8915 w 21106"/>
                  <a:gd name="connsiteY9" fmla="*/ 14835 h 21350"/>
                  <a:gd name="connsiteX10" fmla="*/ 12230 w 21106"/>
                  <a:gd name="connsiteY10" fmla="*/ 14835 h 21350"/>
                  <a:gd name="connsiteX11" fmla="*/ 14592 w 21106"/>
                  <a:gd name="connsiteY11" fmla="*/ 8987 h 21350"/>
                  <a:gd name="connsiteX12" fmla="*/ 12211 w 21106"/>
                  <a:gd name="connsiteY12" fmla="*/ 6587 h 21350"/>
                  <a:gd name="connsiteX13" fmla="*/ 8896 w 21106"/>
                  <a:gd name="connsiteY13" fmla="*/ 6587 h 21350"/>
                  <a:gd name="connsiteX14" fmla="*/ 6515 w 21106"/>
                  <a:gd name="connsiteY14" fmla="*/ 12435 h 2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06" h="21350">
                    <a:moveTo>
                      <a:pt x="10553" y="21350"/>
                    </a:moveTo>
                    <a:cubicBezTo>
                      <a:pt x="6249" y="21335"/>
                      <a:pt x="2387" y="18702"/>
                      <a:pt x="800" y="14702"/>
                    </a:cubicBezTo>
                    <a:lnTo>
                      <a:pt x="800" y="14702"/>
                    </a:lnTo>
                    <a:cubicBezTo>
                      <a:pt x="-1417" y="9288"/>
                      <a:pt x="1130" y="3100"/>
                      <a:pt x="6515" y="814"/>
                    </a:cubicBezTo>
                    <a:cubicBezTo>
                      <a:pt x="9098" y="-271"/>
                      <a:pt x="12009" y="-271"/>
                      <a:pt x="14592" y="814"/>
                    </a:cubicBezTo>
                    <a:cubicBezTo>
                      <a:pt x="17180" y="1885"/>
                      <a:pt x="19236" y="3942"/>
                      <a:pt x="20307" y="6529"/>
                    </a:cubicBezTo>
                    <a:cubicBezTo>
                      <a:pt x="22523" y="11943"/>
                      <a:pt x="19976" y="18131"/>
                      <a:pt x="14592" y="20417"/>
                    </a:cubicBezTo>
                    <a:cubicBezTo>
                      <a:pt x="13322" y="20994"/>
                      <a:pt x="11948" y="21312"/>
                      <a:pt x="10553" y="21350"/>
                    </a:cubicBezTo>
                    <a:close/>
                    <a:moveTo>
                      <a:pt x="6515" y="12435"/>
                    </a:moveTo>
                    <a:cubicBezTo>
                      <a:pt x="6963" y="13523"/>
                      <a:pt x="7827" y="14386"/>
                      <a:pt x="8915" y="14835"/>
                    </a:cubicBezTo>
                    <a:cubicBezTo>
                      <a:pt x="9976" y="15273"/>
                      <a:pt x="11168" y="15273"/>
                      <a:pt x="12230" y="14835"/>
                    </a:cubicBezTo>
                    <a:cubicBezTo>
                      <a:pt x="14474" y="13850"/>
                      <a:pt x="15522" y="11254"/>
                      <a:pt x="14592" y="8987"/>
                    </a:cubicBezTo>
                    <a:cubicBezTo>
                      <a:pt x="14149" y="7901"/>
                      <a:pt x="13292" y="7038"/>
                      <a:pt x="12211" y="6587"/>
                    </a:cubicBezTo>
                    <a:cubicBezTo>
                      <a:pt x="11149" y="6148"/>
                      <a:pt x="9957" y="6148"/>
                      <a:pt x="8896" y="6587"/>
                    </a:cubicBezTo>
                    <a:cubicBezTo>
                      <a:pt x="6636" y="7556"/>
                      <a:pt x="5575" y="10162"/>
                      <a:pt x="6515" y="12435"/>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5" name="Freeform: Shape 1304">
                <a:extLst>
                  <a:ext uri="{FF2B5EF4-FFF2-40B4-BE49-F238E27FC236}">
                    <a16:creationId xmlns:a16="http://schemas.microsoft.com/office/drawing/2014/main" id="{0E5757DB-1017-C1B1-6874-3EBB46D396C1}"/>
                  </a:ext>
                </a:extLst>
              </p:cNvPr>
              <p:cNvSpPr/>
              <p:nvPr/>
            </p:nvSpPr>
            <p:spPr>
              <a:xfrm rot="17561401">
                <a:off x="2134265" y="2852271"/>
                <a:ext cx="6191" cy="17773"/>
              </a:xfrm>
              <a:custGeom>
                <a:avLst/>
                <a:gdLst>
                  <a:gd name="connsiteX0" fmla="*/ 0 w 6191"/>
                  <a:gd name="connsiteY0" fmla="*/ 0 h 17773"/>
                  <a:gd name="connsiteX1" fmla="*/ 6191 w 6191"/>
                  <a:gd name="connsiteY1" fmla="*/ 0 h 17773"/>
                  <a:gd name="connsiteX2" fmla="*/ 6191 w 6191"/>
                  <a:gd name="connsiteY2" fmla="*/ 17774 h 17773"/>
                  <a:gd name="connsiteX3" fmla="*/ 0 w 6191"/>
                  <a:gd name="connsiteY3" fmla="*/ 17774 h 17773"/>
                </a:gdLst>
                <a:ahLst/>
                <a:cxnLst>
                  <a:cxn ang="0">
                    <a:pos x="connsiteX0" y="connsiteY0"/>
                  </a:cxn>
                  <a:cxn ang="0">
                    <a:pos x="connsiteX1" y="connsiteY1"/>
                  </a:cxn>
                  <a:cxn ang="0">
                    <a:pos x="connsiteX2" y="connsiteY2"/>
                  </a:cxn>
                  <a:cxn ang="0">
                    <a:pos x="connsiteX3" y="connsiteY3"/>
                  </a:cxn>
                </a:cxnLst>
                <a:rect l="l" t="t" r="r" b="b"/>
                <a:pathLst>
                  <a:path w="6191" h="17773">
                    <a:moveTo>
                      <a:pt x="0" y="0"/>
                    </a:moveTo>
                    <a:lnTo>
                      <a:pt x="6191" y="0"/>
                    </a:lnTo>
                    <a:lnTo>
                      <a:pt x="6191" y="17774"/>
                    </a:lnTo>
                    <a:lnTo>
                      <a:pt x="0" y="1777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6" name="Freeform: Shape 1305">
                <a:extLst>
                  <a:ext uri="{FF2B5EF4-FFF2-40B4-BE49-F238E27FC236}">
                    <a16:creationId xmlns:a16="http://schemas.microsoft.com/office/drawing/2014/main" id="{AAEF0AE6-6899-1906-79AC-460A65A63BB7}"/>
                  </a:ext>
                </a:extLst>
              </p:cNvPr>
              <p:cNvSpPr/>
              <p:nvPr/>
            </p:nvSpPr>
            <p:spPr>
              <a:xfrm>
                <a:off x="2141881" y="2856912"/>
                <a:ext cx="21126" cy="21292"/>
              </a:xfrm>
              <a:custGeom>
                <a:avLst/>
                <a:gdLst>
                  <a:gd name="connsiteX0" fmla="*/ 10573 w 21126"/>
                  <a:gd name="connsiteY0" fmla="*/ 21235 h 21292"/>
                  <a:gd name="connsiteX1" fmla="*/ 6515 w 21126"/>
                  <a:gd name="connsiteY1" fmla="*/ 20416 h 21292"/>
                  <a:gd name="connsiteX2" fmla="*/ 6515 w 21126"/>
                  <a:gd name="connsiteY2" fmla="*/ 20416 h 21292"/>
                  <a:gd name="connsiteX3" fmla="*/ 800 w 21126"/>
                  <a:gd name="connsiteY3" fmla="*/ 6529 h 21292"/>
                  <a:gd name="connsiteX4" fmla="*/ 14583 w 21126"/>
                  <a:gd name="connsiteY4" fmla="*/ 802 h 21292"/>
                  <a:gd name="connsiteX5" fmla="*/ 14611 w 21126"/>
                  <a:gd name="connsiteY5" fmla="*/ 814 h 21292"/>
                  <a:gd name="connsiteX6" fmla="*/ 20326 w 21126"/>
                  <a:gd name="connsiteY6" fmla="*/ 14701 h 21292"/>
                  <a:gd name="connsiteX7" fmla="*/ 10573 w 21126"/>
                  <a:gd name="connsiteY7" fmla="*/ 21292 h 21292"/>
                  <a:gd name="connsiteX8" fmla="*/ 8915 w 21126"/>
                  <a:gd name="connsiteY8" fmla="*/ 14701 h 21292"/>
                  <a:gd name="connsiteX9" fmla="*/ 12230 w 21126"/>
                  <a:gd name="connsiteY9" fmla="*/ 14701 h 21292"/>
                  <a:gd name="connsiteX10" fmla="*/ 14611 w 21126"/>
                  <a:gd name="connsiteY10" fmla="*/ 12282 h 21292"/>
                  <a:gd name="connsiteX11" fmla="*/ 12230 w 21126"/>
                  <a:gd name="connsiteY11" fmla="*/ 6452 h 21292"/>
                  <a:gd name="connsiteX12" fmla="*/ 8915 w 21126"/>
                  <a:gd name="connsiteY12" fmla="*/ 6452 h 21292"/>
                  <a:gd name="connsiteX13" fmla="*/ 6534 w 21126"/>
                  <a:gd name="connsiteY13" fmla="*/ 8853 h 21292"/>
                  <a:gd name="connsiteX14" fmla="*/ 8915 w 21126"/>
                  <a:gd name="connsiteY14" fmla="*/ 14682 h 2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26" h="21292">
                    <a:moveTo>
                      <a:pt x="10573" y="21235"/>
                    </a:moveTo>
                    <a:cubicBezTo>
                      <a:pt x="9178" y="21236"/>
                      <a:pt x="7799" y="20957"/>
                      <a:pt x="6515" y="20416"/>
                    </a:cubicBezTo>
                    <a:lnTo>
                      <a:pt x="6515" y="20416"/>
                    </a:lnTo>
                    <a:cubicBezTo>
                      <a:pt x="1130" y="18131"/>
                      <a:pt x="-1417" y="11942"/>
                      <a:pt x="800" y="6529"/>
                    </a:cubicBezTo>
                    <a:cubicBezTo>
                      <a:pt x="3025" y="1141"/>
                      <a:pt x="9196" y="-1423"/>
                      <a:pt x="14583" y="802"/>
                    </a:cubicBezTo>
                    <a:cubicBezTo>
                      <a:pt x="14592" y="806"/>
                      <a:pt x="14602" y="810"/>
                      <a:pt x="14611" y="814"/>
                    </a:cubicBezTo>
                    <a:cubicBezTo>
                      <a:pt x="19995" y="3099"/>
                      <a:pt x="22544" y="9288"/>
                      <a:pt x="20326" y="14701"/>
                    </a:cubicBezTo>
                    <a:cubicBezTo>
                      <a:pt x="18724" y="18683"/>
                      <a:pt x="14865" y="21291"/>
                      <a:pt x="10573" y="21292"/>
                    </a:cubicBezTo>
                    <a:close/>
                    <a:moveTo>
                      <a:pt x="8915" y="14701"/>
                    </a:moveTo>
                    <a:cubicBezTo>
                      <a:pt x="9975" y="15150"/>
                      <a:pt x="11171" y="15150"/>
                      <a:pt x="12230" y="14701"/>
                    </a:cubicBezTo>
                    <a:cubicBezTo>
                      <a:pt x="13314" y="14244"/>
                      <a:pt x="14171" y="13373"/>
                      <a:pt x="14611" y="12282"/>
                    </a:cubicBezTo>
                    <a:cubicBezTo>
                      <a:pt x="15549" y="10014"/>
                      <a:pt x="14488" y="7415"/>
                      <a:pt x="12230" y="6452"/>
                    </a:cubicBezTo>
                    <a:cubicBezTo>
                      <a:pt x="11173" y="5995"/>
                      <a:pt x="9973" y="5995"/>
                      <a:pt x="8915" y="6452"/>
                    </a:cubicBezTo>
                    <a:cubicBezTo>
                      <a:pt x="7830" y="6896"/>
                      <a:pt x="6969" y="7763"/>
                      <a:pt x="6534" y="8853"/>
                    </a:cubicBezTo>
                    <a:cubicBezTo>
                      <a:pt x="5597" y="11120"/>
                      <a:pt x="6658" y="13720"/>
                      <a:pt x="8915" y="1468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7" name="Freeform: Shape 1306">
                <a:extLst>
                  <a:ext uri="{FF2B5EF4-FFF2-40B4-BE49-F238E27FC236}">
                    <a16:creationId xmlns:a16="http://schemas.microsoft.com/office/drawing/2014/main" id="{76C2B662-93B4-F0EE-E462-B6828753DF0E}"/>
                  </a:ext>
                </a:extLst>
              </p:cNvPr>
              <p:cNvSpPr/>
              <p:nvPr/>
            </p:nvSpPr>
            <p:spPr>
              <a:xfrm rot="20236800">
                <a:off x="2128484" y="2803018"/>
                <a:ext cx="17754" cy="6191"/>
              </a:xfrm>
              <a:custGeom>
                <a:avLst/>
                <a:gdLst>
                  <a:gd name="connsiteX0" fmla="*/ 0 w 17754"/>
                  <a:gd name="connsiteY0" fmla="*/ 0 h 6191"/>
                  <a:gd name="connsiteX1" fmla="*/ 17755 w 17754"/>
                  <a:gd name="connsiteY1" fmla="*/ 0 h 6191"/>
                  <a:gd name="connsiteX2" fmla="*/ 17755 w 17754"/>
                  <a:gd name="connsiteY2" fmla="*/ 6191 h 6191"/>
                  <a:gd name="connsiteX3" fmla="*/ 0 w 17754"/>
                  <a:gd name="connsiteY3" fmla="*/ 6191 h 6191"/>
                </a:gdLst>
                <a:ahLst/>
                <a:cxnLst>
                  <a:cxn ang="0">
                    <a:pos x="connsiteX0" y="connsiteY0"/>
                  </a:cxn>
                  <a:cxn ang="0">
                    <a:pos x="connsiteX1" y="connsiteY1"/>
                  </a:cxn>
                  <a:cxn ang="0">
                    <a:pos x="connsiteX2" y="connsiteY2"/>
                  </a:cxn>
                  <a:cxn ang="0">
                    <a:pos x="connsiteX3" y="connsiteY3"/>
                  </a:cxn>
                </a:cxnLst>
                <a:rect l="l" t="t" r="r" b="b"/>
                <a:pathLst>
                  <a:path w="17754" h="6191">
                    <a:moveTo>
                      <a:pt x="0" y="0"/>
                    </a:moveTo>
                    <a:lnTo>
                      <a:pt x="17755" y="0"/>
                    </a:lnTo>
                    <a:lnTo>
                      <a:pt x="177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8" name="Freeform: Shape 1307">
                <a:extLst>
                  <a:ext uri="{FF2B5EF4-FFF2-40B4-BE49-F238E27FC236}">
                    <a16:creationId xmlns:a16="http://schemas.microsoft.com/office/drawing/2014/main" id="{641F038A-B8CC-3C23-475F-1A8FD53DAEE1}"/>
                  </a:ext>
                </a:extLst>
              </p:cNvPr>
              <p:cNvSpPr/>
              <p:nvPr/>
            </p:nvSpPr>
            <p:spPr>
              <a:xfrm>
                <a:off x="2141919" y="2789197"/>
                <a:ext cx="21130" cy="21246"/>
              </a:xfrm>
              <a:custGeom>
                <a:avLst/>
                <a:gdLst>
                  <a:gd name="connsiteX0" fmla="*/ 10534 w 21130"/>
                  <a:gd name="connsiteY0" fmla="*/ 21247 h 21246"/>
                  <a:gd name="connsiteX1" fmla="*/ 6515 w 21130"/>
                  <a:gd name="connsiteY1" fmla="*/ 20428 h 21246"/>
                  <a:gd name="connsiteX2" fmla="*/ 800 w 21130"/>
                  <a:gd name="connsiteY2" fmla="*/ 14713 h 21246"/>
                  <a:gd name="connsiteX3" fmla="*/ 6515 w 21130"/>
                  <a:gd name="connsiteY3" fmla="*/ 825 h 21246"/>
                  <a:gd name="connsiteX4" fmla="*/ 20284 w 21130"/>
                  <a:gd name="connsiteY4" fmla="*/ 6441 h 21246"/>
                  <a:gd name="connsiteX5" fmla="*/ 20326 w 21130"/>
                  <a:gd name="connsiteY5" fmla="*/ 6540 h 21246"/>
                  <a:gd name="connsiteX6" fmla="*/ 14611 w 21130"/>
                  <a:gd name="connsiteY6" fmla="*/ 20409 h 21246"/>
                  <a:gd name="connsiteX7" fmla="*/ 14611 w 21130"/>
                  <a:gd name="connsiteY7" fmla="*/ 20409 h 21246"/>
                  <a:gd name="connsiteX8" fmla="*/ 10534 w 21130"/>
                  <a:gd name="connsiteY8" fmla="*/ 21247 h 21246"/>
                  <a:gd name="connsiteX9" fmla="*/ 10534 w 21130"/>
                  <a:gd name="connsiteY9" fmla="*/ 6140 h 21246"/>
                  <a:gd name="connsiteX10" fmla="*/ 8877 w 21130"/>
                  <a:gd name="connsiteY10" fmla="*/ 6483 h 21246"/>
                  <a:gd name="connsiteX11" fmla="*/ 6496 w 21130"/>
                  <a:gd name="connsiteY11" fmla="*/ 12312 h 21246"/>
                  <a:gd name="connsiteX12" fmla="*/ 8877 w 21130"/>
                  <a:gd name="connsiteY12" fmla="*/ 14713 h 21246"/>
                  <a:gd name="connsiteX13" fmla="*/ 12192 w 21130"/>
                  <a:gd name="connsiteY13" fmla="*/ 14713 h 21246"/>
                  <a:gd name="connsiteX14" fmla="*/ 12192 w 21130"/>
                  <a:gd name="connsiteY14" fmla="*/ 14713 h 21246"/>
                  <a:gd name="connsiteX15" fmla="*/ 14573 w 21130"/>
                  <a:gd name="connsiteY15" fmla="*/ 8883 h 21246"/>
                  <a:gd name="connsiteX16" fmla="*/ 12192 w 21130"/>
                  <a:gd name="connsiteY16" fmla="*/ 6464 h 21246"/>
                  <a:gd name="connsiteX17" fmla="*/ 10534 w 21130"/>
                  <a:gd name="connsiteY17" fmla="*/ 6140 h 2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30" h="21246">
                    <a:moveTo>
                      <a:pt x="10534" y="21247"/>
                    </a:moveTo>
                    <a:cubicBezTo>
                      <a:pt x="9153" y="21238"/>
                      <a:pt x="7789" y="20960"/>
                      <a:pt x="6515" y="20428"/>
                    </a:cubicBezTo>
                    <a:cubicBezTo>
                      <a:pt x="3917" y="19371"/>
                      <a:pt x="1857" y="17310"/>
                      <a:pt x="800" y="14713"/>
                    </a:cubicBezTo>
                    <a:cubicBezTo>
                      <a:pt x="-1418" y="9300"/>
                      <a:pt x="1131" y="3110"/>
                      <a:pt x="6515" y="825"/>
                    </a:cubicBezTo>
                    <a:cubicBezTo>
                      <a:pt x="11868" y="-1426"/>
                      <a:pt x="18033" y="1088"/>
                      <a:pt x="20284" y="6441"/>
                    </a:cubicBezTo>
                    <a:cubicBezTo>
                      <a:pt x="20300" y="6474"/>
                      <a:pt x="20313" y="6507"/>
                      <a:pt x="20326" y="6540"/>
                    </a:cubicBezTo>
                    <a:cubicBezTo>
                      <a:pt x="22553" y="11948"/>
                      <a:pt x="20000" y="18139"/>
                      <a:pt x="14611" y="20409"/>
                    </a:cubicBezTo>
                    <a:lnTo>
                      <a:pt x="14611" y="20409"/>
                    </a:lnTo>
                    <a:cubicBezTo>
                      <a:pt x="13321" y="20958"/>
                      <a:pt x="11937" y="21243"/>
                      <a:pt x="10534" y="21247"/>
                    </a:cubicBezTo>
                    <a:close/>
                    <a:moveTo>
                      <a:pt x="10534" y="6140"/>
                    </a:moveTo>
                    <a:cubicBezTo>
                      <a:pt x="9965" y="6140"/>
                      <a:pt x="9401" y="6257"/>
                      <a:pt x="8877" y="6483"/>
                    </a:cubicBezTo>
                    <a:cubicBezTo>
                      <a:pt x="6620" y="7445"/>
                      <a:pt x="5559" y="10045"/>
                      <a:pt x="6496" y="12312"/>
                    </a:cubicBezTo>
                    <a:cubicBezTo>
                      <a:pt x="6930" y="13402"/>
                      <a:pt x="7791" y="14269"/>
                      <a:pt x="8877" y="14713"/>
                    </a:cubicBezTo>
                    <a:cubicBezTo>
                      <a:pt x="9936" y="15159"/>
                      <a:pt x="11133" y="15159"/>
                      <a:pt x="12192" y="14713"/>
                    </a:cubicBezTo>
                    <a:lnTo>
                      <a:pt x="12192" y="14713"/>
                    </a:lnTo>
                    <a:cubicBezTo>
                      <a:pt x="14449" y="13751"/>
                      <a:pt x="15510" y="11151"/>
                      <a:pt x="14573" y="8883"/>
                    </a:cubicBezTo>
                    <a:cubicBezTo>
                      <a:pt x="14133" y="7792"/>
                      <a:pt x="13276" y="6921"/>
                      <a:pt x="12192" y="6464"/>
                    </a:cubicBezTo>
                    <a:cubicBezTo>
                      <a:pt x="11664" y="6254"/>
                      <a:pt x="11102" y="6144"/>
                      <a:pt x="10534" y="6140"/>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09" name="Freeform: Shape 1308">
                <a:extLst>
                  <a:ext uri="{FF2B5EF4-FFF2-40B4-BE49-F238E27FC236}">
                    <a16:creationId xmlns:a16="http://schemas.microsoft.com/office/drawing/2014/main" id="{D126FF4F-1C82-483E-66E5-E2C7259268D7}"/>
                  </a:ext>
                </a:extLst>
              </p:cNvPr>
              <p:cNvSpPr/>
              <p:nvPr/>
            </p:nvSpPr>
            <p:spPr>
              <a:xfrm rot="17536800">
                <a:off x="2089859" y="2764071"/>
                <a:ext cx="17887" cy="6191"/>
              </a:xfrm>
              <a:custGeom>
                <a:avLst/>
                <a:gdLst>
                  <a:gd name="connsiteX0" fmla="*/ 0 w 17887"/>
                  <a:gd name="connsiteY0" fmla="*/ 0 h 6191"/>
                  <a:gd name="connsiteX1" fmla="*/ 17888 w 17887"/>
                  <a:gd name="connsiteY1" fmla="*/ 0 h 6191"/>
                  <a:gd name="connsiteX2" fmla="*/ 17888 w 17887"/>
                  <a:gd name="connsiteY2" fmla="*/ 6191 h 6191"/>
                  <a:gd name="connsiteX3" fmla="*/ 0 w 17887"/>
                  <a:gd name="connsiteY3" fmla="*/ 6191 h 6191"/>
                </a:gdLst>
                <a:ahLst/>
                <a:cxnLst>
                  <a:cxn ang="0">
                    <a:pos x="connsiteX0" y="connsiteY0"/>
                  </a:cxn>
                  <a:cxn ang="0">
                    <a:pos x="connsiteX1" y="connsiteY1"/>
                  </a:cxn>
                  <a:cxn ang="0">
                    <a:pos x="connsiteX2" y="connsiteY2"/>
                  </a:cxn>
                  <a:cxn ang="0">
                    <a:pos x="connsiteX3" y="connsiteY3"/>
                  </a:cxn>
                </a:cxnLst>
                <a:rect l="l" t="t" r="r" b="b"/>
                <a:pathLst>
                  <a:path w="17887" h="6191">
                    <a:moveTo>
                      <a:pt x="0" y="0"/>
                    </a:moveTo>
                    <a:lnTo>
                      <a:pt x="17888" y="0"/>
                    </a:lnTo>
                    <a:lnTo>
                      <a:pt x="17888"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0" name="Freeform: Shape 1309">
                <a:extLst>
                  <a:ext uri="{FF2B5EF4-FFF2-40B4-BE49-F238E27FC236}">
                    <a16:creationId xmlns:a16="http://schemas.microsoft.com/office/drawing/2014/main" id="{C6B622C8-5705-5D86-706D-3C09EA095424}"/>
                  </a:ext>
                </a:extLst>
              </p:cNvPr>
              <p:cNvSpPr/>
              <p:nvPr/>
            </p:nvSpPr>
            <p:spPr>
              <a:xfrm>
                <a:off x="2094493" y="2741267"/>
                <a:ext cx="21117" cy="21285"/>
              </a:xfrm>
              <a:custGeom>
                <a:avLst/>
                <a:gdLst>
                  <a:gd name="connsiteX0" fmla="*/ 10564 w 21117"/>
                  <a:gd name="connsiteY0" fmla="*/ 21285 h 21285"/>
                  <a:gd name="connsiteX1" fmla="*/ 6526 w 21117"/>
                  <a:gd name="connsiteY1" fmla="*/ 20466 h 21285"/>
                  <a:gd name="connsiteX2" fmla="*/ 841 w 21117"/>
                  <a:gd name="connsiteY2" fmla="*/ 6491 h 21285"/>
                  <a:gd name="connsiteX3" fmla="*/ 6526 w 21117"/>
                  <a:gd name="connsiteY3" fmla="*/ 806 h 21285"/>
                  <a:gd name="connsiteX4" fmla="*/ 14603 w 21117"/>
                  <a:gd name="connsiteY4" fmla="*/ 806 h 21285"/>
                  <a:gd name="connsiteX5" fmla="*/ 20318 w 21117"/>
                  <a:gd name="connsiteY5" fmla="*/ 14694 h 21285"/>
                  <a:gd name="connsiteX6" fmla="*/ 20318 w 21117"/>
                  <a:gd name="connsiteY6" fmla="*/ 14694 h 21285"/>
                  <a:gd name="connsiteX7" fmla="*/ 10545 w 21117"/>
                  <a:gd name="connsiteY7" fmla="*/ 21266 h 21285"/>
                  <a:gd name="connsiteX8" fmla="*/ 10564 w 21117"/>
                  <a:gd name="connsiteY8" fmla="*/ 6198 h 21285"/>
                  <a:gd name="connsiteX9" fmla="*/ 8926 w 21117"/>
                  <a:gd name="connsiteY9" fmla="*/ 6521 h 21285"/>
                  <a:gd name="connsiteX10" fmla="*/ 6526 w 21117"/>
                  <a:gd name="connsiteY10" fmla="*/ 8941 h 21285"/>
                  <a:gd name="connsiteX11" fmla="*/ 8907 w 21117"/>
                  <a:gd name="connsiteY11" fmla="*/ 14770 h 21285"/>
                  <a:gd name="connsiteX12" fmla="*/ 14588 w 21117"/>
                  <a:gd name="connsiteY12" fmla="*/ 12434 h 21285"/>
                  <a:gd name="connsiteX13" fmla="*/ 14622 w 21117"/>
                  <a:gd name="connsiteY13" fmla="*/ 12351 h 21285"/>
                  <a:gd name="connsiteX14" fmla="*/ 12260 w 21117"/>
                  <a:gd name="connsiteY14" fmla="*/ 6521 h 21285"/>
                  <a:gd name="connsiteX15" fmla="*/ 10564 w 21117"/>
                  <a:gd name="connsiteY15" fmla="*/ 6198 h 2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17" h="21285">
                    <a:moveTo>
                      <a:pt x="10564" y="21285"/>
                    </a:moveTo>
                    <a:cubicBezTo>
                      <a:pt x="9176" y="21288"/>
                      <a:pt x="7803" y="21009"/>
                      <a:pt x="6526" y="20466"/>
                    </a:cubicBezTo>
                    <a:cubicBezTo>
                      <a:pt x="1097" y="18177"/>
                      <a:pt x="-1448" y="11920"/>
                      <a:pt x="841" y="6491"/>
                    </a:cubicBezTo>
                    <a:cubicBezTo>
                      <a:pt x="1922" y="3927"/>
                      <a:pt x="3962" y="1887"/>
                      <a:pt x="6526" y="806"/>
                    </a:cubicBezTo>
                    <a:cubicBezTo>
                      <a:pt x="9111" y="-269"/>
                      <a:pt x="12018" y="-269"/>
                      <a:pt x="14603" y="806"/>
                    </a:cubicBezTo>
                    <a:cubicBezTo>
                      <a:pt x="19987" y="3091"/>
                      <a:pt x="22534" y="9281"/>
                      <a:pt x="20318" y="14694"/>
                    </a:cubicBezTo>
                    <a:lnTo>
                      <a:pt x="20318" y="14694"/>
                    </a:lnTo>
                    <a:cubicBezTo>
                      <a:pt x="18695" y="18664"/>
                      <a:pt x="14834" y="21260"/>
                      <a:pt x="10545" y="21266"/>
                    </a:cubicBezTo>
                    <a:close/>
                    <a:moveTo>
                      <a:pt x="10564" y="6198"/>
                    </a:moveTo>
                    <a:cubicBezTo>
                      <a:pt x="10002" y="6192"/>
                      <a:pt x="9444" y="6303"/>
                      <a:pt x="8926" y="6521"/>
                    </a:cubicBezTo>
                    <a:cubicBezTo>
                      <a:pt x="7833" y="6973"/>
                      <a:pt x="6968" y="7845"/>
                      <a:pt x="6526" y="8941"/>
                    </a:cubicBezTo>
                    <a:cubicBezTo>
                      <a:pt x="5588" y="11208"/>
                      <a:pt x="6650" y="13808"/>
                      <a:pt x="8907" y="14770"/>
                    </a:cubicBezTo>
                    <a:cubicBezTo>
                      <a:pt x="11121" y="15694"/>
                      <a:pt x="13664" y="14648"/>
                      <a:pt x="14588" y="12434"/>
                    </a:cubicBezTo>
                    <a:cubicBezTo>
                      <a:pt x="14600" y="12407"/>
                      <a:pt x="14611" y="12379"/>
                      <a:pt x="14622" y="12351"/>
                    </a:cubicBezTo>
                    <a:cubicBezTo>
                      <a:pt x="15551" y="10088"/>
                      <a:pt x="14502" y="7499"/>
                      <a:pt x="12260" y="6521"/>
                    </a:cubicBezTo>
                    <a:cubicBezTo>
                      <a:pt x="11719" y="6309"/>
                      <a:pt x="11145" y="6200"/>
                      <a:pt x="10564" y="619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1" name="Freeform: Shape 1310">
                <a:extLst>
                  <a:ext uri="{FF2B5EF4-FFF2-40B4-BE49-F238E27FC236}">
                    <a16:creationId xmlns:a16="http://schemas.microsoft.com/office/drawing/2014/main" id="{09B8A7D1-D681-571F-901D-3D7CE10288DA}"/>
                  </a:ext>
                </a:extLst>
              </p:cNvPr>
              <p:cNvSpPr/>
              <p:nvPr/>
            </p:nvSpPr>
            <p:spPr>
              <a:xfrm rot="18917400">
                <a:off x="2011810" y="2758543"/>
                <a:ext cx="6191" cy="35699"/>
              </a:xfrm>
              <a:custGeom>
                <a:avLst/>
                <a:gdLst>
                  <a:gd name="connsiteX0" fmla="*/ 0 w 6191"/>
                  <a:gd name="connsiteY0" fmla="*/ 0 h 35699"/>
                  <a:gd name="connsiteX1" fmla="*/ 6191 w 6191"/>
                  <a:gd name="connsiteY1" fmla="*/ 0 h 35699"/>
                  <a:gd name="connsiteX2" fmla="*/ 6191 w 6191"/>
                  <a:gd name="connsiteY2" fmla="*/ 35700 h 35699"/>
                  <a:gd name="connsiteX3" fmla="*/ 0 w 6191"/>
                  <a:gd name="connsiteY3" fmla="*/ 35700 h 35699"/>
                </a:gdLst>
                <a:ahLst/>
                <a:cxnLst>
                  <a:cxn ang="0">
                    <a:pos x="connsiteX0" y="connsiteY0"/>
                  </a:cxn>
                  <a:cxn ang="0">
                    <a:pos x="connsiteX1" y="connsiteY1"/>
                  </a:cxn>
                  <a:cxn ang="0">
                    <a:pos x="connsiteX2" y="connsiteY2"/>
                  </a:cxn>
                  <a:cxn ang="0">
                    <a:pos x="connsiteX3" y="connsiteY3"/>
                  </a:cxn>
                </a:cxnLst>
                <a:rect l="l" t="t" r="r" b="b"/>
                <a:pathLst>
                  <a:path w="6191" h="35699">
                    <a:moveTo>
                      <a:pt x="0" y="0"/>
                    </a:moveTo>
                    <a:lnTo>
                      <a:pt x="6191" y="0"/>
                    </a:lnTo>
                    <a:lnTo>
                      <a:pt x="6191" y="35700"/>
                    </a:lnTo>
                    <a:lnTo>
                      <a:pt x="0" y="35700"/>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2" name="Freeform: Shape 1311">
                <a:extLst>
                  <a:ext uri="{FF2B5EF4-FFF2-40B4-BE49-F238E27FC236}">
                    <a16:creationId xmlns:a16="http://schemas.microsoft.com/office/drawing/2014/main" id="{AD72C15E-A97A-0C77-46BD-6BF864E03AAC}"/>
                  </a:ext>
                </a:extLst>
              </p:cNvPr>
              <p:cNvSpPr/>
              <p:nvPr/>
            </p:nvSpPr>
            <p:spPr>
              <a:xfrm>
                <a:off x="1986560" y="2747753"/>
                <a:ext cx="21116" cy="21276"/>
              </a:xfrm>
              <a:custGeom>
                <a:avLst/>
                <a:gdLst>
                  <a:gd name="connsiteX0" fmla="*/ 10503 w 21116"/>
                  <a:gd name="connsiteY0" fmla="*/ 21276 h 21276"/>
                  <a:gd name="connsiteX1" fmla="*/ 3073 w 21116"/>
                  <a:gd name="connsiteY1" fmla="*/ 18152 h 21276"/>
                  <a:gd name="connsiteX2" fmla="*/ 3073 w 21116"/>
                  <a:gd name="connsiteY2" fmla="*/ 3122 h 21276"/>
                  <a:gd name="connsiteX3" fmla="*/ 17944 w 21116"/>
                  <a:gd name="connsiteY3" fmla="*/ 3038 h 21276"/>
                  <a:gd name="connsiteX4" fmla="*/ 18028 w 21116"/>
                  <a:gd name="connsiteY4" fmla="*/ 3122 h 21276"/>
                  <a:gd name="connsiteX5" fmla="*/ 18028 w 21116"/>
                  <a:gd name="connsiteY5" fmla="*/ 18152 h 21276"/>
                  <a:gd name="connsiteX6" fmla="*/ 10503 w 21116"/>
                  <a:gd name="connsiteY6" fmla="*/ 21276 h 21276"/>
                  <a:gd name="connsiteX7" fmla="*/ 10503 w 21116"/>
                  <a:gd name="connsiteY7" fmla="*/ 6189 h 21276"/>
                  <a:gd name="connsiteX8" fmla="*/ 7417 w 21116"/>
                  <a:gd name="connsiteY8" fmla="*/ 7484 h 21276"/>
                  <a:gd name="connsiteX9" fmla="*/ 7417 w 21116"/>
                  <a:gd name="connsiteY9" fmla="*/ 13790 h 21276"/>
                  <a:gd name="connsiteX10" fmla="*/ 13589 w 21116"/>
                  <a:gd name="connsiteY10" fmla="*/ 13790 h 21276"/>
                  <a:gd name="connsiteX11" fmla="*/ 13589 w 21116"/>
                  <a:gd name="connsiteY11" fmla="*/ 7484 h 21276"/>
                  <a:gd name="connsiteX12" fmla="*/ 10503 w 21116"/>
                  <a:gd name="connsiteY12" fmla="*/ 6189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16" h="21276">
                    <a:moveTo>
                      <a:pt x="10503" y="21276"/>
                    </a:moveTo>
                    <a:cubicBezTo>
                      <a:pt x="7708" y="21271"/>
                      <a:pt x="5032" y="20146"/>
                      <a:pt x="3073" y="18152"/>
                    </a:cubicBezTo>
                    <a:cubicBezTo>
                      <a:pt x="-1024" y="13980"/>
                      <a:pt x="-1024" y="7294"/>
                      <a:pt x="3073" y="3122"/>
                    </a:cubicBezTo>
                    <a:cubicBezTo>
                      <a:pt x="7157" y="-1008"/>
                      <a:pt x="13815" y="-1045"/>
                      <a:pt x="17944" y="3038"/>
                    </a:cubicBezTo>
                    <a:cubicBezTo>
                      <a:pt x="17972" y="3066"/>
                      <a:pt x="18000" y="3094"/>
                      <a:pt x="18028" y="3122"/>
                    </a:cubicBezTo>
                    <a:cubicBezTo>
                      <a:pt x="22146" y="7285"/>
                      <a:pt x="22146" y="13988"/>
                      <a:pt x="18028" y="18152"/>
                    </a:cubicBezTo>
                    <a:cubicBezTo>
                      <a:pt x="16046" y="20170"/>
                      <a:pt x="13331" y="21297"/>
                      <a:pt x="10503" y="21276"/>
                    </a:cubicBezTo>
                    <a:close/>
                    <a:moveTo>
                      <a:pt x="10503" y="6189"/>
                    </a:moveTo>
                    <a:cubicBezTo>
                      <a:pt x="9341" y="6185"/>
                      <a:pt x="8227" y="6652"/>
                      <a:pt x="7417" y="7484"/>
                    </a:cubicBezTo>
                    <a:cubicBezTo>
                      <a:pt x="5686" y="9229"/>
                      <a:pt x="5686" y="12044"/>
                      <a:pt x="7417" y="13790"/>
                    </a:cubicBezTo>
                    <a:cubicBezTo>
                      <a:pt x="9133" y="15464"/>
                      <a:pt x="11872" y="15464"/>
                      <a:pt x="13589" y="13790"/>
                    </a:cubicBezTo>
                    <a:cubicBezTo>
                      <a:pt x="15300" y="12036"/>
                      <a:pt x="15300" y="9238"/>
                      <a:pt x="13589" y="7484"/>
                    </a:cubicBezTo>
                    <a:cubicBezTo>
                      <a:pt x="12776" y="6656"/>
                      <a:pt x="11664" y="6189"/>
                      <a:pt x="10503" y="618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3" name="Freeform: Shape 1312">
                <a:extLst>
                  <a:ext uri="{FF2B5EF4-FFF2-40B4-BE49-F238E27FC236}">
                    <a16:creationId xmlns:a16="http://schemas.microsoft.com/office/drawing/2014/main" id="{126111D7-CC3C-B007-8220-26615B30BA07}"/>
                  </a:ext>
                </a:extLst>
              </p:cNvPr>
              <p:cNvSpPr/>
              <p:nvPr/>
            </p:nvSpPr>
            <p:spPr>
              <a:xfrm>
                <a:off x="1973670" y="2830560"/>
                <a:ext cx="35509" cy="6191"/>
              </a:xfrm>
              <a:custGeom>
                <a:avLst/>
                <a:gdLst>
                  <a:gd name="connsiteX0" fmla="*/ 0 w 35509"/>
                  <a:gd name="connsiteY0" fmla="*/ 0 h 6191"/>
                  <a:gd name="connsiteX1" fmla="*/ 35509 w 35509"/>
                  <a:gd name="connsiteY1" fmla="*/ 0 h 6191"/>
                  <a:gd name="connsiteX2" fmla="*/ 35509 w 35509"/>
                  <a:gd name="connsiteY2" fmla="*/ 6191 h 6191"/>
                  <a:gd name="connsiteX3" fmla="*/ 0 w 35509"/>
                  <a:gd name="connsiteY3" fmla="*/ 6191 h 6191"/>
                </a:gdLst>
                <a:ahLst/>
                <a:cxnLst>
                  <a:cxn ang="0">
                    <a:pos x="connsiteX0" y="connsiteY0"/>
                  </a:cxn>
                  <a:cxn ang="0">
                    <a:pos x="connsiteX1" y="connsiteY1"/>
                  </a:cxn>
                  <a:cxn ang="0">
                    <a:pos x="connsiteX2" y="connsiteY2"/>
                  </a:cxn>
                  <a:cxn ang="0">
                    <a:pos x="connsiteX3" y="connsiteY3"/>
                  </a:cxn>
                </a:cxnLst>
                <a:rect l="l" t="t" r="r" b="b"/>
                <a:pathLst>
                  <a:path w="35509" h="6191">
                    <a:moveTo>
                      <a:pt x="0" y="0"/>
                    </a:moveTo>
                    <a:lnTo>
                      <a:pt x="35509" y="0"/>
                    </a:lnTo>
                    <a:lnTo>
                      <a:pt x="35509"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4" name="Freeform: Shape 1313">
                <a:extLst>
                  <a:ext uri="{FF2B5EF4-FFF2-40B4-BE49-F238E27FC236}">
                    <a16:creationId xmlns:a16="http://schemas.microsoft.com/office/drawing/2014/main" id="{59902D47-5977-0F02-40AA-47B340CFC6F6}"/>
                  </a:ext>
                </a:extLst>
              </p:cNvPr>
              <p:cNvSpPr/>
              <p:nvPr/>
            </p:nvSpPr>
            <p:spPr>
              <a:xfrm>
                <a:off x="1955496" y="2823017"/>
                <a:ext cx="21259" cy="21259"/>
              </a:xfrm>
              <a:custGeom>
                <a:avLst/>
                <a:gdLst>
                  <a:gd name="connsiteX0" fmla="*/ 10706 w 21259"/>
                  <a:gd name="connsiteY0" fmla="*/ 21260 h 21259"/>
                  <a:gd name="connsiteX1" fmla="*/ 0 w 21259"/>
                  <a:gd name="connsiteY1" fmla="*/ 10706 h 21259"/>
                  <a:gd name="connsiteX2" fmla="*/ 10554 w 21259"/>
                  <a:gd name="connsiteY2" fmla="*/ 0 h 21259"/>
                  <a:gd name="connsiteX3" fmla="*/ 21260 w 21259"/>
                  <a:gd name="connsiteY3" fmla="*/ 10554 h 21259"/>
                  <a:gd name="connsiteX4" fmla="*/ 21260 w 21259"/>
                  <a:gd name="connsiteY4" fmla="*/ 10630 h 21259"/>
                  <a:gd name="connsiteX5" fmla="*/ 10706 w 21259"/>
                  <a:gd name="connsiteY5" fmla="*/ 21260 h 21259"/>
                  <a:gd name="connsiteX6" fmla="*/ 10706 w 21259"/>
                  <a:gd name="connsiteY6" fmla="*/ 21260 h 21259"/>
                  <a:gd name="connsiteX7" fmla="*/ 10706 w 21259"/>
                  <a:gd name="connsiteY7" fmla="*/ 6172 h 21259"/>
                  <a:gd name="connsiteX8" fmla="*/ 6173 w 21259"/>
                  <a:gd name="connsiteY8" fmla="*/ 10553 h 21259"/>
                  <a:gd name="connsiteX9" fmla="*/ 10554 w 21259"/>
                  <a:gd name="connsiteY9" fmla="*/ 15086 h 21259"/>
                  <a:gd name="connsiteX10" fmla="*/ 15087 w 21259"/>
                  <a:gd name="connsiteY10" fmla="*/ 10705 h 21259"/>
                  <a:gd name="connsiteX11" fmla="*/ 15088 w 21259"/>
                  <a:gd name="connsiteY11" fmla="*/ 10630 h 21259"/>
                  <a:gd name="connsiteX12" fmla="*/ 10707 w 21259"/>
                  <a:gd name="connsiteY12" fmla="*/ 6172 h 21259"/>
                  <a:gd name="connsiteX13" fmla="*/ 10706 w 21259"/>
                  <a:gd name="connsiteY13" fmla="*/ 6172 h 2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59" h="21259">
                    <a:moveTo>
                      <a:pt x="10706" y="21260"/>
                    </a:moveTo>
                    <a:cubicBezTo>
                      <a:pt x="4836" y="21302"/>
                      <a:pt x="42" y="16577"/>
                      <a:pt x="0" y="10706"/>
                    </a:cubicBezTo>
                    <a:cubicBezTo>
                      <a:pt x="-42" y="4836"/>
                      <a:pt x="4683" y="42"/>
                      <a:pt x="10554" y="0"/>
                    </a:cubicBezTo>
                    <a:cubicBezTo>
                      <a:pt x="16424" y="-42"/>
                      <a:pt x="21218" y="4683"/>
                      <a:pt x="21260" y="10554"/>
                    </a:cubicBezTo>
                    <a:cubicBezTo>
                      <a:pt x="21260" y="10579"/>
                      <a:pt x="21260" y="10604"/>
                      <a:pt x="21260" y="10630"/>
                    </a:cubicBezTo>
                    <a:cubicBezTo>
                      <a:pt x="21281" y="16479"/>
                      <a:pt x="16556" y="21238"/>
                      <a:pt x="10706" y="21260"/>
                    </a:cubicBezTo>
                    <a:cubicBezTo>
                      <a:pt x="10706" y="21260"/>
                      <a:pt x="10706" y="21260"/>
                      <a:pt x="10706" y="21260"/>
                    </a:cubicBezTo>
                    <a:close/>
                    <a:moveTo>
                      <a:pt x="10706" y="6172"/>
                    </a:moveTo>
                    <a:cubicBezTo>
                      <a:pt x="8245" y="6130"/>
                      <a:pt x="6215" y="8091"/>
                      <a:pt x="6173" y="10553"/>
                    </a:cubicBezTo>
                    <a:cubicBezTo>
                      <a:pt x="6131" y="13014"/>
                      <a:pt x="8092" y="15044"/>
                      <a:pt x="10554" y="15086"/>
                    </a:cubicBezTo>
                    <a:cubicBezTo>
                      <a:pt x="13015" y="15128"/>
                      <a:pt x="15045" y="13167"/>
                      <a:pt x="15087" y="10705"/>
                    </a:cubicBezTo>
                    <a:cubicBezTo>
                      <a:pt x="15087" y="10680"/>
                      <a:pt x="15088" y="10655"/>
                      <a:pt x="15088" y="10630"/>
                    </a:cubicBezTo>
                    <a:cubicBezTo>
                      <a:pt x="15109" y="8189"/>
                      <a:pt x="13147" y="6193"/>
                      <a:pt x="10707" y="6172"/>
                    </a:cubicBezTo>
                    <a:cubicBezTo>
                      <a:pt x="10706" y="6172"/>
                      <a:pt x="10706" y="6172"/>
                      <a:pt x="10706" y="617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5" name="Freeform: Shape 1314">
                <a:extLst>
                  <a:ext uri="{FF2B5EF4-FFF2-40B4-BE49-F238E27FC236}">
                    <a16:creationId xmlns:a16="http://schemas.microsoft.com/office/drawing/2014/main" id="{19CB4366-EBC6-B07B-3190-8A93B768A4E8}"/>
                  </a:ext>
                </a:extLst>
              </p:cNvPr>
              <p:cNvSpPr/>
              <p:nvPr/>
            </p:nvSpPr>
            <p:spPr>
              <a:xfrm rot="18882600">
                <a:off x="1997050" y="2887798"/>
                <a:ext cx="35680" cy="6191"/>
              </a:xfrm>
              <a:custGeom>
                <a:avLst/>
                <a:gdLst>
                  <a:gd name="connsiteX0" fmla="*/ 0 w 35680"/>
                  <a:gd name="connsiteY0" fmla="*/ 0 h 6191"/>
                  <a:gd name="connsiteX1" fmla="*/ 35681 w 35680"/>
                  <a:gd name="connsiteY1" fmla="*/ 0 h 6191"/>
                  <a:gd name="connsiteX2" fmla="*/ 35681 w 35680"/>
                  <a:gd name="connsiteY2" fmla="*/ 6191 h 6191"/>
                  <a:gd name="connsiteX3" fmla="*/ 0 w 35680"/>
                  <a:gd name="connsiteY3" fmla="*/ 6191 h 6191"/>
                </a:gdLst>
                <a:ahLst/>
                <a:cxnLst>
                  <a:cxn ang="0">
                    <a:pos x="connsiteX0" y="connsiteY0"/>
                  </a:cxn>
                  <a:cxn ang="0">
                    <a:pos x="connsiteX1" y="connsiteY1"/>
                  </a:cxn>
                  <a:cxn ang="0">
                    <a:pos x="connsiteX2" y="connsiteY2"/>
                  </a:cxn>
                  <a:cxn ang="0">
                    <a:pos x="connsiteX3" y="connsiteY3"/>
                  </a:cxn>
                </a:cxnLst>
                <a:rect l="l" t="t" r="r" b="b"/>
                <a:pathLst>
                  <a:path w="35680" h="6191">
                    <a:moveTo>
                      <a:pt x="0" y="0"/>
                    </a:moveTo>
                    <a:lnTo>
                      <a:pt x="35681" y="0"/>
                    </a:lnTo>
                    <a:lnTo>
                      <a:pt x="35681"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6" name="Freeform: Shape 1315">
                <a:extLst>
                  <a:ext uri="{FF2B5EF4-FFF2-40B4-BE49-F238E27FC236}">
                    <a16:creationId xmlns:a16="http://schemas.microsoft.com/office/drawing/2014/main" id="{D5A8E8E2-F55C-46E9-D67A-B350E23E728A}"/>
                  </a:ext>
                </a:extLst>
              </p:cNvPr>
              <p:cNvSpPr/>
              <p:nvPr/>
            </p:nvSpPr>
            <p:spPr>
              <a:xfrm>
                <a:off x="1986560" y="2898267"/>
                <a:ext cx="21116" cy="21276"/>
              </a:xfrm>
              <a:custGeom>
                <a:avLst/>
                <a:gdLst>
                  <a:gd name="connsiteX0" fmla="*/ 10503 w 21116"/>
                  <a:gd name="connsiteY0" fmla="*/ 21276 h 21276"/>
                  <a:gd name="connsiteX1" fmla="*/ 3073 w 21116"/>
                  <a:gd name="connsiteY1" fmla="*/ 18152 h 21276"/>
                  <a:gd name="connsiteX2" fmla="*/ 3073 w 21116"/>
                  <a:gd name="connsiteY2" fmla="*/ 3122 h 21276"/>
                  <a:gd name="connsiteX3" fmla="*/ 17944 w 21116"/>
                  <a:gd name="connsiteY3" fmla="*/ 3038 h 21276"/>
                  <a:gd name="connsiteX4" fmla="*/ 18028 w 21116"/>
                  <a:gd name="connsiteY4" fmla="*/ 3122 h 21276"/>
                  <a:gd name="connsiteX5" fmla="*/ 18028 w 21116"/>
                  <a:gd name="connsiteY5" fmla="*/ 18152 h 21276"/>
                  <a:gd name="connsiteX6" fmla="*/ 10503 w 21116"/>
                  <a:gd name="connsiteY6" fmla="*/ 21276 h 21276"/>
                  <a:gd name="connsiteX7" fmla="*/ 10503 w 21116"/>
                  <a:gd name="connsiteY7" fmla="*/ 6189 h 21276"/>
                  <a:gd name="connsiteX8" fmla="*/ 7417 w 21116"/>
                  <a:gd name="connsiteY8" fmla="*/ 7484 h 21276"/>
                  <a:gd name="connsiteX9" fmla="*/ 7417 w 21116"/>
                  <a:gd name="connsiteY9" fmla="*/ 13790 h 21276"/>
                  <a:gd name="connsiteX10" fmla="*/ 13589 w 21116"/>
                  <a:gd name="connsiteY10" fmla="*/ 13790 h 21276"/>
                  <a:gd name="connsiteX11" fmla="*/ 13589 w 21116"/>
                  <a:gd name="connsiteY11" fmla="*/ 7484 h 21276"/>
                  <a:gd name="connsiteX12" fmla="*/ 10503 w 21116"/>
                  <a:gd name="connsiteY12" fmla="*/ 6189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16" h="21276">
                    <a:moveTo>
                      <a:pt x="10503" y="21276"/>
                    </a:moveTo>
                    <a:cubicBezTo>
                      <a:pt x="7708" y="21271"/>
                      <a:pt x="5032" y="20147"/>
                      <a:pt x="3073" y="18152"/>
                    </a:cubicBezTo>
                    <a:cubicBezTo>
                      <a:pt x="-1024" y="13980"/>
                      <a:pt x="-1024" y="7294"/>
                      <a:pt x="3073" y="3122"/>
                    </a:cubicBezTo>
                    <a:cubicBezTo>
                      <a:pt x="7157" y="-1008"/>
                      <a:pt x="13815" y="-1044"/>
                      <a:pt x="17944" y="3038"/>
                    </a:cubicBezTo>
                    <a:cubicBezTo>
                      <a:pt x="17972" y="3066"/>
                      <a:pt x="18000" y="3093"/>
                      <a:pt x="18028" y="3122"/>
                    </a:cubicBezTo>
                    <a:cubicBezTo>
                      <a:pt x="22146" y="7286"/>
                      <a:pt x="22146" y="13988"/>
                      <a:pt x="18028" y="18152"/>
                    </a:cubicBezTo>
                    <a:cubicBezTo>
                      <a:pt x="16046" y="20170"/>
                      <a:pt x="13331" y="21297"/>
                      <a:pt x="10503" y="21276"/>
                    </a:cubicBezTo>
                    <a:close/>
                    <a:moveTo>
                      <a:pt x="10503" y="6189"/>
                    </a:moveTo>
                    <a:cubicBezTo>
                      <a:pt x="9341" y="6185"/>
                      <a:pt x="8227" y="6652"/>
                      <a:pt x="7417" y="7484"/>
                    </a:cubicBezTo>
                    <a:cubicBezTo>
                      <a:pt x="5686" y="9229"/>
                      <a:pt x="5686" y="12045"/>
                      <a:pt x="7417" y="13790"/>
                    </a:cubicBezTo>
                    <a:cubicBezTo>
                      <a:pt x="9133" y="15464"/>
                      <a:pt x="11872" y="15464"/>
                      <a:pt x="13589" y="13790"/>
                    </a:cubicBezTo>
                    <a:cubicBezTo>
                      <a:pt x="15300" y="12035"/>
                      <a:pt x="15300" y="9239"/>
                      <a:pt x="13589" y="7484"/>
                    </a:cubicBezTo>
                    <a:cubicBezTo>
                      <a:pt x="12776" y="6656"/>
                      <a:pt x="11664" y="6189"/>
                      <a:pt x="10503" y="618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7" name="Freeform: Shape 1316">
                <a:extLst>
                  <a:ext uri="{FF2B5EF4-FFF2-40B4-BE49-F238E27FC236}">
                    <a16:creationId xmlns:a16="http://schemas.microsoft.com/office/drawing/2014/main" id="{D4BE9C8E-2659-D652-71FF-CE40AABD7091}"/>
                  </a:ext>
                </a:extLst>
              </p:cNvPr>
              <p:cNvSpPr/>
              <p:nvPr/>
            </p:nvSpPr>
            <p:spPr>
              <a:xfrm>
                <a:off x="2068462" y="2896664"/>
                <a:ext cx="6191" cy="35871"/>
              </a:xfrm>
              <a:custGeom>
                <a:avLst/>
                <a:gdLst>
                  <a:gd name="connsiteX0" fmla="*/ 0 w 6191"/>
                  <a:gd name="connsiteY0" fmla="*/ 0 h 35871"/>
                  <a:gd name="connsiteX1" fmla="*/ 6191 w 6191"/>
                  <a:gd name="connsiteY1" fmla="*/ 0 h 35871"/>
                  <a:gd name="connsiteX2" fmla="*/ 6191 w 6191"/>
                  <a:gd name="connsiteY2" fmla="*/ 35871 h 35871"/>
                  <a:gd name="connsiteX3" fmla="*/ 0 w 6191"/>
                  <a:gd name="connsiteY3" fmla="*/ 35871 h 35871"/>
                </a:gdLst>
                <a:ahLst/>
                <a:cxnLst>
                  <a:cxn ang="0">
                    <a:pos x="connsiteX0" y="connsiteY0"/>
                  </a:cxn>
                  <a:cxn ang="0">
                    <a:pos x="connsiteX1" y="connsiteY1"/>
                  </a:cxn>
                  <a:cxn ang="0">
                    <a:pos x="connsiteX2" y="connsiteY2"/>
                  </a:cxn>
                  <a:cxn ang="0">
                    <a:pos x="connsiteX3" y="connsiteY3"/>
                  </a:cxn>
                </a:cxnLst>
                <a:rect l="l" t="t" r="r" b="b"/>
                <a:pathLst>
                  <a:path w="6191" h="35871">
                    <a:moveTo>
                      <a:pt x="0" y="0"/>
                    </a:moveTo>
                    <a:lnTo>
                      <a:pt x="6191" y="0"/>
                    </a:lnTo>
                    <a:lnTo>
                      <a:pt x="6191" y="35871"/>
                    </a:lnTo>
                    <a:lnTo>
                      <a:pt x="0" y="3587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8" name="Freeform: Shape 1317">
                <a:extLst>
                  <a:ext uri="{FF2B5EF4-FFF2-40B4-BE49-F238E27FC236}">
                    <a16:creationId xmlns:a16="http://schemas.microsoft.com/office/drawing/2014/main" id="{4526F695-44FB-0B61-2EDC-BF3492CA5653}"/>
                  </a:ext>
                </a:extLst>
              </p:cNvPr>
              <p:cNvSpPr/>
              <p:nvPr/>
            </p:nvSpPr>
            <p:spPr>
              <a:xfrm>
                <a:off x="2060804" y="2929410"/>
                <a:ext cx="21298" cy="21298"/>
              </a:xfrm>
              <a:custGeom>
                <a:avLst/>
                <a:gdLst>
                  <a:gd name="connsiteX0" fmla="*/ 10744 w 21298"/>
                  <a:gd name="connsiteY0" fmla="*/ 21298 h 21298"/>
                  <a:gd name="connsiteX1" fmla="*/ 0 w 21298"/>
                  <a:gd name="connsiteY1" fmla="*/ 10745 h 21298"/>
                  <a:gd name="connsiteX2" fmla="*/ 10554 w 21298"/>
                  <a:gd name="connsiteY2" fmla="*/ 0 h 21298"/>
                  <a:gd name="connsiteX3" fmla="*/ 21298 w 21298"/>
                  <a:gd name="connsiteY3" fmla="*/ 10554 h 21298"/>
                  <a:gd name="connsiteX4" fmla="*/ 21298 w 21298"/>
                  <a:gd name="connsiteY4" fmla="*/ 10668 h 21298"/>
                  <a:gd name="connsiteX5" fmla="*/ 10744 w 21298"/>
                  <a:gd name="connsiteY5" fmla="*/ 21298 h 21298"/>
                  <a:gd name="connsiteX6" fmla="*/ 10744 w 21298"/>
                  <a:gd name="connsiteY6" fmla="*/ 21298 h 21298"/>
                  <a:gd name="connsiteX7" fmla="*/ 10744 w 21298"/>
                  <a:gd name="connsiteY7" fmla="*/ 6211 h 21298"/>
                  <a:gd name="connsiteX8" fmla="*/ 6211 w 21298"/>
                  <a:gd name="connsiteY8" fmla="*/ 10592 h 21298"/>
                  <a:gd name="connsiteX9" fmla="*/ 10592 w 21298"/>
                  <a:gd name="connsiteY9" fmla="*/ 15124 h 21298"/>
                  <a:gd name="connsiteX10" fmla="*/ 15125 w 21298"/>
                  <a:gd name="connsiteY10" fmla="*/ 10745 h 21298"/>
                  <a:gd name="connsiteX11" fmla="*/ 15126 w 21298"/>
                  <a:gd name="connsiteY11" fmla="*/ 10668 h 21298"/>
                  <a:gd name="connsiteX12" fmla="*/ 10745 w 21298"/>
                  <a:gd name="connsiteY12" fmla="*/ 6211 h 21298"/>
                  <a:gd name="connsiteX13" fmla="*/ 10744 w 21298"/>
                  <a:gd name="connsiteY13" fmla="*/ 6211 h 2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98" h="21298">
                    <a:moveTo>
                      <a:pt x="10744" y="21298"/>
                    </a:moveTo>
                    <a:cubicBezTo>
                      <a:pt x="4863" y="21352"/>
                      <a:pt x="53" y="16625"/>
                      <a:pt x="0" y="10745"/>
                    </a:cubicBezTo>
                    <a:cubicBezTo>
                      <a:pt x="-52" y="4864"/>
                      <a:pt x="4673" y="54"/>
                      <a:pt x="10554" y="0"/>
                    </a:cubicBezTo>
                    <a:cubicBezTo>
                      <a:pt x="16435" y="-51"/>
                      <a:pt x="21245" y="4673"/>
                      <a:pt x="21298" y="10554"/>
                    </a:cubicBezTo>
                    <a:cubicBezTo>
                      <a:pt x="21298" y="10592"/>
                      <a:pt x="21298" y="10630"/>
                      <a:pt x="21298" y="10668"/>
                    </a:cubicBezTo>
                    <a:cubicBezTo>
                      <a:pt x="21319" y="16519"/>
                      <a:pt x="16594" y="21277"/>
                      <a:pt x="10744" y="21298"/>
                    </a:cubicBezTo>
                    <a:cubicBezTo>
                      <a:pt x="10744" y="21298"/>
                      <a:pt x="10744" y="21298"/>
                      <a:pt x="10744" y="21298"/>
                    </a:cubicBezTo>
                    <a:close/>
                    <a:moveTo>
                      <a:pt x="10744" y="6211"/>
                    </a:moveTo>
                    <a:cubicBezTo>
                      <a:pt x="8283" y="6169"/>
                      <a:pt x="6253" y="8129"/>
                      <a:pt x="6211" y="10592"/>
                    </a:cubicBezTo>
                    <a:cubicBezTo>
                      <a:pt x="6169" y="13053"/>
                      <a:pt x="8130" y="15082"/>
                      <a:pt x="10592" y="15124"/>
                    </a:cubicBezTo>
                    <a:cubicBezTo>
                      <a:pt x="13053" y="15166"/>
                      <a:pt x="15083" y="13206"/>
                      <a:pt x="15125" y="10745"/>
                    </a:cubicBezTo>
                    <a:cubicBezTo>
                      <a:pt x="15126" y="10718"/>
                      <a:pt x="15126" y="10693"/>
                      <a:pt x="15126" y="10668"/>
                    </a:cubicBezTo>
                    <a:cubicBezTo>
                      <a:pt x="15147" y="8228"/>
                      <a:pt x="13185" y="6232"/>
                      <a:pt x="10745" y="6211"/>
                    </a:cubicBezTo>
                    <a:cubicBezTo>
                      <a:pt x="10744" y="6211"/>
                      <a:pt x="10744" y="6211"/>
                      <a:pt x="10744" y="6211"/>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19" name="Freeform: Shape 1318">
                <a:extLst>
                  <a:ext uri="{FF2B5EF4-FFF2-40B4-BE49-F238E27FC236}">
                    <a16:creationId xmlns:a16="http://schemas.microsoft.com/office/drawing/2014/main" id="{C255CAB7-444F-ED66-461C-1D7909C4D2C1}"/>
                  </a:ext>
                </a:extLst>
              </p:cNvPr>
              <p:cNvSpPr/>
              <p:nvPr/>
            </p:nvSpPr>
            <p:spPr>
              <a:xfrm rot="18917400">
                <a:off x="2125105" y="2873035"/>
                <a:ext cx="6191" cy="35680"/>
              </a:xfrm>
              <a:custGeom>
                <a:avLst/>
                <a:gdLst>
                  <a:gd name="connsiteX0" fmla="*/ 0 w 6191"/>
                  <a:gd name="connsiteY0" fmla="*/ 0 h 35680"/>
                  <a:gd name="connsiteX1" fmla="*/ 6191 w 6191"/>
                  <a:gd name="connsiteY1" fmla="*/ 0 h 35680"/>
                  <a:gd name="connsiteX2" fmla="*/ 6191 w 6191"/>
                  <a:gd name="connsiteY2" fmla="*/ 35681 h 35680"/>
                  <a:gd name="connsiteX3" fmla="*/ 0 w 6191"/>
                  <a:gd name="connsiteY3" fmla="*/ 35681 h 35680"/>
                </a:gdLst>
                <a:ahLst/>
                <a:cxnLst>
                  <a:cxn ang="0">
                    <a:pos x="connsiteX0" y="connsiteY0"/>
                  </a:cxn>
                  <a:cxn ang="0">
                    <a:pos x="connsiteX1" y="connsiteY1"/>
                  </a:cxn>
                  <a:cxn ang="0">
                    <a:pos x="connsiteX2" y="connsiteY2"/>
                  </a:cxn>
                  <a:cxn ang="0">
                    <a:pos x="connsiteX3" y="connsiteY3"/>
                  </a:cxn>
                </a:cxnLst>
                <a:rect l="l" t="t" r="r" b="b"/>
                <a:pathLst>
                  <a:path w="6191" h="35680">
                    <a:moveTo>
                      <a:pt x="0" y="0"/>
                    </a:moveTo>
                    <a:lnTo>
                      <a:pt x="6191" y="0"/>
                    </a:lnTo>
                    <a:lnTo>
                      <a:pt x="6191" y="35681"/>
                    </a:lnTo>
                    <a:lnTo>
                      <a:pt x="0" y="3568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0" name="Freeform: Shape 1319">
                <a:extLst>
                  <a:ext uri="{FF2B5EF4-FFF2-40B4-BE49-F238E27FC236}">
                    <a16:creationId xmlns:a16="http://schemas.microsoft.com/office/drawing/2014/main" id="{FBEACA6E-709F-EF05-25C5-6A7FE9CA6609}"/>
                  </a:ext>
                </a:extLst>
              </p:cNvPr>
              <p:cNvSpPr/>
              <p:nvPr/>
            </p:nvSpPr>
            <p:spPr>
              <a:xfrm>
                <a:off x="2135493" y="2898267"/>
                <a:ext cx="21100" cy="21276"/>
              </a:xfrm>
              <a:custGeom>
                <a:avLst/>
                <a:gdLst>
                  <a:gd name="connsiteX0" fmla="*/ 10541 w 21100"/>
                  <a:gd name="connsiteY0" fmla="*/ 21276 h 21276"/>
                  <a:gd name="connsiteX1" fmla="*/ 3073 w 21100"/>
                  <a:gd name="connsiteY1" fmla="*/ 18152 h 21276"/>
                  <a:gd name="connsiteX2" fmla="*/ 3073 w 21100"/>
                  <a:gd name="connsiteY2" fmla="*/ 18152 h 21276"/>
                  <a:gd name="connsiteX3" fmla="*/ 3073 w 21100"/>
                  <a:gd name="connsiteY3" fmla="*/ 3122 h 21276"/>
                  <a:gd name="connsiteX4" fmla="*/ 17944 w 21100"/>
                  <a:gd name="connsiteY4" fmla="*/ 3038 h 21276"/>
                  <a:gd name="connsiteX5" fmla="*/ 18027 w 21100"/>
                  <a:gd name="connsiteY5" fmla="*/ 3122 h 21276"/>
                  <a:gd name="connsiteX6" fmla="*/ 18027 w 21100"/>
                  <a:gd name="connsiteY6" fmla="*/ 18152 h 21276"/>
                  <a:gd name="connsiteX7" fmla="*/ 10541 w 21100"/>
                  <a:gd name="connsiteY7" fmla="*/ 21276 h 21276"/>
                  <a:gd name="connsiteX8" fmla="*/ 7455 w 21100"/>
                  <a:gd name="connsiteY8" fmla="*/ 13790 h 21276"/>
                  <a:gd name="connsiteX9" fmla="*/ 13627 w 21100"/>
                  <a:gd name="connsiteY9" fmla="*/ 13790 h 21276"/>
                  <a:gd name="connsiteX10" fmla="*/ 13627 w 21100"/>
                  <a:gd name="connsiteY10" fmla="*/ 7484 h 21276"/>
                  <a:gd name="connsiteX11" fmla="*/ 7455 w 21100"/>
                  <a:gd name="connsiteY11" fmla="*/ 7484 h 21276"/>
                  <a:gd name="connsiteX12" fmla="*/ 7455 w 21100"/>
                  <a:gd name="connsiteY12" fmla="*/ 13790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00" h="21276">
                    <a:moveTo>
                      <a:pt x="10541" y="21276"/>
                    </a:moveTo>
                    <a:cubicBezTo>
                      <a:pt x="7733" y="21282"/>
                      <a:pt x="5041" y="20156"/>
                      <a:pt x="3073" y="18152"/>
                    </a:cubicBezTo>
                    <a:lnTo>
                      <a:pt x="3073" y="18152"/>
                    </a:lnTo>
                    <a:cubicBezTo>
                      <a:pt x="-1024" y="13980"/>
                      <a:pt x="-1024" y="7294"/>
                      <a:pt x="3073" y="3122"/>
                    </a:cubicBezTo>
                    <a:cubicBezTo>
                      <a:pt x="7158" y="-1008"/>
                      <a:pt x="13816" y="-1044"/>
                      <a:pt x="17944" y="3038"/>
                    </a:cubicBezTo>
                    <a:cubicBezTo>
                      <a:pt x="17972" y="3066"/>
                      <a:pt x="18001" y="3093"/>
                      <a:pt x="18027" y="3122"/>
                    </a:cubicBezTo>
                    <a:cubicBezTo>
                      <a:pt x="22125" y="7294"/>
                      <a:pt x="22125" y="13980"/>
                      <a:pt x="18027" y="18152"/>
                    </a:cubicBezTo>
                    <a:cubicBezTo>
                      <a:pt x="16056" y="20160"/>
                      <a:pt x="13356" y="21286"/>
                      <a:pt x="10541" y="21276"/>
                    </a:cubicBezTo>
                    <a:close/>
                    <a:moveTo>
                      <a:pt x="7455" y="13790"/>
                    </a:moveTo>
                    <a:cubicBezTo>
                      <a:pt x="9171" y="15464"/>
                      <a:pt x="11911" y="15464"/>
                      <a:pt x="13627" y="13790"/>
                    </a:cubicBezTo>
                    <a:cubicBezTo>
                      <a:pt x="15359" y="12045"/>
                      <a:pt x="15359" y="9229"/>
                      <a:pt x="13627" y="7484"/>
                    </a:cubicBezTo>
                    <a:cubicBezTo>
                      <a:pt x="11911" y="5810"/>
                      <a:pt x="9171" y="5810"/>
                      <a:pt x="7455" y="7484"/>
                    </a:cubicBezTo>
                    <a:cubicBezTo>
                      <a:pt x="5744" y="9239"/>
                      <a:pt x="5744" y="12035"/>
                      <a:pt x="7455" y="13790"/>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1" name="Freeform: Shape 1320">
                <a:extLst>
                  <a:ext uri="{FF2B5EF4-FFF2-40B4-BE49-F238E27FC236}">
                    <a16:creationId xmlns:a16="http://schemas.microsoft.com/office/drawing/2014/main" id="{64C1F013-2468-3512-8CCF-1855FF460720}"/>
                  </a:ext>
                </a:extLst>
              </p:cNvPr>
              <p:cNvSpPr/>
              <p:nvPr/>
            </p:nvSpPr>
            <p:spPr>
              <a:xfrm>
                <a:off x="2133918" y="2830560"/>
                <a:ext cx="35509" cy="6191"/>
              </a:xfrm>
              <a:custGeom>
                <a:avLst/>
                <a:gdLst>
                  <a:gd name="connsiteX0" fmla="*/ 0 w 35509"/>
                  <a:gd name="connsiteY0" fmla="*/ 0 h 6191"/>
                  <a:gd name="connsiteX1" fmla="*/ 35509 w 35509"/>
                  <a:gd name="connsiteY1" fmla="*/ 0 h 6191"/>
                  <a:gd name="connsiteX2" fmla="*/ 35509 w 35509"/>
                  <a:gd name="connsiteY2" fmla="*/ 6191 h 6191"/>
                  <a:gd name="connsiteX3" fmla="*/ 0 w 35509"/>
                  <a:gd name="connsiteY3" fmla="*/ 6191 h 6191"/>
                </a:gdLst>
                <a:ahLst/>
                <a:cxnLst>
                  <a:cxn ang="0">
                    <a:pos x="connsiteX0" y="connsiteY0"/>
                  </a:cxn>
                  <a:cxn ang="0">
                    <a:pos x="connsiteX1" y="connsiteY1"/>
                  </a:cxn>
                  <a:cxn ang="0">
                    <a:pos x="connsiteX2" y="connsiteY2"/>
                  </a:cxn>
                  <a:cxn ang="0">
                    <a:pos x="connsiteX3" y="connsiteY3"/>
                  </a:cxn>
                </a:cxnLst>
                <a:rect l="l" t="t" r="r" b="b"/>
                <a:pathLst>
                  <a:path w="35509" h="6191">
                    <a:moveTo>
                      <a:pt x="0" y="0"/>
                    </a:moveTo>
                    <a:lnTo>
                      <a:pt x="35509" y="0"/>
                    </a:lnTo>
                    <a:lnTo>
                      <a:pt x="35509"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2" name="Freeform: Shape 1321">
                <a:extLst>
                  <a:ext uri="{FF2B5EF4-FFF2-40B4-BE49-F238E27FC236}">
                    <a16:creationId xmlns:a16="http://schemas.microsoft.com/office/drawing/2014/main" id="{EC64AD3D-69F9-881B-D20F-5C29DC4DA978}"/>
                  </a:ext>
                </a:extLst>
              </p:cNvPr>
              <p:cNvSpPr/>
              <p:nvPr/>
            </p:nvSpPr>
            <p:spPr>
              <a:xfrm>
                <a:off x="2166189" y="2823017"/>
                <a:ext cx="21260" cy="21259"/>
              </a:xfrm>
              <a:custGeom>
                <a:avLst/>
                <a:gdLst>
                  <a:gd name="connsiteX0" fmla="*/ 10706 w 21260"/>
                  <a:gd name="connsiteY0" fmla="*/ 21260 h 21259"/>
                  <a:gd name="connsiteX1" fmla="*/ 0 w 21260"/>
                  <a:gd name="connsiteY1" fmla="*/ 10706 h 21259"/>
                  <a:gd name="connsiteX2" fmla="*/ 10554 w 21260"/>
                  <a:gd name="connsiteY2" fmla="*/ 0 h 21259"/>
                  <a:gd name="connsiteX3" fmla="*/ 21260 w 21260"/>
                  <a:gd name="connsiteY3" fmla="*/ 10554 h 21259"/>
                  <a:gd name="connsiteX4" fmla="*/ 21260 w 21260"/>
                  <a:gd name="connsiteY4" fmla="*/ 10630 h 21259"/>
                  <a:gd name="connsiteX5" fmla="*/ 10706 w 21260"/>
                  <a:gd name="connsiteY5" fmla="*/ 21260 h 21259"/>
                  <a:gd name="connsiteX6" fmla="*/ 10706 w 21260"/>
                  <a:gd name="connsiteY6" fmla="*/ 21260 h 21259"/>
                  <a:gd name="connsiteX7" fmla="*/ 10706 w 21260"/>
                  <a:gd name="connsiteY7" fmla="*/ 6172 h 21259"/>
                  <a:gd name="connsiteX8" fmla="*/ 6172 w 21260"/>
                  <a:gd name="connsiteY8" fmla="*/ 10553 h 21259"/>
                  <a:gd name="connsiteX9" fmla="*/ 10554 w 21260"/>
                  <a:gd name="connsiteY9" fmla="*/ 15086 h 21259"/>
                  <a:gd name="connsiteX10" fmla="*/ 15088 w 21260"/>
                  <a:gd name="connsiteY10" fmla="*/ 10705 h 21259"/>
                  <a:gd name="connsiteX11" fmla="*/ 15088 w 21260"/>
                  <a:gd name="connsiteY11" fmla="*/ 10630 h 21259"/>
                  <a:gd name="connsiteX12" fmla="*/ 10706 w 21260"/>
                  <a:gd name="connsiteY12" fmla="*/ 6172 h 21259"/>
                  <a:gd name="connsiteX13" fmla="*/ 10706 w 21260"/>
                  <a:gd name="connsiteY13" fmla="*/ 6172 h 2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60" h="21259">
                    <a:moveTo>
                      <a:pt x="10706" y="21260"/>
                    </a:moveTo>
                    <a:cubicBezTo>
                      <a:pt x="4835" y="21302"/>
                      <a:pt x="42" y="16577"/>
                      <a:pt x="0" y="10706"/>
                    </a:cubicBezTo>
                    <a:cubicBezTo>
                      <a:pt x="-42" y="4836"/>
                      <a:pt x="4683" y="42"/>
                      <a:pt x="10554" y="0"/>
                    </a:cubicBezTo>
                    <a:cubicBezTo>
                      <a:pt x="16425" y="-42"/>
                      <a:pt x="21218" y="4683"/>
                      <a:pt x="21260" y="10554"/>
                    </a:cubicBezTo>
                    <a:cubicBezTo>
                      <a:pt x="21260" y="10579"/>
                      <a:pt x="21260" y="10604"/>
                      <a:pt x="21260" y="10630"/>
                    </a:cubicBezTo>
                    <a:cubicBezTo>
                      <a:pt x="21281" y="16479"/>
                      <a:pt x="16557" y="21238"/>
                      <a:pt x="10706" y="21260"/>
                    </a:cubicBezTo>
                    <a:cubicBezTo>
                      <a:pt x="10706" y="21260"/>
                      <a:pt x="10706" y="21260"/>
                      <a:pt x="10706" y="21260"/>
                    </a:cubicBezTo>
                    <a:close/>
                    <a:moveTo>
                      <a:pt x="10706" y="6172"/>
                    </a:moveTo>
                    <a:cubicBezTo>
                      <a:pt x="8245" y="6130"/>
                      <a:pt x="6214" y="8091"/>
                      <a:pt x="6172" y="10553"/>
                    </a:cubicBezTo>
                    <a:cubicBezTo>
                      <a:pt x="6131" y="13014"/>
                      <a:pt x="8093" y="15044"/>
                      <a:pt x="10554" y="15086"/>
                    </a:cubicBezTo>
                    <a:cubicBezTo>
                      <a:pt x="13015" y="15128"/>
                      <a:pt x="15046" y="13167"/>
                      <a:pt x="15088" y="10705"/>
                    </a:cubicBezTo>
                    <a:cubicBezTo>
                      <a:pt x="15088" y="10680"/>
                      <a:pt x="15088" y="10655"/>
                      <a:pt x="15088" y="10630"/>
                    </a:cubicBezTo>
                    <a:cubicBezTo>
                      <a:pt x="15109" y="8189"/>
                      <a:pt x="13147" y="6193"/>
                      <a:pt x="10706" y="6172"/>
                    </a:cubicBezTo>
                    <a:cubicBezTo>
                      <a:pt x="10706" y="6172"/>
                      <a:pt x="10706" y="6172"/>
                      <a:pt x="10706" y="617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3" name="Freeform: Shape 1322">
                <a:extLst>
                  <a:ext uri="{FF2B5EF4-FFF2-40B4-BE49-F238E27FC236}">
                    <a16:creationId xmlns:a16="http://schemas.microsoft.com/office/drawing/2014/main" id="{40EDD8F9-E270-F506-BABB-EFE82925ED45}"/>
                  </a:ext>
                </a:extLst>
              </p:cNvPr>
              <p:cNvSpPr/>
              <p:nvPr/>
            </p:nvSpPr>
            <p:spPr>
              <a:xfrm rot="18882600">
                <a:off x="2110358" y="2773328"/>
                <a:ext cx="35699" cy="6191"/>
              </a:xfrm>
              <a:custGeom>
                <a:avLst/>
                <a:gdLst>
                  <a:gd name="connsiteX0" fmla="*/ 0 w 35699"/>
                  <a:gd name="connsiteY0" fmla="*/ 0 h 6191"/>
                  <a:gd name="connsiteX1" fmla="*/ 35700 w 35699"/>
                  <a:gd name="connsiteY1" fmla="*/ 0 h 6191"/>
                  <a:gd name="connsiteX2" fmla="*/ 35700 w 35699"/>
                  <a:gd name="connsiteY2" fmla="*/ 6191 h 6191"/>
                  <a:gd name="connsiteX3" fmla="*/ 0 w 35699"/>
                  <a:gd name="connsiteY3" fmla="*/ 6191 h 6191"/>
                </a:gdLst>
                <a:ahLst/>
                <a:cxnLst>
                  <a:cxn ang="0">
                    <a:pos x="connsiteX0" y="connsiteY0"/>
                  </a:cxn>
                  <a:cxn ang="0">
                    <a:pos x="connsiteX1" y="connsiteY1"/>
                  </a:cxn>
                  <a:cxn ang="0">
                    <a:pos x="connsiteX2" y="connsiteY2"/>
                  </a:cxn>
                  <a:cxn ang="0">
                    <a:pos x="connsiteX3" y="connsiteY3"/>
                  </a:cxn>
                </a:cxnLst>
                <a:rect l="l" t="t" r="r" b="b"/>
                <a:pathLst>
                  <a:path w="35699" h="6191">
                    <a:moveTo>
                      <a:pt x="0" y="0"/>
                    </a:moveTo>
                    <a:lnTo>
                      <a:pt x="35700" y="0"/>
                    </a:lnTo>
                    <a:lnTo>
                      <a:pt x="35700"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324" name="Freeform: Shape 1323">
                <a:extLst>
                  <a:ext uri="{FF2B5EF4-FFF2-40B4-BE49-F238E27FC236}">
                    <a16:creationId xmlns:a16="http://schemas.microsoft.com/office/drawing/2014/main" id="{57A4B759-38CB-A7DC-28E6-2C5C82F1E0C0}"/>
                  </a:ext>
                </a:extLst>
              </p:cNvPr>
              <p:cNvSpPr/>
              <p:nvPr/>
            </p:nvSpPr>
            <p:spPr>
              <a:xfrm>
                <a:off x="2135493" y="2747753"/>
                <a:ext cx="21100" cy="21276"/>
              </a:xfrm>
              <a:custGeom>
                <a:avLst/>
                <a:gdLst>
                  <a:gd name="connsiteX0" fmla="*/ 10541 w 21100"/>
                  <a:gd name="connsiteY0" fmla="*/ 21276 h 21276"/>
                  <a:gd name="connsiteX1" fmla="*/ 3073 w 21100"/>
                  <a:gd name="connsiteY1" fmla="*/ 18152 h 21276"/>
                  <a:gd name="connsiteX2" fmla="*/ 3073 w 21100"/>
                  <a:gd name="connsiteY2" fmla="*/ 3122 h 21276"/>
                  <a:gd name="connsiteX3" fmla="*/ 17944 w 21100"/>
                  <a:gd name="connsiteY3" fmla="*/ 3038 h 21276"/>
                  <a:gd name="connsiteX4" fmla="*/ 18027 w 21100"/>
                  <a:gd name="connsiteY4" fmla="*/ 3122 h 21276"/>
                  <a:gd name="connsiteX5" fmla="*/ 18027 w 21100"/>
                  <a:gd name="connsiteY5" fmla="*/ 18152 h 21276"/>
                  <a:gd name="connsiteX6" fmla="*/ 18027 w 21100"/>
                  <a:gd name="connsiteY6" fmla="*/ 18152 h 21276"/>
                  <a:gd name="connsiteX7" fmla="*/ 10541 w 21100"/>
                  <a:gd name="connsiteY7" fmla="*/ 21276 h 21276"/>
                  <a:gd name="connsiteX8" fmla="*/ 10541 w 21100"/>
                  <a:gd name="connsiteY8" fmla="*/ 6189 h 21276"/>
                  <a:gd name="connsiteX9" fmla="*/ 7455 w 21100"/>
                  <a:gd name="connsiteY9" fmla="*/ 7484 h 21276"/>
                  <a:gd name="connsiteX10" fmla="*/ 7455 w 21100"/>
                  <a:gd name="connsiteY10" fmla="*/ 13790 h 21276"/>
                  <a:gd name="connsiteX11" fmla="*/ 13627 w 21100"/>
                  <a:gd name="connsiteY11" fmla="*/ 13790 h 21276"/>
                  <a:gd name="connsiteX12" fmla="*/ 13627 w 21100"/>
                  <a:gd name="connsiteY12" fmla="*/ 13790 h 21276"/>
                  <a:gd name="connsiteX13" fmla="*/ 13627 w 21100"/>
                  <a:gd name="connsiteY13" fmla="*/ 7484 h 21276"/>
                  <a:gd name="connsiteX14" fmla="*/ 10541 w 21100"/>
                  <a:gd name="connsiteY14" fmla="*/ 6189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00" h="21276">
                    <a:moveTo>
                      <a:pt x="10541" y="21276"/>
                    </a:moveTo>
                    <a:cubicBezTo>
                      <a:pt x="7733" y="21282"/>
                      <a:pt x="5041" y="20155"/>
                      <a:pt x="3073" y="18152"/>
                    </a:cubicBezTo>
                    <a:cubicBezTo>
                      <a:pt x="-1024" y="13980"/>
                      <a:pt x="-1024" y="7294"/>
                      <a:pt x="3073" y="3122"/>
                    </a:cubicBezTo>
                    <a:cubicBezTo>
                      <a:pt x="7158" y="-1008"/>
                      <a:pt x="13816" y="-1045"/>
                      <a:pt x="17944" y="3038"/>
                    </a:cubicBezTo>
                    <a:cubicBezTo>
                      <a:pt x="17972" y="3066"/>
                      <a:pt x="18001" y="3094"/>
                      <a:pt x="18027" y="3122"/>
                    </a:cubicBezTo>
                    <a:cubicBezTo>
                      <a:pt x="22125" y="7294"/>
                      <a:pt x="22125" y="13980"/>
                      <a:pt x="18027" y="18152"/>
                    </a:cubicBezTo>
                    <a:lnTo>
                      <a:pt x="18027" y="18152"/>
                    </a:lnTo>
                    <a:cubicBezTo>
                      <a:pt x="16056" y="20160"/>
                      <a:pt x="13356" y="21287"/>
                      <a:pt x="10541" y="21276"/>
                    </a:cubicBezTo>
                    <a:close/>
                    <a:moveTo>
                      <a:pt x="10541" y="6189"/>
                    </a:moveTo>
                    <a:cubicBezTo>
                      <a:pt x="9381" y="6189"/>
                      <a:pt x="8268" y="6656"/>
                      <a:pt x="7455" y="7484"/>
                    </a:cubicBezTo>
                    <a:cubicBezTo>
                      <a:pt x="5744" y="9238"/>
                      <a:pt x="5744" y="12036"/>
                      <a:pt x="7455" y="13790"/>
                    </a:cubicBezTo>
                    <a:cubicBezTo>
                      <a:pt x="9171" y="15464"/>
                      <a:pt x="11911" y="15464"/>
                      <a:pt x="13627" y="13790"/>
                    </a:cubicBezTo>
                    <a:lnTo>
                      <a:pt x="13627" y="13790"/>
                    </a:lnTo>
                    <a:cubicBezTo>
                      <a:pt x="15359" y="12044"/>
                      <a:pt x="15359" y="9229"/>
                      <a:pt x="13627" y="7484"/>
                    </a:cubicBezTo>
                    <a:cubicBezTo>
                      <a:pt x="12815" y="6652"/>
                      <a:pt x="11703" y="6185"/>
                      <a:pt x="10541" y="618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54" name="Graphic 175">
              <a:extLst>
                <a:ext uri="{FF2B5EF4-FFF2-40B4-BE49-F238E27FC236}">
                  <a16:creationId xmlns:a16="http://schemas.microsoft.com/office/drawing/2014/main" id="{70161FD1-F755-49D9-DA29-A69CED28156D}"/>
                </a:ext>
              </a:extLst>
            </p:cNvPr>
            <p:cNvGrpSpPr/>
            <p:nvPr/>
          </p:nvGrpSpPr>
          <p:grpSpPr>
            <a:xfrm>
              <a:off x="446248" y="3746328"/>
              <a:ext cx="238739" cy="237447"/>
              <a:chOff x="1889273" y="3290257"/>
              <a:chExt cx="238739" cy="230048"/>
            </a:xfrm>
            <a:solidFill>
              <a:srgbClr val="FF0000"/>
            </a:solidFill>
          </p:grpSpPr>
          <p:sp>
            <p:nvSpPr>
              <p:cNvPr id="857" name="Freeform: Shape 856">
                <a:extLst>
                  <a:ext uri="{FF2B5EF4-FFF2-40B4-BE49-F238E27FC236}">
                    <a16:creationId xmlns:a16="http://schemas.microsoft.com/office/drawing/2014/main" id="{BD15EDED-8792-4AC4-2CE3-1303B520791D}"/>
                  </a:ext>
                </a:extLst>
              </p:cNvPr>
              <p:cNvSpPr/>
              <p:nvPr/>
            </p:nvSpPr>
            <p:spPr>
              <a:xfrm>
                <a:off x="1889273" y="3295897"/>
                <a:ext cx="140326" cy="195090"/>
              </a:xfrm>
              <a:custGeom>
                <a:avLst/>
                <a:gdLst>
                  <a:gd name="connsiteX0" fmla="*/ 64127 w 140326"/>
                  <a:gd name="connsiteY0" fmla="*/ 195090 h 195090"/>
                  <a:gd name="connsiteX1" fmla="*/ 24522 w 140326"/>
                  <a:gd name="connsiteY1" fmla="*/ 187165 h 195090"/>
                  <a:gd name="connsiteX2" fmla="*/ 23645 w 140326"/>
                  <a:gd name="connsiteY2" fmla="*/ 166629 h 195090"/>
                  <a:gd name="connsiteX3" fmla="*/ 21740 w 140326"/>
                  <a:gd name="connsiteY3" fmla="*/ 163829 h 195090"/>
                  <a:gd name="connsiteX4" fmla="*/ 16940 w 140326"/>
                  <a:gd name="connsiteY4" fmla="*/ 159448 h 195090"/>
                  <a:gd name="connsiteX5" fmla="*/ 18997 w 140326"/>
                  <a:gd name="connsiteY5" fmla="*/ 151828 h 195090"/>
                  <a:gd name="connsiteX6" fmla="*/ 18997 w 140326"/>
                  <a:gd name="connsiteY6" fmla="*/ 151637 h 195090"/>
                  <a:gd name="connsiteX7" fmla="*/ 17968 w 140326"/>
                  <a:gd name="connsiteY7" fmla="*/ 150151 h 195090"/>
                  <a:gd name="connsiteX8" fmla="*/ 16844 w 140326"/>
                  <a:gd name="connsiteY8" fmla="*/ 136397 h 195090"/>
                  <a:gd name="connsiteX9" fmla="*/ 11701 w 140326"/>
                  <a:gd name="connsiteY9" fmla="*/ 133997 h 195090"/>
                  <a:gd name="connsiteX10" fmla="*/ 42 w 140326"/>
                  <a:gd name="connsiteY10" fmla="*/ 124148 h 195090"/>
                  <a:gd name="connsiteX11" fmla="*/ 42 w 140326"/>
                  <a:gd name="connsiteY11" fmla="*/ 123157 h 195090"/>
                  <a:gd name="connsiteX12" fmla="*/ 7072 w 140326"/>
                  <a:gd name="connsiteY12" fmla="*/ 109689 h 195090"/>
                  <a:gd name="connsiteX13" fmla="*/ 17664 w 140326"/>
                  <a:gd name="connsiteY13" fmla="*/ 83705 h 195090"/>
                  <a:gd name="connsiteX14" fmla="*/ 104322 w 140326"/>
                  <a:gd name="connsiteY14" fmla="*/ 285 h 195090"/>
                  <a:gd name="connsiteX15" fmla="*/ 105122 w 140326"/>
                  <a:gd name="connsiteY15" fmla="*/ 285 h 195090"/>
                  <a:gd name="connsiteX16" fmla="*/ 140327 w 140326"/>
                  <a:gd name="connsiteY16" fmla="*/ 4362 h 195090"/>
                  <a:gd name="connsiteX17" fmla="*/ 138422 w 140326"/>
                  <a:gd name="connsiteY17" fmla="*/ 10210 h 195090"/>
                  <a:gd name="connsiteX18" fmla="*/ 105827 w 140326"/>
                  <a:gd name="connsiteY18" fmla="*/ 6400 h 195090"/>
                  <a:gd name="connsiteX19" fmla="*/ 105103 w 140326"/>
                  <a:gd name="connsiteY19" fmla="*/ 6400 h 195090"/>
                  <a:gd name="connsiteX20" fmla="*/ 23950 w 140326"/>
                  <a:gd name="connsiteY20" fmla="*/ 83838 h 195090"/>
                  <a:gd name="connsiteX21" fmla="*/ 12349 w 140326"/>
                  <a:gd name="connsiteY21" fmla="*/ 113061 h 195090"/>
                  <a:gd name="connsiteX22" fmla="*/ 6348 w 140326"/>
                  <a:gd name="connsiteY22" fmla="*/ 123881 h 195090"/>
                  <a:gd name="connsiteX23" fmla="*/ 14082 w 140326"/>
                  <a:gd name="connsiteY23" fmla="*/ 128225 h 195090"/>
                  <a:gd name="connsiteX24" fmla="*/ 23093 w 140326"/>
                  <a:gd name="connsiteY24" fmla="*/ 134568 h 195090"/>
                  <a:gd name="connsiteX25" fmla="*/ 22598 w 140326"/>
                  <a:gd name="connsiteY25" fmla="*/ 138797 h 195090"/>
                  <a:gd name="connsiteX26" fmla="*/ 22998 w 140326"/>
                  <a:gd name="connsiteY26" fmla="*/ 146417 h 195090"/>
                  <a:gd name="connsiteX27" fmla="*/ 24103 w 140326"/>
                  <a:gd name="connsiteY27" fmla="*/ 155123 h 195090"/>
                  <a:gd name="connsiteX28" fmla="*/ 22902 w 140326"/>
                  <a:gd name="connsiteY28" fmla="*/ 157466 h 195090"/>
                  <a:gd name="connsiteX29" fmla="*/ 24179 w 140326"/>
                  <a:gd name="connsiteY29" fmla="*/ 158076 h 195090"/>
                  <a:gd name="connsiteX30" fmla="*/ 29551 w 140326"/>
                  <a:gd name="connsiteY30" fmla="*/ 168173 h 195090"/>
                  <a:gd name="connsiteX31" fmla="*/ 29684 w 140326"/>
                  <a:gd name="connsiteY31" fmla="*/ 183755 h 195090"/>
                  <a:gd name="connsiteX32" fmla="*/ 64184 w 140326"/>
                  <a:gd name="connsiteY32" fmla="*/ 188823 h 19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0326" h="195090">
                    <a:moveTo>
                      <a:pt x="64127" y="195090"/>
                    </a:moveTo>
                    <a:cubicBezTo>
                      <a:pt x="29170" y="194481"/>
                      <a:pt x="25798" y="189166"/>
                      <a:pt x="24522" y="187165"/>
                    </a:cubicBezTo>
                    <a:cubicBezTo>
                      <a:pt x="20426" y="180707"/>
                      <a:pt x="21150" y="175735"/>
                      <a:pt x="23645" y="166629"/>
                    </a:cubicBezTo>
                    <a:cubicBezTo>
                      <a:pt x="24122" y="164877"/>
                      <a:pt x="24026" y="164839"/>
                      <a:pt x="21740" y="163829"/>
                    </a:cubicBezTo>
                    <a:cubicBezTo>
                      <a:pt x="19551" y="163185"/>
                      <a:pt x="17780" y="161569"/>
                      <a:pt x="16940" y="159448"/>
                    </a:cubicBezTo>
                    <a:cubicBezTo>
                      <a:pt x="16121" y="156666"/>
                      <a:pt x="17721" y="153733"/>
                      <a:pt x="18997" y="151828"/>
                    </a:cubicBezTo>
                    <a:cubicBezTo>
                      <a:pt x="19002" y="151764"/>
                      <a:pt x="19002" y="151701"/>
                      <a:pt x="18997" y="151637"/>
                    </a:cubicBezTo>
                    <a:cubicBezTo>
                      <a:pt x="18680" y="151124"/>
                      <a:pt x="18337" y="150628"/>
                      <a:pt x="17968" y="150151"/>
                    </a:cubicBezTo>
                    <a:cubicBezTo>
                      <a:pt x="14556" y="146335"/>
                      <a:pt x="14097" y="140716"/>
                      <a:pt x="16844" y="136397"/>
                    </a:cubicBezTo>
                    <a:cubicBezTo>
                      <a:pt x="15199" y="135457"/>
                      <a:pt x="13478" y="134655"/>
                      <a:pt x="11701" y="133997"/>
                    </a:cubicBezTo>
                    <a:cubicBezTo>
                      <a:pt x="6462" y="131844"/>
                      <a:pt x="519" y="129406"/>
                      <a:pt x="42" y="124148"/>
                    </a:cubicBezTo>
                    <a:cubicBezTo>
                      <a:pt x="-14" y="123820"/>
                      <a:pt x="-14" y="123485"/>
                      <a:pt x="42" y="123157"/>
                    </a:cubicBezTo>
                    <a:cubicBezTo>
                      <a:pt x="1052" y="118814"/>
                      <a:pt x="3852" y="114585"/>
                      <a:pt x="7072" y="109689"/>
                    </a:cubicBezTo>
                    <a:cubicBezTo>
                      <a:pt x="11891" y="102355"/>
                      <a:pt x="17359" y="94049"/>
                      <a:pt x="17664" y="83705"/>
                    </a:cubicBezTo>
                    <a:cubicBezTo>
                      <a:pt x="19016" y="37470"/>
                      <a:pt x="34275" y="5600"/>
                      <a:pt x="104322" y="285"/>
                    </a:cubicBezTo>
                    <a:lnTo>
                      <a:pt x="105122" y="285"/>
                    </a:lnTo>
                    <a:cubicBezTo>
                      <a:pt x="117010" y="-653"/>
                      <a:pt x="128967" y="731"/>
                      <a:pt x="140327" y="4362"/>
                    </a:cubicBezTo>
                    <a:lnTo>
                      <a:pt x="138422" y="10210"/>
                    </a:lnTo>
                    <a:cubicBezTo>
                      <a:pt x="127905" y="6846"/>
                      <a:pt x="116836" y="5552"/>
                      <a:pt x="105827" y="6400"/>
                    </a:cubicBezTo>
                    <a:lnTo>
                      <a:pt x="105103" y="6400"/>
                    </a:lnTo>
                    <a:cubicBezTo>
                      <a:pt x="39247" y="11372"/>
                      <a:pt x="25246" y="39718"/>
                      <a:pt x="23950" y="83838"/>
                    </a:cubicBezTo>
                    <a:cubicBezTo>
                      <a:pt x="23607" y="95954"/>
                      <a:pt x="17359" y="105441"/>
                      <a:pt x="12349" y="113061"/>
                    </a:cubicBezTo>
                    <a:cubicBezTo>
                      <a:pt x="9870" y="116381"/>
                      <a:pt x="7852" y="120021"/>
                      <a:pt x="6348" y="123881"/>
                    </a:cubicBezTo>
                    <a:cubicBezTo>
                      <a:pt x="7110" y="125367"/>
                      <a:pt x="11758" y="127272"/>
                      <a:pt x="14082" y="128225"/>
                    </a:cubicBezTo>
                    <a:cubicBezTo>
                      <a:pt x="18368" y="129977"/>
                      <a:pt x="22045" y="131501"/>
                      <a:pt x="23093" y="134568"/>
                    </a:cubicBezTo>
                    <a:cubicBezTo>
                      <a:pt x="23565" y="135981"/>
                      <a:pt x="23383" y="137532"/>
                      <a:pt x="22598" y="138797"/>
                    </a:cubicBezTo>
                    <a:cubicBezTo>
                      <a:pt x="20293" y="142741"/>
                      <a:pt x="21378" y="144227"/>
                      <a:pt x="22998" y="146417"/>
                    </a:cubicBezTo>
                    <a:cubicBezTo>
                      <a:pt x="24350" y="148322"/>
                      <a:pt x="26579" y="151332"/>
                      <a:pt x="24103" y="155123"/>
                    </a:cubicBezTo>
                    <a:cubicBezTo>
                      <a:pt x="23588" y="155840"/>
                      <a:pt x="23183" y="156630"/>
                      <a:pt x="22902" y="157466"/>
                    </a:cubicBezTo>
                    <a:cubicBezTo>
                      <a:pt x="23317" y="157692"/>
                      <a:pt x="23743" y="157896"/>
                      <a:pt x="24179" y="158076"/>
                    </a:cubicBezTo>
                    <a:cubicBezTo>
                      <a:pt x="26350" y="159048"/>
                      <a:pt x="31437" y="161276"/>
                      <a:pt x="29551" y="168173"/>
                    </a:cubicBezTo>
                    <a:cubicBezTo>
                      <a:pt x="27093" y="177088"/>
                      <a:pt x="27131" y="179717"/>
                      <a:pt x="29684" y="183755"/>
                    </a:cubicBezTo>
                    <a:cubicBezTo>
                      <a:pt x="30675" y="185318"/>
                      <a:pt x="39209" y="188366"/>
                      <a:pt x="64184" y="188823"/>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8" name="Freeform: Shape 857">
                <a:extLst>
                  <a:ext uri="{FF2B5EF4-FFF2-40B4-BE49-F238E27FC236}">
                    <a16:creationId xmlns:a16="http://schemas.microsoft.com/office/drawing/2014/main" id="{449E3CE5-72CB-6AA2-AED0-9F71506A1BCC}"/>
                  </a:ext>
                </a:extLst>
              </p:cNvPr>
              <p:cNvSpPr/>
              <p:nvPr/>
            </p:nvSpPr>
            <p:spPr>
              <a:xfrm>
                <a:off x="2020475" y="3290257"/>
                <a:ext cx="107537" cy="108605"/>
              </a:xfrm>
              <a:custGeom>
                <a:avLst/>
                <a:gdLst>
                  <a:gd name="connsiteX0" fmla="*/ 62103 w 107537"/>
                  <a:gd name="connsiteY0" fmla="*/ 108605 h 108605"/>
                  <a:gd name="connsiteX1" fmla="*/ 45320 w 107537"/>
                  <a:gd name="connsiteY1" fmla="*/ 108605 h 108605"/>
                  <a:gd name="connsiteX2" fmla="*/ 42215 w 107537"/>
                  <a:gd name="connsiteY2" fmla="*/ 105595 h 108605"/>
                  <a:gd name="connsiteX3" fmla="*/ 41948 w 107537"/>
                  <a:gd name="connsiteY3" fmla="*/ 92508 h 108605"/>
                  <a:gd name="connsiteX4" fmla="*/ 35319 w 107537"/>
                  <a:gd name="connsiteY4" fmla="*/ 89726 h 108605"/>
                  <a:gd name="connsiteX5" fmla="*/ 25984 w 107537"/>
                  <a:gd name="connsiteY5" fmla="*/ 98756 h 108605"/>
                  <a:gd name="connsiteX6" fmla="*/ 21641 w 107537"/>
                  <a:gd name="connsiteY6" fmla="*/ 98756 h 108605"/>
                  <a:gd name="connsiteX7" fmla="*/ 9735 w 107537"/>
                  <a:gd name="connsiteY7" fmla="*/ 86717 h 108605"/>
                  <a:gd name="connsiteX8" fmla="*/ 9735 w 107537"/>
                  <a:gd name="connsiteY8" fmla="*/ 82411 h 108605"/>
                  <a:gd name="connsiteX9" fmla="*/ 18707 w 107537"/>
                  <a:gd name="connsiteY9" fmla="*/ 72886 h 108605"/>
                  <a:gd name="connsiteX10" fmla="*/ 15926 w 107537"/>
                  <a:gd name="connsiteY10" fmla="*/ 66143 h 108605"/>
                  <a:gd name="connsiteX11" fmla="*/ 3029 w 107537"/>
                  <a:gd name="connsiteY11" fmla="*/ 65857 h 108605"/>
                  <a:gd name="connsiteX12" fmla="*/ 0 w 107537"/>
                  <a:gd name="connsiteY12" fmla="*/ 62771 h 108605"/>
                  <a:gd name="connsiteX13" fmla="*/ 0 w 107537"/>
                  <a:gd name="connsiteY13" fmla="*/ 45797 h 108605"/>
                  <a:gd name="connsiteX14" fmla="*/ 3029 w 107537"/>
                  <a:gd name="connsiteY14" fmla="*/ 42711 h 108605"/>
                  <a:gd name="connsiteX15" fmla="*/ 15926 w 107537"/>
                  <a:gd name="connsiteY15" fmla="*/ 42425 h 108605"/>
                  <a:gd name="connsiteX16" fmla="*/ 18650 w 107537"/>
                  <a:gd name="connsiteY16" fmla="*/ 35682 h 108605"/>
                  <a:gd name="connsiteX17" fmla="*/ 9677 w 107537"/>
                  <a:gd name="connsiteY17" fmla="*/ 26157 h 108605"/>
                  <a:gd name="connsiteX18" fmla="*/ 9677 w 107537"/>
                  <a:gd name="connsiteY18" fmla="*/ 21851 h 108605"/>
                  <a:gd name="connsiteX19" fmla="*/ 21584 w 107537"/>
                  <a:gd name="connsiteY19" fmla="*/ 9812 h 108605"/>
                  <a:gd name="connsiteX20" fmla="*/ 25927 w 107537"/>
                  <a:gd name="connsiteY20" fmla="*/ 9812 h 108605"/>
                  <a:gd name="connsiteX21" fmla="*/ 35262 w 107537"/>
                  <a:gd name="connsiteY21" fmla="*/ 18841 h 108605"/>
                  <a:gd name="connsiteX22" fmla="*/ 41891 w 107537"/>
                  <a:gd name="connsiteY22" fmla="*/ 16060 h 108605"/>
                  <a:gd name="connsiteX23" fmla="*/ 42158 w 107537"/>
                  <a:gd name="connsiteY23" fmla="*/ 2992 h 108605"/>
                  <a:gd name="connsiteX24" fmla="*/ 45320 w 107537"/>
                  <a:gd name="connsiteY24" fmla="*/ 1 h 108605"/>
                  <a:gd name="connsiteX25" fmla="*/ 62160 w 107537"/>
                  <a:gd name="connsiteY25" fmla="*/ 1 h 108605"/>
                  <a:gd name="connsiteX26" fmla="*/ 65246 w 107537"/>
                  <a:gd name="connsiteY26" fmla="*/ 3030 h 108605"/>
                  <a:gd name="connsiteX27" fmla="*/ 65532 w 107537"/>
                  <a:gd name="connsiteY27" fmla="*/ 16098 h 108605"/>
                  <a:gd name="connsiteX28" fmla="*/ 72161 w 107537"/>
                  <a:gd name="connsiteY28" fmla="*/ 18880 h 108605"/>
                  <a:gd name="connsiteX29" fmla="*/ 81515 w 107537"/>
                  <a:gd name="connsiteY29" fmla="*/ 9850 h 108605"/>
                  <a:gd name="connsiteX30" fmla="*/ 85877 w 107537"/>
                  <a:gd name="connsiteY30" fmla="*/ 9850 h 108605"/>
                  <a:gd name="connsiteX31" fmla="*/ 97784 w 107537"/>
                  <a:gd name="connsiteY31" fmla="*/ 21889 h 108605"/>
                  <a:gd name="connsiteX32" fmla="*/ 97784 w 107537"/>
                  <a:gd name="connsiteY32" fmla="*/ 26195 h 108605"/>
                  <a:gd name="connsiteX33" fmla="*/ 88830 w 107537"/>
                  <a:gd name="connsiteY33" fmla="*/ 35720 h 108605"/>
                  <a:gd name="connsiteX34" fmla="*/ 91592 w 107537"/>
                  <a:gd name="connsiteY34" fmla="*/ 42463 h 108605"/>
                  <a:gd name="connsiteX35" fmla="*/ 104508 w 107537"/>
                  <a:gd name="connsiteY35" fmla="*/ 42749 h 108605"/>
                  <a:gd name="connsiteX36" fmla="*/ 107537 w 107537"/>
                  <a:gd name="connsiteY36" fmla="*/ 45835 h 108605"/>
                  <a:gd name="connsiteX37" fmla="*/ 107537 w 107537"/>
                  <a:gd name="connsiteY37" fmla="*/ 62809 h 108605"/>
                  <a:gd name="connsiteX38" fmla="*/ 104413 w 107537"/>
                  <a:gd name="connsiteY38" fmla="*/ 65895 h 108605"/>
                  <a:gd name="connsiteX39" fmla="*/ 104375 w 107537"/>
                  <a:gd name="connsiteY39" fmla="*/ 65895 h 108605"/>
                  <a:gd name="connsiteX40" fmla="*/ 91459 w 107537"/>
                  <a:gd name="connsiteY40" fmla="*/ 66181 h 108605"/>
                  <a:gd name="connsiteX41" fmla="*/ 88697 w 107537"/>
                  <a:gd name="connsiteY41" fmla="*/ 72924 h 108605"/>
                  <a:gd name="connsiteX42" fmla="*/ 97650 w 107537"/>
                  <a:gd name="connsiteY42" fmla="*/ 82449 h 108605"/>
                  <a:gd name="connsiteX43" fmla="*/ 97650 w 107537"/>
                  <a:gd name="connsiteY43" fmla="*/ 86755 h 108605"/>
                  <a:gd name="connsiteX44" fmla="*/ 85744 w 107537"/>
                  <a:gd name="connsiteY44" fmla="*/ 98794 h 108605"/>
                  <a:gd name="connsiteX45" fmla="*/ 81382 w 107537"/>
                  <a:gd name="connsiteY45" fmla="*/ 98794 h 108605"/>
                  <a:gd name="connsiteX46" fmla="*/ 72066 w 107537"/>
                  <a:gd name="connsiteY46" fmla="*/ 89765 h 108605"/>
                  <a:gd name="connsiteX47" fmla="*/ 65437 w 107537"/>
                  <a:gd name="connsiteY47" fmla="*/ 92546 h 108605"/>
                  <a:gd name="connsiteX48" fmla="*/ 65151 w 107537"/>
                  <a:gd name="connsiteY48" fmla="*/ 105633 h 108605"/>
                  <a:gd name="connsiteX49" fmla="*/ 62103 w 107537"/>
                  <a:gd name="connsiteY49" fmla="*/ 108605 h 108605"/>
                  <a:gd name="connsiteX50" fmla="*/ 48292 w 107537"/>
                  <a:gd name="connsiteY50" fmla="*/ 102433 h 108605"/>
                  <a:gd name="connsiteX51" fmla="*/ 59074 w 107537"/>
                  <a:gd name="connsiteY51" fmla="*/ 102433 h 108605"/>
                  <a:gd name="connsiteX52" fmla="*/ 59322 w 107537"/>
                  <a:gd name="connsiteY52" fmla="*/ 90374 h 108605"/>
                  <a:gd name="connsiteX53" fmla="*/ 61227 w 107537"/>
                  <a:gd name="connsiteY53" fmla="*/ 87574 h 108605"/>
                  <a:gd name="connsiteX54" fmla="*/ 71590 w 107537"/>
                  <a:gd name="connsiteY54" fmla="*/ 83250 h 108605"/>
                  <a:gd name="connsiteX55" fmla="*/ 74943 w 107537"/>
                  <a:gd name="connsiteY55" fmla="*/ 83878 h 108605"/>
                  <a:gd name="connsiteX56" fmla="*/ 83534 w 107537"/>
                  <a:gd name="connsiteY56" fmla="*/ 92146 h 108605"/>
                  <a:gd name="connsiteX57" fmla="*/ 91154 w 107537"/>
                  <a:gd name="connsiteY57" fmla="*/ 84412 h 108605"/>
                  <a:gd name="connsiteX58" fmla="*/ 82887 w 107537"/>
                  <a:gd name="connsiteY58" fmla="*/ 75687 h 108605"/>
                  <a:gd name="connsiteX59" fmla="*/ 82277 w 107537"/>
                  <a:gd name="connsiteY59" fmla="*/ 72391 h 108605"/>
                  <a:gd name="connsiteX60" fmla="*/ 86563 w 107537"/>
                  <a:gd name="connsiteY60" fmla="*/ 61933 h 108605"/>
                  <a:gd name="connsiteX61" fmla="*/ 89364 w 107537"/>
                  <a:gd name="connsiteY61" fmla="*/ 60028 h 108605"/>
                  <a:gd name="connsiteX62" fmla="*/ 101270 w 107537"/>
                  <a:gd name="connsiteY62" fmla="*/ 59761 h 108605"/>
                  <a:gd name="connsiteX63" fmla="*/ 101270 w 107537"/>
                  <a:gd name="connsiteY63" fmla="*/ 48826 h 108605"/>
                  <a:gd name="connsiteX64" fmla="*/ 89364 w 107537"/>
                  <a:gd name="connsiteY64" fmla="*/ 48559 h 108605"/>
                  <a:gd name="connsiteX65" fmla="*/ 86563 w 107537"/>
                  <a:gd name="connsiteY65" fmla="*/ 46654 h 108605"/>
                  <a:gd name="connsiteX66" fmla="*/ 82277 w 107537"/>
                  <a:gd name="connsiteY66" fmla="*/ 36196 h 108605"/>
                  <a:gd name="connsiteX67" fmla="*/ 82887 w 107537"/>
                  <a:gd name="connsiteY67" fmla="*/ 32900 h 108605"/>
                  <a:gd name="connsiteX68" fmla="*/ 91154 w 107537"/>
                  <a:gd name="connsiteY68" fmla="*/ 24175 h 108605"/>
                  <a:gd name="connsiteX69" fmla="*/ 83534 w 107537"/>
                  <a:gd name="connsiteY69" fmla="*/ 16441 h 108605"/>
                  <a:gd name="connsiteX70" fmla="*/ 74943 w 107537"/>
                  <a:gd name="connsiteY70" fmla="*/ 24747 h 108605"/>
                  <a:gd name="connsiteX71" fmla="*/ 71590 w 107537"/>
                  <a:gd name="connsiteY71" fmla="*/ 25376 h 108605"/>
                  <a:gd name="connsiteX72" fmla="*/ 61227 w 107537"/>
                  <a:gd name="connsiteY72" fmla="*/ 21051 h 108605"/>
                  <a:gd name="connsiteX73" fmla="*/ 59322 w 107537"/>
                  <a:gd name="connsiteY73" fmla="*/ 18251 h 108605"/>
                  <a:gd name="connsiteX74" fmla="*/ 59074 w 107537"/>
                  <a:gd name="connsiteY74" fmla="*/ 6192 h 108605"/>
                  <a:gd name="connsiteX75" fmla="*/ 48292 w 107537"/>
                  <a:gd name="connsiteY75" fmla="*/ 6192 h 108605"/>
                  <a:gd name="connsiteX76" fmla="*/ 48025 w 107537"/>
                  <a:gd name="connsiteY76" fmla="*/ 18251 h 108605"/>
                  <a:gd name="connsiteX77" fmla="*/ 46120 w 107537"/>
                  <a:gd name="connsiteY77" fmla="*/ 21051 h 108605"/>
                  <a:gd name="connsiteX78" fmla="*/ 35795 w 107537"/>
                  <a:gd name="connsiteY78" fmla="*/ 25357 h 108605"/>
                  <a:gd name="connsiteX79" fmla="*/ 32461 w 107537"/>
                  <a:gd name="connsiteY79" fmla="*/ 24728 h 108605"/>
                  <a:gd name="connsiteX80" fmla="*/ 23870 w 107537"/>
                  <a:gd name="connsiteY80" fmla="*/ 16422 h 108605"/>
                  <a:gd name="connsiteX81" fmla="*/ 16250 w 107537"/>
                  <a:gd name="connsiteY81" fmla="*/ 24156 h 108605"/>
                  <a:gd name="connsiteX82" fmla="*/ 24365 w 107537"/>
                  <a:gd name="connsiteY82" fmla="*/ 32881 h 108605"/>
                  <a:gd name="connsiteX83" fmla="*/ 24994 w 107537"/>
                  <a:gd name="connsiteY83" fmla="*/ 36177 h 108605"/>
                  <a:gd name="connsiteX84" fmla="*/ 20688 w 107537"/>
                  <a:gd name="connsiteY84" fmla="*/ 46635 h 108605"/>
                  <a:gd name="connsiteX85" fmla="*/ 17907 w 107537"/>
                  <a:gd name="connsiteY85" fmla="*/ 48540 h 108605"/>
                  <a:gd name="connsiteX86" fmla="*/ 6001 w 107537"/>
                  <a:gd name="connsiteY86" fmla="*/ 48807 h 108605"/>
                  <a:gd name="connsiteX87" fmla="*/ 6001 w 107537"/>
                  <a:gd name="connsiteY87" fmla="*/ 59761 h 108605"/>
                  <a:gd name="connsiteX88" fmla="*/ 17907 w 107537"/>
                  <a:gd name="connsiteY88" fmla="*/ 60028 h 108605"/>
                  <a:gd name="connsiteX89" fmla="*/ 20688 w 107537"/>
                  <a:gd name="connsiteY89" fmla="*/ 61933 h 108605"/>
                  <a:gd name="connsiteX90" fmla="*/ 24994 w 107537"/>
                  <a:gd name="connsiteY90" fmla="*/ 72391 h 108605"/>
                  <a:gd name="connsiteX91" fmla="*/ 24365 w 107537"/>
                  <a:gd name="connsiteY91" fmla="*/ 75725 h 108605"/>
                  <a:gd name="connsiteX92" fmla="*/ 16173 w 107537"/>
                  <a:gd name="connsiteY92" fmla="*/ 84526 h 108605"/>
                  <a:gd name="connsiteX93" fmla="*/ 23793 w 107537"/>
                  <a:gd name="connsiteY93" fmla="*/ 92260 h 108605"/>
                  <a:gd name="connsiteX94" fmla="*/ 32385 w 107537"/>
                  <a:gd name="connsiteY94" fmla="*/ 83954 h 108605"/>
                  <a:gd name="connsiteX95" fmla="*/ 35795 w 107537"/>
                  <a:gd name="connsiteY95" fmla="*/ 83250 h 108605"/>
                  <a:gd name="connsiteX96" fmla="*/ 46158 w 107537"/>
                  <a:gd name="connsiteY96" fmla="*/ 87574 h 108605"/>
                  <a:gd name="connsiteX97" fmla="*/ 48063 w 107537"/>
                  <a:gd name="connsiteY97" fmla="*/ 90374 h 108605"/>
                  <a:gd name="connsiteX98" fmla="*/ 53683 w 107537"/>
                  <a:gd name="connsiteY98" fmla="*/ 78296 h 108605"/>
                  <a:gd name="connsiteX99" fmla="*/ 29471 w 107537"/>
                  <a:gd name="connsiteY99" fmla="*/ 54504 h 108605"/>
                  <a:gd name="connsiteX100" fmla="*/ 53264 w 107537"/>
                  <a:gd name="connsiteY100" fmla="*/ 30292 h 108605"/>
                  <a:gd name="connsiteX101" fmla="*/ 77476 w 107537"/>
                  <a:gd name="connsiteY101" fmla="*/ 54085 h 108605"/>
                  <a:gd name="connsiteX102" fmla="*/ 77476 w 107537"/>
                  <a:gd name="connsiteY102" fmla="*/ 54313 h 108605"/>
                  <a:gd name="connsiteX103" fmla="*/ 53683 w 107537"/>
                  <a:gd name="connsiteY103" fmla="*/ 78296 h 108605"/>
                  <a:gd name="connsiteX104" fmla="*/ 53683 w 107537"/>
                  <a:gd name="connsiteY104" fmla="*/ 36482 h 108605"/>
                  <a:gd name="connsiteX105" fmla="*/ 35625 w 107537"/>
                  <a:gd name="connsiteY105" fmla="*/ 54082 h 108605"/>
                  <a:gd name="connsiteX106" fmla="*/ 53226 w 107537"/>
                  <a:gd name="connsiteY106" fmla="*/ 72140 h 108605"/>
                  <a:gd name="connsiteX107" fmla="*/ 71283 w 107537"/>
                  <a:gd name="connsiteY107" fmla="*/ 54540 h 108605"/>
                  <a:gd name="connsiteX108" fmla="*/ 71285 w 107537"/>
                  <a:gd name="connsiteY108" fmla="*/ 54313 h 108605"/>
                  <a:gd name="connsiteX109" fmla="*/ 53683 w 107537"/>
                  <a:gd name="connsiteY109" fmla="*/ 36482 h 10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07537" h="108605">
                    <a:moveTo>
                      <a:pt x="62103" y="108605"/>
                    </a:moveTo>
                    <a:lnTo>
                      <a:pt x="45320" y="108605"/>
                    </a:lnTo>
                    <a:cubicBezTo>
                      <a:pt x="43638" y="108616"/>
                      <a:pt x="42257" y="107277"/>
                      <a:pt x="42215" y="105595"/>
                    </a:cubicBezTo>
                    <a:lnTo>
                      <a:pt x="41948" y="92508"/>
                    </a:lnTo>
                    <a:lnTo>
                      <a:pt x="35319" y="89726"/>
                    </a:lnTo>
                    <a:lnTo>
                      <a:pt x="25984" y="98756"/>
                    </a:lnTo>
                    <a:cubicBezTo>
                      <a:pt x="24781" y="99947"/>
                      <a:pt x="22844" y="99947"/>
                      <a:pt x="21641" y="98756"/>
                    </a:cubicBezTo>
                    <a:lnTo>
                      <a:pt x="9735" y="86717"/>
                    </a:lnTo>
                    <a:cubicBezTo>
                      <a:pt x="8568" y="85519"/>
                      <a:pt x="8568" y="83609"/>
                      <a:pt x="9735" y="82411"/>
                    </a:cubicBezTo>
                    <a:lnTo>
                      <a:pt x="18707" y="72886"/>
                    </a:lnTo>
                    <a:lnTo>
                      <a:pt x="15926" y="66143"/>
                    </a:lnTo>
                    <a:lnTo>
                      <a:pt x="3029" y="65857"/>
                    </a:lnTo>
                    <a:cubicBezTo>
                      <a:pt x="1347" y="65826"/>
                      <a:pt x="0" y="64453"/>
                      <a:pt x="0" y="62771"/>
                    </a:cubicBezTo>
                    <a:lnTo>
                      <a:pt x="0" y="45797"/>
                    </a:lnTo>
                    <a:cubicBezTo>
                      <a:pt x="0" y="44115"/>
                      <a:pt x="1347" y="42742"/>
                      <a:pt x="3029" y="42711"/>
                    </a:cubicBezTo>
                    <a:lnTo>
                      <a:pt x="15926" y="42425"/>
                    </a:lnTo>
                    <a:lnTo>
                      <a:pt x="18650" y="35682"/>
                    </a:lnTo>
                    <a:lnTo>
                      <a:pt x="9677" y="26157"/>
                    </a:lnTo>
                    <a:cubicBezTo>
                      <a:pt x="8511" y="24959"/>
                      <a:pt x="8511" y="23049"/>
                      <a:pt x="9677" y="21851"/>
                    </a:cubicBezTo>
                    <a:lnTo>
                      <a:pt x="21584" y="9812"/>
                    </a:lnTo>
                    <a:cubicBezTo>
                      <a:pt x="22786" y="8621"/>
                      <a:pt x="24724" y="8621"/>
                      <a:pt x="25927" y="9812"/>
                    </a:cubicBezTo>
                    <a:lnTo>
                      <a:pt x="35262" y="18841"/>
                    </a:lnTo>
                    <a:lnTo>
                      <a:pt x="41891" y="16060"/>
                    </a:lnTo>
                    <a:lnTo>
                      <a:pt x="42158" y="2992"/>
                    </a:lnTo>
                    <a:cubicBezTo>
                      <a:pt x="42209" y="1295"/>
                      <a:pt x="43623" y="-42"/>
                      <a:pt x="45320" y="1"/>
                    </a:cubicBezTo>
                    <a:lnTo>
                      <a:pt x="62160" y="1"/>
                    </a:lnTo>
                    <a:cubicBezTo>
                      <a:pt x="63842" y="1"/>
                      <a:pt x="65216" y="1348"/>
                      <a:pt x="65246" y="3030"/>
                    </a:cubicBezTo>
                    <a:lnTo>
                      <a:pt x="65532" y="16098"/>
                    </a:lnTo>
                    <a:lnTo>
                      <a:pt x="72161" y="18880"/>
                    </a:lnTo>
                    <a:lnTo>
                      <a:pt x="81515" y="9850"/>
                    </a:lnTo>
                    <a:cubicBezTo>
                      <a:pt x="82725" y="8656"/>
                      <a:pt x="84668" y="8656"/>
                      <a:pt x="85877" y="9850"/>
                    </a:cubicBezTo>
                    <a:lnTo>
                      <a:pt x="97784" y="21889"/>
                    </a:lnTo>
                    <a:cubicBezTo>
                      <a:pt x="98950" y="23087"/>
                      <a:pt x="98950" y="24997"/>
                      <a:pt x="97784" y="26195"/>
                    </a:cubicBezTo>
                    <a:lnTo>
                      <a:pt x="88830" y="35720"/>
                    </a:lnTo>
                    <a:lnTo>
                      <a:pt x="91592" y="42463"/>
                    </a:lnTo>
                    <a:lnTo>
                      <a:pt x="104508" y="42749"/>
                    </a:lnTo>
                    <a:cubicBezTo>
                      <a:pt x="106187" y="42790"/>
                      <a:pt x="107528" y="44157"/>
                      <a:pt x="107537" y="45835"/>
                    </a:cubicBezTo>
                    <a:lnTo>
                      <a:pt x="107537" y="62809"/>
                    </a:lnTo>
                    <a:cubicBezTo>
                      <a:pt x="107528" y="64524"/>
                      <a:pt x="106129" y="65906"/>
                      <a:pt x="104413" y="65895"/>
                    </a:cubicBezTo>
                    <a:cubicBezTo>
                      <a:pt x="104402" y="65895"/>
                      <a:pt x="104388" y="65895"/>
                      <a:pt x="104375" y="65895"/>
                    </a:cubicBezTo>
                    <a:lnTo>
                      <a:pt x="91459" y="66181"/>
                    </a:lnTo>
                    <a:lnTo>
                      <a:pt x="88697" y="72924"/>
                    </a:lnTo>
                    <a:lnTo>
                      <a:pt x="97650" y="82449"/>
                    </a:lnTo>
                    <a:cubicBezTo>
                      <a:pt x="98816" y="83647"/>
                      <a:pt x="98816" y="85557"/>
                      <a:pt x="97650" y="86755"/>
                    </a:cubicBezTo>
                    <a:lnTo>
                      <a:pt x="85744" y="98794"/>
                    </a:lnTo>
                    <a:cubicBezTo>
                      <a:pt x="84534" y="99988"/>
                      <a:pt x="82591" y="99988"/>
                      <a:pt x="81382" y="98794"/>
                    </a:cubicBezTo>
                    <a:lnTo>
                      <a:pt x="72066" y="89765"/>
                    </a:lnTo>
                    <a:lnTo>
                      <a:pt x="65437" y="92546"/>
                    </a:lnTo>
                    <a:lnTo>
                      <a:pt x="65151" y="105633"/>
                    </a:lnTo>
                    <a:cubicBezTo>
                      <a:pt x="65090" y="107278"/>
                      <a:pt x="63749" y="108586"/>
                      <a:pt x="62103" y="108605"/>
                    </a:cubicBezTo>
                    <a:close/>
                    <a:moveTo>
                      <a:pt x="48292" y="102433"/>
                    </a:moveTo>
                    <a:lnTo>
                      <a:pt x="59074" y="102433"/>
                    </a:lnTo>
                    <a:lnTo>
                      <a:pt x="59322" y="90374"/>
                    </a:lnTo>
                    <a:cubicBezTo>
                      <a:pt x="59352" y="89148"/>
                      <a:pt x="60097" y="88052"/>
                      <a:pt x="61227" y="87574"/>
                    </a:cubicBezTo>
                    <a:lnTo>
                      <a:pt x="71590" y="83250"/>
                    </a:lnTo>
                    <a:cubicBezTo>
                      <a:pt x="72733" y="82772"/>
                      <a:pt x="74051" y="83018"/>
                      <a:pt x="74943" y="83878"/>
                    </a:cubicBezTo>
                    <a:lnTo>
                      <a:pt x="83534" y="92146"/>
                    </a:lnTo>
                    <a:lnTo>
                      <a:pt x="91154" y="84412"/>
                    </a:lnTo>
                    <a:lnTo>
                      <a:pt x="82887" y="75687"/>
                    </a:lnTo>
                    <a:cubicBezTo>
                      <a:pt x="82043" y="74808"/>
                      <a:pt x="81805" y="73513"/>
                      <a:pt x="82277" y="72391"/>
                    </a:cubicBezTo>
                    <a:lnTo>
                      <a:pt x="86563" y="61933"/>
                    </a:lnTo>
                    <a:cubicBezTo>
                      <a:pt x="87034" y="60796"/>
                      <a:pt x="88135" y="60048"/>
                      <a:pt x="89364" y="60028"/>
                    </a:cubicBezTo>
                    <a:lnTo>
                      <a:pt x="101270" y="59761"/>
                    </a:lnTo>
                    <a:lnTo>
                      <a:pt x="101270" y="48826"/>
                    </a:lnTo>
                    <a:lnTo>
                      <a:pt x="89364" y="48559"/>
                    </a:lnTo>
                    <a:cubicBezTo>
                      <a:pt x="88135" y="48539"/>
                      <a:pt x="87034" y="47791"/>
                      <a:pt x="86563" y="46654"/>
                    </a:cubicBezTo>
                    <a:lnTo>
                      <a:pt x="82277" y="36196"/>
                    </a:lnTo>
                    <a:cubicBezTo>
                      <a:pt x="81805" y="35074"/>
                      <a:pt x="82043" y="33779"/>
                      <a:pt x="82887" y="32900"/>
                    </a:cubicBezTo>
                    <a:lnTo>
                      <a:pt x="91154" y="24175"/>
                    </a:lnTo>
                    <a:lnTo>
                      <a:pt x="83534" y="16441"/>
                    </a:lnTo>
                    <a:lnTo>
                      <a:pt x="74943" y="24747"/>
                    </a:lnTo>
                    <a:cubicBezTo>
                      <a:pt x="74053" y="25611"/>
                      <a:pt x="72733" y="25859"/>
                      <a:pt x="71590" y="25376"/>
                    </a:cubicBezTo>
                    <a:lnTo>
                      <a:pt x="61227" y="21051"/>
                    </a:lnTo>
                    <a:cubicBezTo>
                      <a:pt x="60097" y="20573"/>
                      <a:pt x="59352" y="19477"/>
                      <a:pt x="59322" y="18251"/>
                    </a:cubicBezTo>
                    <a:lnTo>
                      <a:pt x="59074" y="6192"/>
                    </a:lnTo>
                    <a:lnTo>
                      <a:pt x="48292" y="6192"/>
                    </a:lnTo>
                    <a:lnTo>
                      <a:pt x="48025" y="18251"/>
                    </a:lnTo>
                    <a:cubicBezTo>
                      <a:pt x="48010" y="19482"/>
                      <a:pt x="47259" y="20585"/>
                      <a:pt x="46120" y="21051"/>
                    </a:cubicBezTo>
                    <a:lnTo>
                      <a:pt x="35795" y="25357"/>
                    </a:lnTo>
                    <a:cubicBezTo>
                      <a:pt x="34659" y="25842"/>
                      <a:pt x="33342" y="25594"/>
                      <a:pt x="32461" y="24728"/>
                    </a:cubicBezTo>
                    <a:lnTo>
                      <a:pt x="23870" y="16422"/>
                    </a:lnTo>
                    <a:lnTo>
                      <a:pt x="16250" y="24156"/>
                    </a:lnTo>
                    <a:lnTo>
                      <a:pt x="24365" y="32881"/>
                    </a:lnTo>
                    <a:cubicBezTo>
                      <a:pt x="25205" y="33760"/>
                      <a:pt x="25452" y="35051"/>
                      <a:pt x="24994" y="36177"/>
                    </a:cubicBezTo>
                    <a:lnTo>
                      <a:pt x="20688" y="46635"/>
                    </a:lnTo>
                    <a:cubicBezTo>
                      <a:pt x="20225" y="47769"/>
                      <a:pt x="19131" y="48518"/>
                      <a:pt x="17907" y="48540"/>
                    </a:cubicBezTo>
                    <a:lnTo>
                      <a:pt x="6001" y="48807"/>
                    </a:lnTo>
                    <a:lnTo>
                      <a:pt x="6001" y="59761"/>
                    </a:lnTo>
                    <a:lnTo>
                      <a:pt x="17907" y="60028"/>
                    </a:lnTo>
                    <a:cubicBezTo>
                      <a:pt x="19131" y="60050"/>
                      <a:pt x="20225" y="60799"/>
                      <a:pt x="20688" y="61933"/>
                    </a:cubicBezTo>
                    <a:lnTo>
                      <a:pt x="24994" y="72391"/>
                    </a:lnTo>
                    <a:cubicBezTo>
                      <a:pt x="25468" y="73528"/>
                      <a:pt x="25221" y="74839"/>
                      <a:pt x="24365" y="75725"/>
                    </a:cubicBezTo>
                    <a:lnTo>
                      <a:pt x="16173" y="84526"/>
                    </a:lnTo>
                    <a:lnTo>
                      <a:pt x="23793" y="92260"/>
                    </a:lnTo>
                    <a:lnTo>
                      <a:pt x="32385" y="83954"/>
                    </a:lnTo>
                    <a:cubicBezTo>
                      <a:pt x="33268" y="83039"/>
                      <a:pt x="34622" y="82760"/>
                      <a:pt x="35795" y="83250"/>
                    </a:cubicBezTo>
                    <a:lnTo>
                      <a:pt x="46158" y="87574"/>
                    </a:lnTo>
                    <a:cubicBezTo>
                      <a:pt x="47297" y="88040"/>
                      <a:pt x="48048" y="89143"/>
                      <a:pt x="48063" y="90374"/>
                    </a:cubicBezTo>
                    <a:close/>
                    <a:moveTo>
                      <a:pt x="53683" y="78296"/>
                    </a:moveTo>
                    <a:cubicBezTo>
                      <a:pt x="40427" y="78412"/>
                      <a:pt x="29587" y="67760"/>
                      <a:pt x="29471" y="54504"/>
                    </a:cubicBezTo>
                    <a:cubicBezTo>
                      <a:pt x="29355" y="41248"/>
                      <a:pt x="40008" y="30408"/>
                      <a:pt x="53264" y="30292"/>
                    </a:cubicBezTo>
                    <a:cubicBezTo>
                      <a:pt x="66521" y="30177"/>
                      <a:pt x="77360" y="40829"/>
                      <a:pt x="77476" y="54085"/>
                    </a:cubicBezTo>
                    <a:cubicBezTo>
                      <a:pt x="77476" y="54161"/>
                      <a:pt x="77476" y="54237"/>
                      <a:pt x="77476" y="54313"/>
                    </a:cubicBezTo>
                    <a:cubicBezTo>
                      <a:pt x="77518" y="67502"/>
                      <a:pt x="66871" y="78233"/>
                      <a:pt x="53683" y="78296"/>
                    </a:cubicBezTo>
                    <a:close/>
                    <a:moveTo>
                      <a:pt x="53683" y="36482"/>
                    </a:moveTo>
                    <a:cubicBezTo>
                      <a:pt x="43836" y="36355"/>
                      <a:pt x="35751" y="44236"/>
                      <a:pt x="35625" y="54082"/>
                    </a:cubicBezTo>
                    <a:cubicBezTo>
                      <a:pt x="35499" y="63929"/>
                      <a:pt x="43379" y="72014"/>
                      <a:pt x="53226" y="72140"/>
                    </a:cubicBezTo>
                    <a:cubicBezTo>
                      <a:pt x="63073" y="72267"/>
                      <a:pt x="71157" y="64387"/>
                      <a:pt x="71283" y="54540"/>
                    </a:cubicBezTo>
                    <a:cubicBezTo>
                      <a:pt x="71285" y="54464"/>
                      <a:pt x="71285" y="54388"/>
                      <a:pt x="71285" y="54313"/>
                    </a:cubicBezTo>
                    <a:cubicBezTo>
                      <a:pt x="71338" y="44532"/>
                      <a:pt x="63463" y="36555"/>
                      <a:pt x="53683" y="3648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9" name="Freeform: Shape 858">
                <a:extLst>
                  <a:ext uri="{FF2B5EF4-FFF2-40B4-BE49-F238E27FC236}">
                    <a16:creationId xmlns:a16="http://schemas.microsoft.com/office/drawing/2014/main" id="{4303286C-1CC8-8726-665A-EF54A45C0776}"/>
                  </a:ext>
                </a:extLst>
              </p:cNvPr>
              <p:cNvSpPr/>
              <p:nvPr/>
            </p:nvSpPr>
            <p:spPr>
              <a:xfrm>
                <a:off x="1947227" y="3405912"/>
                <a:ext cx="30480" cy="30480"/>
              </a:xfrm>
              <a:custGeom>
                <a:avLst/>
                <a:gdLst>
                  <a:gd name="connsiteX0" fmla="*/ 15449 w 30480"/>
                  <a:gd name="connsiteY0" fmla="*/ 30479 h 30480"/>
                  <a:gd name="connsiteX1" fmla="*/ 1 w 30480"/>
                  <a:gd name="connsiteY1" fmla="*/ 15450 h 30480"/>
                  <a:gd name="connsiteX2" fmla="*/ 15030 w 30480"/>
                  <a:gd name="connsiteY2" fmla="*/ 1 h 30480"/>
                  <a:gd name="connsiteX3" fmla="*/ 30478 w 30480"/>
                  <a:gd name="connsiteY3" fmla="*/ 15031 h 30480"/>
                  <a:gd name="connsiteX4" fmla="*/ 30480 w 30480"/>
                  <a:gd name="connsiteY4" fmla="*/ 15239 h 30480"/>
                  <a:gd name="connsiteX5" fmla="*/ 15469 w 30480"/>
                  <a:gd name="connsiteY5" fmla="*/ 30478 h 30480"/>
                  <a:gd name="connsiteX6" fmla="*/ 15449 w 30480"/>
                  <a:gd name="connsiteY6" fmla="*/ 30479 h 30480"/>
                  <a:gd name="connsiteX7" fmla="*/ 15449 w 30480"/>
                  <a:gd name="connsiteY7" fmla="*/ 6342 h 30480"/>
                  <a:gd name="connsiteX8" fmla="*/ 6345 w 30480"/>
                  <a:gd name="connsiteY8" fmla="*/ 15181 h 30480"/>
                  <a:gd name="connsiteX9" fmla="*/ 15183 w 30480"/>
                  <a:gd name="connsiteY9" fmla="*/ 24285 h 30480"/>
                  <a:gd name="connsiteX10" fmla="*/ 24288 w 30480"/>
                  <a:gd name="connsiteY10" fmla="*/ 15447 h 30480"/>
                  <a:gd name="connsiteX11" fmla="*/ 24289 w 30480"/>
                  <a:gd name="connsiteY11" fmla="*/ 15315 h 30480"/>
                  <a:gd name="connsiteX12" fmla="*/ 15449 w 30480"/>
                  <a:gd name="connsiteY12" fmla="*/ 6342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 h="30480">
                    <a:moveTo>
                      <a:pt x="15449" y="30479"/>
                    </a:moveTo>
                    <a:cubicBezTo>
                      <a:pt x="7033" y="30594"/>
                      <a:pt x="117" y="23866"/>
                      <a:pt x="1" y="15450"/>
                    </a:cubicBezTo>
                    <a:cubicBezTo>
                      <a:pt x="-114" y="7034"/>
                      <a:pt x="6614" y="117"/>
                      <a:pt x="15030" y="1"/>
                    </a:cubicBezTo>
                    <a:cubicBezTo>
                      <a:pt x="23447" y="-114"/>
                      <a:pt x="30363" y="6614"/>
                      <a:pt x="30478" y="15031"/>
                    </a:cubicBezTo>
                    <a:cubicBezTo>
                      <a:pt x="30479" y="15100"/>
                      <a:pt x="30480" y="15169"/>
                      <a:pt x="30480" y="15239"/>
                    </a:cubicBezTo>
                    <a:cubicBezTo>
                      <a:pt x="30543" y="23592"/>
                      <a:pt x="23823" y="30415"/>
                      <a:pt x="15469" y="30478"/>
                    </a:cubicBezTo>
                    <a:cubicBezTo>
                      <a:pt x="15463" y="30479"/>
                      <a:pt x="15456" y="30479"/>
                      <a:pt x="15449" y="30479"/>
                    </a:cubicBezTo>
                    <a:close/>
                    <a:moveTo>
                      <a:pt x="15449" y="6342"/>
                    </a:moveTo>
                    <a:cubicBezTo>
                      <a:pt x="10495" y="6269"/>
                      <a:pt x="6418" y="10226"/>
                      <a:pt x="6345" y="15181"/>
                    </a:cubicBezTo>
                    <a:cubicBezTo>
                      <a:pt x="6271" y="20135"/>
                      <a:pt x="10228" y="24212"/>
                      <a:pt x="15183" y="24285"/>
                    </a:cubicBezTo>
                    <a:cubicBezTo>
                      <a:pt x="20138" y="24359"/>
                      <a:pt x="24214" y="20402"/>
                      <a:pt x="24288" y="15447"/>
                    </a:cubicBezTo>
                    <a:cubicBezTo>
                      <a:pt x="24288" y="15403"/>
                      <a:pt x="24289" y="15359"/>
                      <a:pt x="24289" y="15315"/>
                    </a:cubicBezTo>
                    <a:cubicBezTo>
                      <a:pt x="24320" y="10398"/>
                      <a:pt x="20366" y="6384"/>
                      <a:pt x="15449" y="634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0" name="Freeform: Shape 859">
                <a:extLst>
                  <a:ext uri="{FF2B5EF4-FFF2-40B4-BE49-F238E27FC236}">
                    <a16:creationId xmlns:a16="http://schemas.microsoft.com/office/drawing/2014/main" id="{CDE17902-19F7-5A0C-4B12-DB03FAF37C51}"/>
                  </a:ext>
                </a:extLst>
              </p:cNvPr>
              <p:cNvSpPr/>
              <p:nvPr/>
            </p:nvSpPr>
            <p:spPr>
              <a:xfrm>
                <a:off x="2058708" y="3405912"/>
                <a:ext cx="30480" cy="30480"/>
              </a:xfrm>
              <a:custGeom>
                <a:avLst/>
                <a:gdLst>
                  <a:gd name="connsiteX0" fmla="*/ 15449 w 30480"/>
                  <a:gd name="connsiteY0" fmla="*/ 30479 h 30480"/>
                  <a:gd name="connsiteX1" fmla="*/ 1 w 30480"/>
                  <a:gd name="connsiteY1" fmla="*/ 15450 h 30480"/>
                  <a:gd name="connsiteX2" fmla="*/ 15030 w 30480"/>
                  <a:gd name="connsiteY2" fmla="*/ 1 h 30480"/>
                  <a:gd name="connsiteX3" fmla="*/ 30478 w 30480"/>
                  <a:gd name="connsiteY3" fmla="*/ 15031 h 30480"/>
                  <a:gd name="connsiteX4" fmla="*/ 30480 w 30480"/>
                  <a:gd name="connsiteY4" fmla="*/ 15239 h 30480"/>
                  <a:gd name="connsiteX5" fmla="*/ 15469 w 30480"/>
                  <a:gd name="connsiteY5" fmla="*/ 30478 h 30480"/>
                  <a:gd name="connsiteX6" fmla="*/ 15449 w 30480"/>
                  <a:gd name="connsiteY6" fmla="*/ 30479 h 30480"/>
                  <a:gd name="connsiteX7" fmla="*/ 15449 w 30480"/>
                  <a:gd name="connsiteY7" fmla="*/ 6342 h 30480"/>
                  <a:gd name="connsiteX8" fmla="*/ 6288 w 30480"/>
                  <a:gd name="connsiteY8" fmla="*/ 15122 h 30480"/>
                  <a:gd name="connsiteX9" fmla="*/ 15069 w 30480"/>
                  <a:gd name="connsiteY9" fmla="*/ 24283 h 30480"/>
                  <a:gd name="connsiteX10" fmla="*/ 24230 w 30480"/>
                  <a:gd name="connsiteY10" fmla="*/ 15503 h 30480"/>
                  <a:gd name="connsiteX11" fmla="*/ 24232 w 30480"/>
                  <a:gd name="connsiteY11" fmla="*/ 15315 h 30480"/>
                  <a:gd name="connsiteX12" fmla="*/ 15449 w 30480"/>
                  <a:gd name="connsiteY12" fmla="*/ 6342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 h="30480">
                    <a:moveTo>
                      <a:pt x="15449" y="30479"/>
                    </a:moveTo>
                    <a:cubicBezTo>
                      <a:pt x="7033" y="30594"/>
                      <a:pt x="117" y="23866"/>
                      <a:pt x="1" y="15450"/>
                    </a:cubicBezTo>
                    <a:cubicBezTo>
                      <a:pt x="-114" y="7034"/>
                      <a:pt x="6614" y="117"/>
                      <a:pt x="15030" y="1"/>
                    </a:cubicBezTo>
                    <a:cubicBezTo>
                      <a:pt x="23447" y="-114"/>
                      <a:pt x="30362" y="6614"/>
                      <a:pt x="30478" y="15031"/>
                    </a:cubicBezTo>
                    <a:cubicBezTo>
                      <a:pt x="30480" y="15100"/>
                      <a:pt x="30480" y="15169"/>
                      <a:pt x="30480" y="15239"/>
                    </a:cubicBezTo>
                    <a:cubicBezTo>
                      <a:pt x="30543" y="23592"/>
                      <a:pt x="23822" y="30415"/>
                      <a:pt x="15469" y="30478"/>
                    </a:cubicBezTo>
                    <a:cubicBezTo>
                      <a:pt x="15463" y="30479"/>
                      <a:pt x="15455" y="30479"/>
                      <a:pt x="15449" y="30479"/>
                    </a:cubicBezTo>
                    <a:close/>
                    <a:moveTo>
                      <a:pt x="15449" y="6342"/>
                    </a:moveTo>
                    <a:cubicBezTo>
                      <a:pt x="10495" y="6237"/>
                      <a:pt x="6393" y="10168"/>
                      <a:pt x="6288" y="15122"/>
                    </a:cubicBezTo>
                    <a:cubicBezTo>
                      <a:pt x="6184" y="20077"/>
                      <a:pt x="10114" y="24178"/>
                      <a:pt x="15069" y="24283"/>
                    </a:cubicBezTo>
                    <a:cubicBezTo>
                      <a:pt x="20023" y="24389"/>
                      <a:pt x="24125" y="20458"/>
                      <a:pt x="24230" y="15503"/>
                    </a:cubicBezTo>
                    <a:cubicBezTo>
                      <a:pt x="24232" y="15441"/>
                      <a:pt x="24232" y="15378"/>
                      <a:pt x="24232" y="15315"/>
                    </a:cubicBezTo>
                    <a:cubicBezTo>
                      <a:pt x="24264" y="10420"/>
                      <a:pt x="20343" y="6415"/>
                      <a:pt x="15449" y="634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1" name="Freeform: Shape 860">
                <a:extLst>
                  <a:ext uri="{FF2B5EF4-FFF2-40B4-BE49-F238E27FC236}">
                    <a16:creationId xmlns:a16="http://schemas.microsoft.com/office/drawing/2014/main" id="{47754F39-AD0C-4C87-7E2D-C21FA94CBCF5}"/>
                  </a:ext>
                </a:extLst>
              </p:cNvPr>
              <p:cNvSpPr/>
              <p:nvPr/>
            </p:nvSpPr>
            <p:spPr>
              <a:xfrm>
                <a:off x="1959572" y="3435266"/>
                <a:ext cx="117653" cy="85039"/>
              </a:xfrm>
              <a:custGeom>
                <a:avLst/>
                <a:gdLst>
                  <a:gd name="connsiteX0" fmla="*/ 114586 w 117653"/>
                  <a:gd name="connsiteY0" fmla="*/ 85001 h 85039"/>
                  <a:gd name="connsiteX1" fmla="*/ 3086 w 117653"/>
                  <a:gd name="connsiteY1" fmla="*/ 85001 h 85039"/>
                  <a:gd name="connsiteX2" fmla="*/ 0 w 117653"/>
                  <a:gd name="connsiteY2" fmla="*/ 81915 h 85039"/>
                  <a:gd name="connsiteX3" fmla="*/ 0 w 117653"/>
                  <a:gd name="connsiteY3" fmla="*/ 0 h 85039"/>
                  <a:gd name="connsiteX4" fmla="*/ 6191 w 117653"/>
                  <a:gd name="connsiteY4" fmla="*/ 0 h 85039"/>
                  <a:gd name="connsiteX5" fmla="*/ 6191 w 117653"/>
                  <a:gd name="connsiteY5" fmla="*/ 78791 h 85039"/>
                  <a:gd name="connsiteX6" fmla="*/ 111500 w 117653"/>
                  <a:gd name="connsiteY6" fmla="*/ 78791 h 85039"/>
                  <a:gd name="connsiteX7" fmla="*/ 111500 w 117653"/>
                  <a:gd name="connsiteY7" fmla="*/ 38 h 85039"/>
                  <a:gd name="connsiteX8" fmla="*/ 117653 w 117653"/>
                  <a:gd name="connsiteY8" fmla="*/ 38 h 85039"/>
                  <a:gd name="connsiteX9" fmla="*/ 117653 w 117653"/>
                  <a:gd name="connsiteY9" fmla="*/ 81953 h 85039"/>
                  <a:gd name="connsiteX10" fmla="*/ 114643 w 117653"/>
                  <a:gd name="connsiteY10" fmla="*/ 85039 h 85039"/>
                  <a:gd name="connsiteX11" fmla="*/ 114567 w 117653"/>
                  <a:gd name="connsiteY11" fmla="*/ 85039 h 8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653" h="85039">
                    <a:moveTo>
                      <a:pt x="114586" y="85001"/>
                    </a:moveTo>
                    <a:lnTo>
                      <a:pt x="3086" y="85001"/>
                    </a:lnTo>
                    <a:cubicBezTo>
                      <a:pt x="1382" y="85001"/>
                      <a:pt x="0" y="83620"/>
                      <a:pt x="0" y="81915"/>
                    </a:cubicBezTo>
                    <a:lnTo>
                      <a:pt x="0" y="0"/>
                    </a:lnTo>
                    <a:lnTo>
                      <a:pt x="6191" y="0"/>
                    </a:lnTo>
                    <a:lnTo>
                      <a:pt x="6191" y="78791"/>
                    </a:lnTo>
                    <a:lnTo>
                      <a:pt x="111500" y="78791"/>
                    </a:lnTo>
                    <a:lnTo>
                      <a:pt x="111500" y="38"/>
                    </a:lnTo>
                    <a:lnTo>
                      <a:pt x="117653" y="38"/>
                    </a:lnTo>
                    <a:lnTo>
                      <a:pt x="117653" y="81953"/>
                    </a:lnTo>
                    <a:cubicBezTo>
                      <a:pt x="117674" y="83637"/>
                      <a:pt x="116327" y="85018"/>
                      <a:pt x="114643" y="85039"/>
                    </a:cubicBezTo>
                    <a:cubicBezTo>
                      <a:pt x="114618" y="85039"/>
                      <a:pt x="114591" y="85039"/>
                      <a:pt x="114567" y="8503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2" name="Freeform: Shape 861">
                <a:extLst>
                  <a:ext uri="{FF2B5EF4-FFF2-40B4-BE49-F238E27FC236}">
                    <a16:creationId xmlns:a16="http://schemas.microsoft.com/office/drawing/2014/main" id="{39E4ED91-FE8D-B168-0000-F5AE3DD49754}"/>
                  </a:ext>
                </a:extLst>
              </p:cNvPr>
              <p:cNvSpPr/>
              <p:nvPr/>
            </p:nvSpPr>
            <p:spPr>
              <a:xfrm>
                <a:off x="2002968" y="3446259"/>
                <a:ext cx="30480" cy="30480"/>
              </a:xfrm>
              <a:custGeom>
                <a:avLst/>
                <a:gdLst>
                  <a:gd name="connsiteX0" fmla="*/ 15449 w 30480"/>
                  <a:gd name="connsiteY0" fmla="*/ 30479 h 30480"/>
                  <a:gd name="connsiteX1" fmla="*/ 1 w 30480"/>
                  <a:gd name="connsiteY1" fmla="*/ 15450 h 30480"/>
                  <a:gd name="connsiteX2" fmla="*/ 15030 w 30480"/>
                  <a:gd name="connsiteY2" fmla="*/ 1 h 30480"/>
                  <a:gd name="connsiteX3" fmla="*/ 30478 w 30480"/>
                  <a:gd name="connsiteY3" fmla="*/ 15031 h 30480"/>
                  <a:gd name="connsiteX4" fmla="*/ 30480 w 30480"/>
                  <a:gd name="connsiteY4" fmla="*/ 15239 h 30480"/>
                  <a:gd name="connsiteX5" fmla="*/ 15469 w 30480"/>
                  <a:gd name="connsiteY5" fmla="*/ 30479 h 30480"/>
                  <a:gd name="connsiteX6" fmla="*/ 15449 w 30480"/>
                  <a:gd name="connsiteY6" fmla="*/ 30479 h 30480"/>
                  <a:gd name="connsiteX7" fmla="*/ 15449 w 30480"/>
                  <a:gd name="connsiteY7" fmla="*/ 6323 h 30480"/>
                  <a:gd name="connsiteX8" fmla="*/ 6326 w 30480"/>
                  <a:gd name="connsiteY8" fmla="*/ 15180 h 30480"/>
                  <a:gd name="connsiteX9" fmla="*/ 15183 w 30480"/>
                  <a:gd name="connsiteY9" fmla="*/ 24305 h 30480"/>
                  <a:gd name="connsiteX10" fmla="*/ 24307 w 30480"/>
                  <a:gd name="connsiteY10" fmla="*/ 15446 h 30480"/>
                  <a:gd name="connsiteX11" fmla="*/ 24308 w 30480"/>
                  <a:gd name="connsiteY11" fmla="*/ 15315 h 30480"/>
                  <a:gd name="connsiteX12" fmla="*/ 15449 w 30480"/>
                  <a:gd name="connsiteY12" fmla="*/ 6323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 h="30480">
                    <a:moveTo>
                      <a:pt x="15449" y="30479"/>
                    </a:moveTo>
                    <a:cubicBezTo>
                      <a:pt x="7033" y="30595"/>
                      <a:pt x="117" y="23866"/>
                      <a:pt x="1" y="15450"/>
                    </a:cubicBezTo>
                    <a:cubicBezTo>
                      <a:pt x="-114" y="7034"/>
                      <a:pt x="6614" y="117"/>
                      <a:pt x="15030" y="1"/>
                    </a:cubicBezTo>
                    <a:cubicBezTo>
                      <a:pt x="23447" y="-114"/>
                      <a:pt x="30363" y="6614"/>
                      <a:pt x="30478" y="15031"/>
                    </a:cubicBezTo>
                    <a:cubicBezTo>
                      <a:pt x="30479" y="15100"/>
                      <a:pt x="30480" y="15170"/>
                      <a:pt x="30480" y="15239"/>
                    </a:cubicBezTo>
                    <a:cubicBezTo>
                      <a:pt x="30543" y="23592"/>
                      <a:pt x="23823" y="30416"/>
                      <a:pt x="15469" y="30479"/>
                    </a:cubicBezTo>
                    <a:cubicBezTo>
                      <a:pt x="15463" y="30479"/>
                      <a:pt x="15456" y="30479"/>
                      <a:pt x="15449" y="30479"/>
                    </a:cubicBezTo>
                    <a:close/>
                    <a:moveTo>
                      <a:pt x="15449" y="6323"/>
                    </a:moveTo>
                    <a:cubicBezTo>
                      <a:pt x="10484" y="6249"/>
                      <a:pt x="6399" y="10215"/>
                      <a:pt x="6326" y="15180"/>
                    </a:cubicBezTo>
                    <a:cubicBezTo>
                      <a:pt x="6252" y="20146"/>
                      <a:pt x="10217" y="24230"/>
                      <a:pt x="15183" y="24305"/>
                    </a:cubicBezTo>
                    <a:cubicBezTo>
                      <a:pt x="20148" y="24379"/>
                      <a:pt x="24233" y="20413"/>
                      <a:pt x="24307" y="15446"/>
                    </a:cubicBezTo>
                    <a:cubicBezTo>
                      <a:pt x="24307" y="15402"/>
                      <a:pt x="24308" y="15359"/>
                      <a:pt x="24308" y="15315"/>
                    </a:cubicBezTo>
                    <a:cubicBezTo>
                      <a:pt x="24339" y="10388"/>
                      <a:pt x="20376" y="6365"/>
                      <a:pt x="15449" y="6323"/>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3" name="Freeform: Shape 862">
                <a:extLst>
                  <a:ext uri="{FF2B5EF4-FFF2-40B4-BE49-F238E27FC236}">
                    <a16:creationId xmlns:a16="http://schemas.microsoft.com/office/drawing/2014/main" id="{F6B74B9C-7E5A-8B0F-9821-B483A8F02F6D}"/>
                  </a:ext>
                </a:extLst>
              </p:cNvPr>
              <p:cNvSpPr/>
              <p:nvPr/>
            </p:nvSpPr>
            <p:spPr>
              <a:xfrm>
                <a:off x="2015312" y="3475652"/>
                <a:ext cx="6191" cy="41528"/>
              </a:xfrm>
              <a:custGeom>
                <a:avLst/>
                <a:gdLst>
                  <a:gd name="connsiteX0" fmla="*/ 0 w 6191"/>
                  <a:gd name="connsiteY0" fmla="*/ 0 h 41528"/>
                  <a:gd name="connsiteX1" fmla="*/ 6191 w 6191"/>
                  <a:gd name="connsiteY1" fmla="*/ 0 h 41528"/>
                  <a:gd name="connsiteX2" fmla="*/ 6191 w 6191"/>
                  <a:gd name="connsiteY2" fmla="*/ 41529 h 41528"/>
                  <a:gd name="connsiteX3" fmla="*/ 0 w 6191"/>
                  <a:gd name="connsiteY3" fmla="*/ 41529 h 41528"/>
                </a:gdLst>
                <a:ahLst/>
                <a:cxnLst>
                  <a:cxn ang="0">
                    <a:pos x="connsiteX0" y="connsiteY0"/>
                  </a:cxn>
                  <a:cxn ang="0">
                    <a:pos x="connsiteX1" y="connsiteY1"/>
                  </a:cxn>
                  <a:cxn ang="0">
                    <a:pos x="connsiteX2" y="connsiteY2"/>
                  </a:cxn>
                  <a:cxn ang="0">
                    <a:pos x="connsiteX3" y="connsiteY3"/>
                  </a:cxn>
                </a:cxnLst>
                <a:rect l="l" t="t" r="r" b="b"/>
                <a:pathLst>
                  <a:path w="6191" h="41528">
                    <a:moveTo>
                      <a:pt x="0" y="0"/>
                    </a:moveTo>
                    <a:lnTo>
                      <a:pt x="6191" y="0"/>
                    </a:lnTo>
                    <a:lnTo>
                      <a:pt x="6191" y="41529"/>
                    </a:lnTo>
                    <a:lnTo>
                      <a:pt x="0" y="41529"/>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4" name="Freeform: Shape 863">
                <a:extLst>
                  <a:ext uri="{FF2B5EF4-FFF2-40B4-BE49-F238E27FC236}">
                    <a16:creationId xmlns:a16="http://schemas.microsoft.com/office/drawing/2014/main" id="{1EEEF4FD-BD8F-5ECD-C27F-A69D95528DEF}"/>
                  </a:ext>
                </a:extLst>
              </p:cNvPr>
              <p:cNvSpPr/>
              <p:nvPr/>
            </p:nvSpPr>
            <p:spPr>
              <a:xfrm>
                <a:off x="1988071" y="3308584"/>
                <a:ext cx="6191" cy="200520"/>
              </a:xfrm>
              <a:custGeom>
                <a:avLst/>
                <a:gdLst>
                  <a:gd name="connsiteX0" fmla="*/ 0 w 6191"/>
                  <a:gd name="connsiteY0" fmla="*/ 0 h 200520"/>
                  <a:gd name="connsiteX1" fmla="*/ 6191 w 6191"/>
                  <a:gd name="connsiteY1" fmla="*/ 0 h 200520"/>
                  <a:gd name="connsiteX2" fmla="*/ 6191 w 6191"/>
                  <a:gd name="connsiteY2" fmla="*/ 200520 h 200520"/>
                  <a:gd name="connsiteX3" fmla="*/ 0 w 6191"/>
                  <a:gd name="connsiteY3" fmla="*/ 200520 h 200520"/>
                </a:gdLst>
                <a:ahLst/>
                <a:cxnLst>
                  <a:cxn ang="0">
                    <a:pos x="connsiteX0" y="connsiteY0"/>
                  </a:cxn>
                  <a:cxn ang="0">
                    <a:pos x="connsiteX1" y="connsiteY1"/>
                  </a:cxn>
                  <a:cxn ang="0">
                    <a:pos x="connsiteX2" y="connsiteY2"/>
                  </a:cxn>
                  <a:cxn ang="0">
                    <a:pos x="connsiteX3" y="connsiteY3"/>
                  </a:cxn>
                </a:cxnLst>
                <a:rect l="l" t="t" r="r" b="b"/>
                <a:pathLst>
                  <a:path w="6191" h="200520">
                    <a:moveTo>
                      <a:pt x="0" y="0"/>
                    </a:moveTo>
                    <a:lnTo>
                      <a:pt x="6191" y="0"/>
                    </a:lnTo>
                    <a:lnTo>
                      <a:pt x="6191" y="200520"/>
                    </a:lnTo>
                    <a:lnTo>
                      <a:pt x="0" y="200520"/>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5" name="Freeform: Shape 864">
                <a:extLst>
                  <a:ext uri="{FF2B5EF4-FFF2-40B4-BE49-F238E27FC236}">
                    <a16:creationId xmlns:a16="http://schemas.microsoft.com/office/drawing/2014/main" id="{4A6D2719-21E0-ABA4-71A2-E1ECB5EB3620}"/>
                  </a:ext>
                </a:extLst>
              </p:cNvPr>
              <p:cNvSpPr/>
              <p:nvPr/>
            </p:nvSpPr>
            <p:spPr>
              <a:xfrm>
                <a:off x="2045659" y="3411473"/>
                <a:ext cx="6191" cy="97631"/>
              </a:xfrm>
              <a:custGeom>
                <a:avLst/>
                <a:gdLst>
                  <a:gd name="connsiteX0" fmla="*/ 0 w 6191"/>
                  <a:gd name="connsiteY0" fmla="*/ 0 h 97631"/>
                  <a:gd name="connsiteX1" fmla="*/ 6191 w 6191"/>
                  <a:gd name="connsiteY1" fmla="*/ 0 h 97631"/>
                  <a:gd name="connsiteX2" fmla="*/ 6191 w 6191"/>
                  <a:gd name="connsiteY2" fmla="*/ 97631 h 97631"/>
                  <a:gd name="connsiteX3" fmla="*/ 0 w 6191"/>
                  <a:gd name="connsiteY3" fmla="*/ 97631 h 97631"/>
                </a:gdLst>
                <a:ahLst/>
                <a:cxnLst>
                  <a:cxn ang="0">
                    <a:pos x="connsiteX0" y="connsiteY0"/>
                  </a:cxn>
                  <a:cxn ang="0">
                    <a:pos x="connsiteX1" y="connsiteY1"/>
                  </a:cxn>
                  <a:cxn ang="0">
                    <a:pos x="connsiteX2" y="connsiteY2"/>
                  </a:cxn>
                  <a:cxn ang="0">
                    <a:pos x="connsiteX3" y="connsiteY3"/>
                  </a:cxn>
                </a:cxnLst>
                <a:rect l="l" t="t" r="r" b="b"/>
                <a:pathLst>
                  <a:path w="6191" h="97631">
                    <a:moveTo>
                      <a:pt x="0" y="0"/>
                    </a:moveTo>
                    <a:lnTo>
                      <a:pt x="6191" y="0"/>
                    </a:lnTo>
                    <a:lnTo>
                      <a:pt x="6191" y="97631"/>
                    </a:lnTo>
                    <a:lnTo>
                      <a:pt x="0" y="9763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66" name="Freeform: Shape 865">
                <a:extLst>
                  <a:ext uri="{FF2B5EF4-FFF2-40B4-BE49-F238E27FC236}">
                    <a16:creationId xmlns:a16="http://schemas.microsoft.com/office/drawing/2014/main" id="{4AF08EB5-06D2-DF80-B30A-EB42BB015E43}"/>
                  </a:ext>
                </a:extLst>
              </p:cNvPr>
              <p:cNvSpPr/>
              <p:nvPr/>
            </p:nvSpPr>
            <p:spPr>
              <a:xfrm>
                <a:off x="2015312" y="3362686"/>
                <a:ext cx="6191" cy="79057"/>
              </a:xfrm>
              <a:custGeom>
                <a:avLst/>
                <a:gdLst>
                  <a:gd name="connsiteX0" fmla="*/ 0 w 6191"/>
                  <a:gd name="connsiteY0" fmla="*/ 0 h 79057"/>
                  <a:gd name="connsiteX1" fmla="*/ 6191 w 6191"/>
                  <a:gd name="connsiteY1" fmla="*/ 0 h 79057"/>
                  <a:gd name="connsiteX2" fmla="*/ 6191 w 6191"/>
                  <a:gd name="connsiteY2" fmla="*/ 79058 h 79057"/>
                  <a:gd name="connsiteX3" fmla="*/ 0 w 6191"/>
                  <a:gd name="connsiteY3" fmla="*/ 79058 h 79057"/>
                </a:gdLst>
                <a:ahLst/>
                <a:cxnLst>
                  <a:cxn ang="0">
                    <a:pos x="connsiteX0" y="connsiteY0"/>
                  </a:cxn>
                  <a:cxn ang="0">
                    <a:pos x="connsiteX1" y="connsiteY1"/>
                  </a:cxn>
                  <a:cxn ang="0">
                    <a:pos x="connsiteX2" y="connsiteY2"/>
                  </a:cxn>
                  <a:cxn ang="0">
                    <a:pos x="connsiteX3" y="connsiteY3"/>
                  </a:cxn>
                </a:cxnLst>
                <a:rect l="l" t="t" r="r" b="b"/>
                <a:pathLst>
                  <a:path w="6191" h="79057">
                    <a:moveTo>
                      <a:pt x="0" y="0"/>
                    </a:moveTo>
                    <a:lnTo>
                      <a:pt x="6191" y="0"/>
                    </a:lnTo>
                    <a:lnTo>
                      <a:pt x="6191" y="79058"/>
                    </a:lnTo>
                    <a:lnTo>
                      <a:pt x="0" y="79058"/>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55" name="Graphic 318">
              <a:extLst>
                <a:ext uri="{FF2B5EF4-FFF2-40B4-BE49-F238E27FC236}">
                  <a16:creationId xmlns:a16="http://schemas.microsoft.com/office/drawing/2014/main" id="{88EC0A2D-800F-5A44-CC6A-79D7DD8C5222}"/>
                </a:ext>
              </a:extLst>
            </p:cNvPr>
            <p:cNvGrpSpPr/>
            <p:nvPr/>
          </p:nvGrpSpPr>
          <p:grpSpPr>
            <a:xfrm>
              <a:off x="449948" y="3019084"/>
              <a:ext cx="231343" cy="241217"/>
              <a:chOff x="9486985" y="2569757"/>
              <a:chExt cx="231343" cy="233704"/>
            </a:xfrm>
            <a:solidFill>
              <a:srgbClr val="FF0000"/>
            </a:solidFill>
          </p:grpSpPr>
          <p:sp>
            <p:nvSpPr>
              <p:cNvPr id="57" name="Freeform: Shape 56">
                <a:extLst>
                  <a:ext uri="{FF2B5EF4-FFF2-40B4-BE49-F238E27FC236}">
                    <a16:creationId xmlns:a16="http://schemas.microsoft.com/office/drawing/2014/main" id="{97DB5027-E71E-1261-35AD-C62183B46D3F}"/>
                  </a:ext>
                </a:extLst>
              </p:cNvPr>
              <p:cNvSpPr/>
              <p:nvPr/>
            </p:nvSpPr>
            <p:spPr>
              <a:xfrm>
                <a:off x="9585264" y="2692267"/>
                <a:ext cx="20040" cy="6191"/>
              </a:xfrm>
              <a:custGeom>
                <a:avLst/>
                <a:gdLst>
                  <a:gd name="connsiteX0" fmla="*/ 0 w 20040"/>
                  <a:gd name="connsiteY0" fmla="*/ 0 h 6191"/>
                  <a:gd name="connsiteX1" fmla="*/ 20041 w 20040"/>
                  <a:gd name="connsiteY1" fmla="*/ 0 h 6191"/>
                  <a:gd name="connsiteX2" fmla="*/ 20041 w 20040"/>
                  <a:gd name="connsiteY2" fmla="*/ 6191 h 6191"/>
                  <a:gd name="connsiteX3" fmla="*/ 0 w 20040"/>
                  <a:gd name="connsiteY3" fmla="*/ 6191 h 6191"/>
                </a:gdLst>
                <a:ahLst/>
                <a:cxnLst>
                  <a:cxn ang="0">
                    <a:pos x="connsiteX0" y="connsiteY0"/>
                  </a:cxn>
                  <a:cxn ang="0">
                    <a:pos x="connsiteX1" y="connsiteY1"/>
                  </a:cxn>
                  <a:cxn ang="0">
                    <a:pos x="connsiteX2" y="connsiteY2"/>
                  </a:cxn>
                  <a:cxn ang="0">
                    <a:pos x="connsiteX3" y="connsiteY3"/>
                  </a:cxn>
                </a:cxnLst>
                <a:rect l="l" t="t" r="r" b="b"/>
                <a:pathLst>
                  <a:path w="20040" h="6191">
                    <a:moveTo>
                      <a:pt x="0" y="0"/>
                    </a:moveTo>
                    <a:lnTo>
                      <a:pt x="20041" y="0"/>
                    </a:lnTo>
                    <a:lnTo>
                      <a:pt x="20041"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58" name="Freeform: Shape 57">
                <a:extLst>
                  <a:ext uri="{FF2B5EF4-FFF2-40B4-BE49-F238E27FC236}">
                    <a16:creationId xmlns:a16="http://schemas.microsoft.com/office/drawing/2014/main" id="{B0807C67-69F2-02AC-3390-EAF5531D9266}"/>
                  </a:ext>
                </a:extLst>
              </p:cNvPr>
              <p:cNvSpPr/>
              <p:nvPr/>
            </p:nvSpPr>
            <p:spPr>
              <a:xfrm>
                <a:off x="9577339" y="2667788"/>
                <a:ext cx="35547" cy="38442"/>
              </a:xfrm>
              <a:custGeom>
                <a:avLst/>
                <a:gdLst>
                  <a:gd name="connsiteX0" fmla="*/ 5715 w 35547"/>
                  <a:gd name="connsiteY0" fmla="*/ 38405 h 38442"/>
                  <a:gd name="connsiteX1" fmla="*/ 0 w 35547"/>
                  <a:gd name="connsiteY1" fmla="*/ 35928 h 38442"/>
                  <a:gd name="connsiteX2" fmla="*/ 14916 w 35547"/>
                  <a:gd name="connsiteY2" fmla="*/ 1905 h 38442"/>
                  <a:gd name="connsiteX3" fmla="*/ 17736 w 35547"/>
                  <a:gd name="connsiteY3" fmla="*/ 0 h 38442"/>
                  <a:gd name="connsiteX4" fmla="*/ 17736 w 35547"/>
                  <a:gd name="connsiteY4" fmla="*/ 0 h 38442"/>
                  <a:gd name="connsiteX5" fmla="*/ 20574 w 35547"/>
                  <a:gd name="connsiteY5" fmla="*/ 1905 h 38442"/>
                  <a:gd name="connsiteX6" fmla="*/ 35547 w 35547"/>
                  <a:gd name="connsiteY6" fmla="*/ 35966 h 38442"/>
                  <a:gd name="connsiteX7" fmla="*/ 29832 w 35547"/>
                  <a:gd name="connsiteY7" fmla="*/ 38443 h 38442"/>
                  <a:gd name="connsiteX8" fmla="*/ 17793 w 35547"/>
                  <a:gd name="connsiteY8" fmla="*/ 10859 h 3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47" h="38442">
                    <a:moveTo>
                      <a:pt x="5715" y="38405"/>
                    </a:moveTo>
                    <a:lnTo>
                      <a:pt x="0" y="35928"/>
                    </a:lnTo>
                    <a:lnTo>
                      <a:pt x="14916" y="1905"/>
                    </a:lnTo>
                    <a:cubicBezTo>
                      <a:pt x="15389" y="762"/>
                      <a:pt x="16499" y="13"/>
                      <a:pt x="17736" y="0"/>
                    </a:cubicBezTo>
                    <a:lnTo>
                      <a:pt x="17736" y="0"/>
                    </a:lnTo>
                    <a:cubicBezTo>
                      <a:pt x="18979" y="5"/>
                      <a:pt x="20098" y="756"/>
                      <a:pt x="20574" y="1905"/>
                    </a:cubicBezTo>
                    <a:lnTo>
                      <a:pt x="35547" y="35966"/>
                    </a:lnTo>
                    <a:lnTo>
                      <a:pt x="29832" y="38443"/>
                    </a:lnTo>
                    <a:lnTo>
                      <a:pt x="17793" y="10859"/>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59" name="Freeform: Shape 58">
                <a:extLst>
                  <a:ext uri="{FF2B5EF4-FFF2-40B4-BE49-F238E27FC236}">
                    <a16:creationId xmlns:a16="http://schemas.microsoft.com/office/drawing/2014/main" id="{3D67F51E-463E-90F1-EF2F-EED5D9F2EB2D}"/>
                  </a:ext>
                </a:extLst>
              </p:cNvPr>
              <p:cNvSpPr/>
              <p:nvPr/>
            </p:nvSpPr>
            <p:spPr>
              <a:xfrm>
                <a:off x="9621687" y="2666683"/>
                <a:ext cx="6191" cy="39852"/>
              </a:xfrm>
              <a:custGeom>
                <a:avLst/>
                <a:gdLst>
                  <a:gd name="connsiteX0" fmla="*/ 0 w 6191"/>
                  <a:gd name="connsiteY0" fmla="*/ 0 h 39852"/>
                  <a:gd name="connsiteX1" fmla="*/ 6191 w 6191"/>
                  <a:gd name="connsiteY1" fmla="*/ 0 h 39852"/>
                  <a:gd name="connsiteX2" fmla="*/ 6191 w 6191"/>
                  <a:gd name="connsiteY2" fmla="*/ 39853 h 39852"/>
                  <a:gd name="connsiteX3" fmla="*/ 0 w 6191"/>
                  <a:gd name="connsiteY3" fmla="*/ 39853 h 39852"/>
                </a:gdLst>
                <a:ahLst/>
                <a:cxnLst>
                  <a:cxn ang="0">
                    <a:pos x="connsiteX0" y="connsiteY0"/>
                  </a:cxn>
                  <a:cxn ang="0">
                    <a:pos x="connsiteX1" y="connsiteY1"/>
                  </a:cxn>
                  <a:cxn ang="0">
                    <a:pos x="connsiteX2" y="connsiteY2"/>
                  </a:cxn>
                  <a:cxn ang="0">
                    <a:pos x="connsiteX3" y="connsiteY3"/>
                  </a:cxn>
                </a:cxnLst>
                <a:rect l="l" t="t" r="r" b="b"/>
                <a:pathLst>
                  <a:path w="6191" h="39852">
                    <a:moveTo>
                      <a:pt x="0" y="0"/>
                    </a:moveTo>
                    <a:lnTo>
                      <a:pt x="6191" y="0"/>
                    </a:lnTo>
                    <a:lnTo>
                      <a:pt x="6191" y="39853"/>
                    </a:lnTo>
                    <a:lnTo>
                      <a:pt x="0" y="39853"/>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60" name="Freeform: Shape 59">
                <a:extLst>
                  <a:ext uri="{FF2B5EF4-FFF2-40B4-BE49-F238E27FC236}">
                    <a16:creationId xmlns:a16="http://schemas.microsoft.com/office/drawing/2014/main" id="{FC19581C-4104-5A3F-C37D-82AA20270505}"/>
                  </a:ext>
                </a:extLst>
              </p:cNvPr>
              <p:cNvSpPr/>
              <p:nvPr/>
            </p:nvSpPr>
            <p:spPr>
              <a:xfrm>
                <a:off x="9538210" y="2621535"/>
                <a:ext cx="128968" cy="130149"/>
              </a:xfrm>
              <a:custGeom>
                <a:avLst/>
                <a:gdLst>
                  <a:gd name="connsiteX0" fmla="*/ 73971 w 128968"/>
                  <a:gd name="connsiteY0" fmla="*/ 130150 h 130149"/>
                  <a:gd name="connsiteX1" fmla="*/ 54921 w 128968"/>
                  <a:gd name="connsiteY1" fmla="*/ 130150 h 130149"/>
                  <a:gd name="connsiteX2" fmla="*/ 52007 w 128968"/>
                  <a:gd name="connsiteY2" fmla="*/ 127940 h 130149"/>
                  <a:gd name="connsiteX3" fmla="*/ 49988 w 128968"/>
                  <a:gd name="connsiteY3" fmla="*/ 113043 h 130149"/>
                  <a:gd name="connsiteX4" fmla="*/ 41148 w 128968"/>
                  <a:gd name="connsiteY4" fmla="*/ 109347 h 130149"/>
                  <a:gd name="connsiteX5" fmla="*/ 29299 w 128968"/>
                  <a:gd name="connsiteY5" fmla="*/ 118415 h 130149"/>
                  <a:gd name="connsiteX6" fmla="*/ 25489 w 128968"/>
                  <a:gd name="connsiteY6" fmla="*/ 117900 h 130149"/>
                  <a:gd name="connsiteX7" fmla="*/ 12154 w 128968"/>
                  <a:gd name="connsiteY7" fmla="*/ 104394 h 130149"/>
                  <a:gd name="connsiteX8" fmla="*/ 11678 w 128968"/>
                  <a:gd name="connsiteY8" fmla="*/ 100698 h 130149"/>
                  <a:gd name="connsiteX9" fmla="*/ 20631 w 128968"/>
                  <a:gd name="connsiteY9" fmla="*/ 88640 h 130149"/>
                  <a:gd name="connsiteX10" fmla="*/ 17012 w 128968"/>
                  <a:gd name="connsiteY10" fmla="*/ 79648 h 130149"/>
                  <a:gd name="connsiteX11" fmla="*/ 2286 w 128968"/>
                  <a:gd name="connsiteY11" fmla="*/ 77610 h 130149"/>
                  <a:gd name="connsiteX12" fmla="*/ 0 w 128968"/>
                  <a:gd name="connsiteY12" fmla="*/ 74600 h 130149"/>
                  <a:gd name="connsiteX13" fmla="*/ 0 w 128968"/>
                  <a:gd name="connsiteY13" fmla="*/ 55550 h 130149"/>
                  <a:gd name="connsiteX14" fmla="*/ 2286 w 128968"/>
                  <a:gd name="connsiteY14" fmla="*/ 52578 h 130149"/>
                  <a:gd name="connsiteX15" fmla="*/ 17012 w 128968"/>
                  <a:gd name="connsiteY15" fmla="*/ 50540 h 130149"/>
                  <a:gd name="connsiteX16" fmla="*/ 20631 w 128968"/>
                  <a:gd name="connsiteY16" fmla="*/ 41510 h 130149"/>
                  <a:gd name="connsiteX17" fmla="*/ 11621 w 128968"/>
                  <a:gd name="connsiteY17" fmla="*/ 29528 h 130149"/>
                  <a:gd name="connsiteX18" fmla="*/ 12097 w 128968"/>
                  <a:gd name="connsiteY18" fmla="*/ 25832 h 130149"/>
                  <a:gd name="connsiteX19" fmla="*/ 25432 w 128968"/>
                  <a:gd name="connsiteY19" fmla="*/ 12325 h 130149"/>
                  <a:gd name="connsiteX20" fmla="*/ 29242 w 128968"/>
                  <a:gd name="connsiteY20" fmla="*/ 11811 h 130149"/>
                  <a:gd name="connsiteX21" fmla="*/ 41091 w 128968"/>
                  <a:gd name="connsiteY21" fmla="*/ 20898 h 130149"/>
                  <a:gd name="connsiteX22" fmla="*/ 49930 w 128968"/>
                  <a:gd name="connsiteY22" fmla="*/ 17202 h 130149"/>
                  <a:gd name="connsiteX23" fmla="*/ 51950 w 128968"/>
                  <a:gd name="connsiteY23" fmla="*/ 2305 h 130149"/>
                  <a:gd name="connsiteX24" fmla="*/ 54921 w 128968"/>
                  <a:gd name="connsiteY24" fmla="*/ 0 h 130149"/>
                  <a:gd name="connsiteX25" fmla="*/ 73971 w 128968"/>
                  <a:gd name="connsiteY25" fmla="*/ 0 h 130149"/>
                  <a:gd name="connsiteX26" fmla="*/ 76962 w 128968"/>
                  <a:gd name="connsiteY26" fmla="*/ 2305 h 130149"/>
                  <a:gd name="connsiteX27" fmla="*/ 78982 w 128968"/>
                  <a:gd name="connsiteY27" fmla="*/ 17202 h 130149"/>
                  <a:gd name="connsiteX28" fmla="*/ 87821 w 128968"/>
                  <a:gd name="connsiteY28" fmla="*/ 20898 h 130149"/>
                  <a:gd name="connsiteX29" fmla="*/ 99594 w 128968"/>
                  <a:gd name="connsiteY29" fmla="*/ 11735 h 130149"/>
                  <a:gd name="connsiteX30" fmla="*/ 103404 w 128968"/>
                  <a:gd name="connsiteY30" fmla="*/ 12249 h 130149"/>
                  <a:gd name="connsiteX31" fmla="*/ 116739 w 128968"/>
                  <a:gd name="connsiteY31" fmla="*/ 25756 h 130149"/>
                  <a:gd name="connsiteX32" fmla="*/ 117234 w 128968"/>
                  <a:gd name="connsiteY32" fmla="*/ 29451 h 130149"/>
                  <a:gd name="connsiteX33" fmla="*/ 108261 w 128968"/>
                  <a:gd name="connsiteY33" fmla="*/ 41510 h 130149"/>
                  <a:gd name="connsiteX34" fmla="*/ 111938 w 128968"/>
                  <a:gd name="connsiteY34" fmla="*/ 50502 h 130149"/>
                  <a:gd name="connsiteX35" fmla="*/ 126683 w 128968"/>
                  <a:gd name="connsiteY35" fmla="*/ 52540 h 130149"/>
                  <a:gd name="connsiteX36" fmla="*/ 128969 w 128968"/>
                  <a:gd name="connsiteY36" fmla="*/ 55512 h 130149"/>
                  <a:gd name="connsiteX37" fmla="*/ 128969 w 128968"/>
                  <a:gd name="connsiteY37" fmla="*/ 74600 h 130149"/>
                  <a:gd name="connsiteX38" fmla="*/ 126683 w 128968"/>
                  <a:gd name="connsiteY38" fmla="*/ 77572 h 130149"/>
                  <a:gd name="connsiteX39" fmla="*/ 111938 w 128968"/>
                  <a:gd name="connsiteY39" fmla="*/ 79610 h 130149"/>
                  <a:gd name="connsiteX40" fmla="*/ 108261 w 128968"/>
                  <a:gd name="connsiteY40" fmla="*/ 88640 h 130149"/>
                  <a:gd name="connsiteX41" fmla="*/ 117272 w 128968"/>
                  <a:gd name="connsiteY41" fmla="*/ 100622 h 130149"/>
                  <a:gd name="connsiteX42" fmla="*/ 116777 w 128968"/>
                  <a:gd name="connsiteY42" fmla="*/ 104318 h 130149"/>
                  <a:gd name="connsiteX43" fmla="*/ 103442 w 128968"/>
                  <a:gd name="connsiteY43" fmla="*/ 117824 h 130149"/>
                  <a:gd name="connsiteX44" fmla="*/ 99632 w 128968"/>
                  <a:gd name="connsiteY44" fmla="*/ 118339 h 130149"/>
                  <a:gd name="connsiteX45" fmla="*/ 87783 w 128968"/>
                  <a:gd name="connsiteY45" fmla="*/ 109252 h 130149"/>
                  <a:gd name="connsiteX46" fmla="*/ 78944 w 128968"/>
                  <a:gd name="connsiteY46" fmla="*/ 112947 h 130149"/>
                  <a:gd name="connsiteX47" fmla="*/ 76886 w 128968"/>
                  <a:gd name="connsiteY47" fmla="*/ 127940 h 130149"/>
                  <a:gd name="connsiteX48" fmla="*/ 73971 w 128968"/>
                  <a:gd name="connsiteY48" fmla="*/ 130150 h 130149"/>
                  <a:gd name="connsiteX49" fmla="*/ 57493 w 128968"/>
                  <a:gd name="connsiteY49" fmla="*/ 123958 h 130149"/>
                  <a:gd name="connsiteX50" fmla="*/ 71552 w 128968"/>
                  <a:gd name="connsiteY50" fmla="*/ 123958 h 130149"/>
                  <a:gd name="connsiteX51" fmla="*/ 72619 w 128968"/>
                  <a:gd name="connsiteY51" fmla="*/ 111690 h 130149"/>
                  <a:gd name="connsiteX52" fmla="*/ 74524 w 128968"/>
                  <a:gd name="connsiteY52" fmla="*/ 108147 h 130149"/>
                  <a:gd name="connsiteX53" fmla="*/ 87687 w 128968"/>
                  <a:gd name="connsiteY53" fmla="*/ 102622 h 130149"/>
                  <a:gd name="connsiteX54" fmla="*/ 91497 w 128968"/>
                  <a:gd name="connsiteY54" fmla="*/ 103861 h 130149"/>
                  <a:gd name="connsiteX55" fmla="*/ 100641 w 128968"/>
                  <a:gd name="connsiteY55" fmla="*/ 111747 h 130149"/>
                  <a:gd name="connsiteX56" fmla="*/ 110605 w 128968"/>
                  <a:gd name="connsiteY56" fmla="*/ 101670 h 130149"/>
                  <a:gd name="connsiteX57" fmla="*/ 102775 w 128968"/>
                  <a:gd name="connsiteY57" fmla="*/ 92145 h 130149"/>
                  <a:gd name="connsiteX58" fmla="*/ 101556 w 128968"/>
                  <a:gd name="connsiteY58" fmla="*/ 88335 h 130149"/>
                  <a:gd name="connsiteX59" fmla="*/ 107023 w 128968"/>
                  <a:gd name="connsiteY59" fmla="*/ 75000 h 130149"/>
                  <a:gd name="connsiteX60" fmla="*/ 110586 w 128968"/>
                  <a:gd name="connsiteY60" fmla="*/ 73095 h 130149"/>
                  <a:gd name="connsiteX61" fmla="*/ 122682 w 128968"/>
                  <a:gd name="connsiteY61" fmla="*/ 72028 h 130149"/>
                  <a:gd name="connsiteX62" fmla="*/ 122682 w 128968"/>
                  <a:gd name="connsiteY62" fmla="*/ 57741 h 130149"/>
                  <a:gd name="connsiteX63" fmla="*/ 110586 w 128968"/>
                  <a:gd name="connsiteY63" fmla="*/ 56674 h 130149"/>
                  <a:gd name="connsiteX64" fmla="*/ 107023 w 128968"/>
                  <a:gd name="connsiteY64" fmla="*/ 54769 h 130149"/>
                  <a:gd name="connsiteX65" fmla="*/ 101556 w 128968"/>
                  <a:gd name="connsiteY65" fmla="*/ 41434 h 130149"/>
                  <a:gd name="connsiteX66" fmla="*/ 102775 w 128968"/>
                  <a:gd name="connsiteY66" fmla="*/ 37624 h 130149"/>
                  <a:gd name="connsiteX67" fmla="*/ 110605 w 128968"/>
                  <a:gd name="connsiteY67" fmla="*/ 28099 h 130149"/>
                  <a:gd name="connsiteX68" fmla="*/ 100641 w 128968"/>
                  <a:gd name="connsiteY68" fmla="*/ 18402 h 130149"/>
                  <a:gd name="connsiteX69" fmla="*/ 91345 w 128968"/>
                  <a:gd name="connsiteY69" fmla="*/ 26289 h 130149"/>
                  <a:gd name="connsiteX70" fmla="*/ 87535 w 128968"/>
                  <a:gd name="connsiteY70" fmla="*/ 27527 h 130149"/>
                  <a:gd name="connsiteX71" fmla="*/ 74372 w 128968"/>
                  <a:gd name="connsiteY71" fmla="*/ 22003 h 130149"/>
                  <a:gd name="connsiteX72" fmla="*/ 72467 w 128968"/>
                  <a:gd name="connsiteY72" fmla="*/ 18459 h 130149"/>
                  <a:gd name="connsiteX73" fmla="*/ 71400 w 128968"/>
                  <a:gd name="connsiteY73" fmla="*/ 6191 h 130149"/>
                  <a:gd name="connsiteX74" fmla="*/ 57417 w 128968"/>
                  <a:gd name="connsiteY74" fmla="*/ 6191 h 130149"/>
                  <a:gd name="connsiteX75" fmla="*/ 56350 w 128968"/>
                  <a:gd name="connsiteY75" fmla="*/ 18459 h 130149"/>
                  <a:gd name="connsiteX76" fmla="*/ 54445 w 128968"/>
                  <a:gd name="connsiteY76" fmla="*/ 22003 h 130149"/>
                  <a:gd name="connsiteX77" fmla="*/ 41282 w 128968"/>
                  <a:gd name="connsiteY77" fmla="*/ 27527 h 130149"/>
                  <a:gd name="connsiteX78" fmla="*/ 37472 w 128968"/>
                  <a:gd name="connsiteY78" fmla="*/ 26289 h 130149"/>
                  <a:gd name="connsiteX79" fmla="*/ 28251 w 128968"/>
                  <a:gd name="connsiteY79" fmla="*/ 18402 h 130149"/>
                  <a:gd name="connsiteX80" fmla="*/ 18288 w 128968"/>
                  <a:gd name="connsiteY80" fmla="*/ 28480 h 130149"/>
                  <a:gd name="connsiteX81" fmla="*/ 26118 w 128968"/>
                  <a:gd name="connsiteY81" fmla="*/ 38005 h 130149"/>
                  <a:gd name="connsiteX82" fmla="*/ 27318 w 128968"/>
                  <a:gd name="connsiteY82" fmla="*/ 41815 h 130149"/>
                  <a:gd name="connsiteX83" fmla="*/ 21870 w 128968"/>
                  <a:gd name="connsiteY83" fmla="*/ 55150 h 130149"/>
                  <a:gd name="connsiteX84" fmla="*/ 18307 w 128968"/>
                  <a:gd name="connsiteY84" fmla="*/ 57055 h 130149"/>
                  <a:gd name="connsiteX85" fmla="*/ 6211 w 128968"/>
                  <a:gd name="connsiteY85" fmla="*/ 58122 h 130149"/>
                  <a:gd name="connsiteX86" fmla="*/ 6211 w 128968"/>
                  <a:gd name="connsiteY86" fmla="*/ 72409 h 130149"/>
                  <a:gd name="connsiteX87" fmla="*/ 18307 w 128968"/>
                  <a:gd name="connsiteY87" fmla="*/ 73476 h 130149"/>
                  <a:gd name="connsiteX88" fmla="*/ 21870 w 128968"/>
                  <a:gd name="connsiteY88" fmla="*/ 75381 h 130149"/>
                  <a:gd name="connsiteX89" fmla="*/ 27318 w 128968"/>
                  <a:gd name="connsiteY89" fmla="*/ 88716 h 130149"/>
                  <a:gd name="connsiteX90" fmla="*/ 26118 w 128968"/>
                  <a:gd name="connsiteY90" fmla="*/ 92526 h 130149"/>
                  <a:gd name="connsiteX91" fmla="*/ 18288 w 128968"/>
                  <a:gd name="connsiteY91" fmla="*/ 102051 h 130149"/>
                  <a:gd name="connsiteX92" fmla="*/ 28251 w 128968"/>
                  <a:gd name="connsiteY92" fmla="*/ 111747 h 130149"/>
                  <a:gd name="connsiteX93" fmla="*/ 37548 w 128968"/>
                  <a:gd name="connsiteY93" fmla="*/ 103861 h 130149"/>
                  <a:gd name="connsiteX94" fmla="*/ 41358 w 128968"/>
                  <a:gd name="connsiteY94" fmla="*/ 102622 h 130149"/>
                  <a:gd name="connsiteX95" fmla="*/ 54521 w 128968"/>
                  <a:gd name="connsiteY95" fmla="*/ 108147 h 130149"/>
                  <a:gd name="connsiteX96" fmla="*/ 56426 w 128968"/>
                  <a:gd name="connsiteY96" fmla="*/ 111690 h 130149"/>
                  <a:gd name="connsiteX97" fmla="*/ 57417 w 128968"/>
                  <a:gd name="connsiteY97" fmla="*/ 123958 h 13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968" h="130149">
                    <a:moveTo>
                      <a:pt x="73971" y="130150"/>
                    </a:moveTo>
                    <a:lnTo>
                      <a:pt x="54921" y="130150"/>
                    </a:lnTo>
                    <a:cubicBezTo>
                      <a:pt x="53573" y="130125"/>
                      <a:pt x="52395" y="129231"/>
                      <a:pt x="52007" y="127940"/>
                    </a:cubicBezTo>
                    <a:cubicBezTo>
                      <a:pt x="50675" y="123086"/>
                      <a:pt x="49996" y="118076"/>
                      <a:pt x="49988" y="113043"/>
                    </a:cubicBezTo>
                    <a:lnTo>
                      <a:pt x="41148" y="109347"/>
                    </a:lnTo>
                    <a:cubicBezTo>
                      <a:pt x="37613" y="112876"/>
                      <a:pt x="33629" y="115924"/>
                      <a:pt x="29299" y="118415"/>
                    </a:cubicBezTo>
                    <a:cubicBezTo>
                      <a:pt x="28065" y="119152"/>
                      <a:pt x="26484" y="118939"/>
                      <a:pt x="25489" y="117900"/>
                    </a:cubicBezTo>
                    <a:lnTo>
                      <a:pt x="12154" y="104394"/>
                    </a:lnTo>
                    <a:cubicBezTo>
                      <a:pt x="11186" y="103408"/>
                      <a:pt x="10991" y="101898"/>
                      <a:pt x="11678" y="100698"/>
                    </a:cubicBezTo>
                    <a:cubicBezTo>
                      <a:pt x="14105" y="96293"/>
                      <a:pt x="17117" y="92237"/>
                      <a:pt x="20631" y="88640"/>
                    </a:cubicBezTo>
                    <a:lnTo>
                      <a:pt x="17012" y="79648"/>
                    </a:lnTo>
                    <a:cubicBezTo>
                      <a:pt x="12035" y="79624"/>
                      <a:pt x="7083" y="78939"/>
                      <a:pt x="2286" y="77610"/>
                    </a:cubicBezTo>
                    <a:cubicBezTo>
                      <a:pt x="923" y="77251"/>
                      <a:pt x="-20" y="76009"/>
                      <a:pt x="0" y="74600"/>
                    </a:cubicBezTo>
                    <a:lnTo>
                      <a:pt x="0" y="55550"/>
                    </a:lnTo>
                    <a:cubicBezTo>
                      <a:pt x="-2" y="54155"/>
                      <a:pt x="937" y="52933"/>
                      <a:pt x="2286" y="52578"/>
                    </a:cubicBezTo>
                    <a:cubicBezTo>
                      <a:pt x="7080" y="51236"/>
                      <a:pt x="12034" y="50550"/>
                      <a:pt x="17012" y="50540"/>
                    </a:cubicBezTo>
                    <a:lnTo>
                      <a:pt x="20631" y="41510"/>
                    </a:lnTo>
                    <a:cubicBezTo>
                      <a:pt x="17102" y="37940"/>
                      <a:pt x="14071" y="33909"/>
                      <a:pt x="11621" y="29528"/>
                    </a:cubicBezTo>
                    <a:cubicBezTo>
                      <a:pt x="10934" y="28328"/>
                      <a:pt x="11129" y="26818"/>
                      <a:pt x="12097" y="25832"/>
                    </a:cubicBezTo>
                    <a:lnTo>
                      <a:pt x="25432" y="12325"/>
                    </a:lnTo>
                    <a:cubicBezTo>
                      <a:pt x="26427" y="11287"/>
                      <a:pt x="28007" y="11074"/>
                      <a:pt x="29242" y="11811"/>
                    </a:cubicBezTo>
                    <a:cubicBezTo>
                      <a:pt x="33573" y="14307"/>
                      <a:pt x="37557" y="17362"/>
                      <a:pt x="41091" y="20898"/>
                    </a:cubicBezTo>
                    <a:lnTo>
                      <a:pt x="49930" y="17202"/>
                    </a:lnTo>
                    <a:cubicBezTo>
                      <a:pt x="49937" y="12169"/>
                      <a:pt x="50617" y="7159"/>
                      <a:pt x="51950" y="2305"/>
                    </a:cubicBezTo>
                    <a:cubicBezTo>
                      <a:pt x="52309" y="956"/>
                      <a:pt x="53525" y="13"/>
                      <a:pt x="54921" y="0"/>
                    </a:cubicBezTo>
                    <a:lnTo>
                      <a:pt x="73971" y="0"/>
                    </a:lnTo>
                    <a:cubicBezTo>
                      <a:pt x="75375" y="4"/>
                      <a:pt x="76601" y="949"/>
                      <a:pt x="76962" y="2305"/>
                    </a:cubicBezTo>
                    <a:cubicBezTo>
                      <a:pt x="78295" y="7159"/>
                      <a:pt x="78975" y="12169"/>
                      <a:pt x="78982" y="17202"/>
                    </a:cubicBezTo>
                    <a:lnTo>
                      <a:pt x="87821" y="20898"/>
                    </a:lnTo>
                    <a:cubicBezTo>
                      <a:pt x="91327" y="17341"/>
                      <a:pt x="95285" y="14260"/>
                      <a:pt x="99594" y="11735"/>
                    </a:cubicBezTo>
                    <a:cubicBezTo>
                      <a:pt x="100827" y="10990"/>
                      <a:pt x="102412" y="11204"/>
                      <a:pt x="103404" y="12249"/>
                    </a:cubicBezTo>
                    <a:lnTo>
                      <a:pt x="116739" y="25756"/>
                    </a:lnTo>
                    <a:cubicBezTo>
                      <a:pt x="117720" y="26734"/>
                      <a:pt x="117922" y="28249"/>
                      <a:pt x="117234" y="29451"/>
                    </a:cubicBezTo>
                    <a:cubicBezTo>
                      <a:pt x="114795" y="33853"/>
                      <a:pt x="111777" y="37909"/>
                      <a:pt x="108261" y="41510"/>
                    </a:cubicBezTo>
                    <a:lnTo>
                      <a:pt x="111938" y="50502"/>
                    </a:lnTo>
                    <a:cubicBezTo>
                      <a:pt x="116923" y="50513"/>
                      <a:pt x="121882" y="51198"/>
                      <a:pt x="126683" y="52540"/>
                    </a:cubicBezTo>
                    <a:cubicBezTo>
                      <a:pt x="128032" y="52895"/>
                      <a:pt x="128971" y="54116"/>
                      <a:pt x="128969" y="55512"/>
                    </a:cubicBezTo>
                    <a:lnTo>
                      <a:pt x="128969" y="74600"/>
                    </a:lnTo>
                    <a:cubicBezTo>
                      <a:pt x="128971" y="75995"/>
                      <a:pt x="128032" y="77216"/>
                      <a:pt x="126683" y="77572"/>
                    </a:cubicBezTo>
                    <a:cubicBezTo>
                      <a:pt x="121880" y="78902"/>
                      <a:pt x="116922" y="79587"/>
                      <a:pt x="111938" y="79610"/>
                    </a:cubicBezTo>
                    <a:lnTo>
                      <a:pt x="108261" y="88640"/>
                    </a:lnTo>
                    <a:cubicBezTo>
                      <a:pt x="111791" y="92210"/>
                      <a:pt x="114822" y="96241"/>
                      <a:pt x="117272" y="100622"/>
                    </a:cubicBezTo>
                    <a:cubicBezTo>
                      <a:pt x="117962" y="101825"/>
                      <a:pt x="117758" y="103339"/>
                      <a:pt x="116777" y="104318"/>
                    </a:cubicBezTo>
                    <a:lnTo>
                      <a:pt x="103442" y="117824"/>
                    </a:lnTo>
                    <a:cubicBezTo>
                      <a:pt x="102450" y="118870"/>
                      <a:pt x="100865" y="119083"/>
                      <a:pt x="99632" y="118339"/>
                    </a:cubicBezTo>
                    <a:cubicBezTo>
                      <a:pt x="95301" y="115842"/>
                      <a:pt x="91317" y="112787"/>
                      <a:pt x="87783" y="109252"/>
                    </a:cubicBezTo>
                    <a:lnTo>
                      <a:pt x="78944" y="112947"/>
                    </a:lnTo>
                    <a:cubicBezTo>
                      <a:pt x="78931" y="118014"/>
                      <a:pt x="78239" y="123057"/>
                      <a:pt x="76886" y="127940"/>
                    </a:cubicBezTo>
                    <a:cubicBezTo>
                      <a:pt x="76497" y="129231"/>
                      <a:pt x="75320" y="130125"/>
                      <a:pt x="73971" y="130150"/>
                    </a:cubicBezTo>
                    <a:close/>
                    <a:moveTo>
                      <a:pt x="57493" y="123958"/>
                    </a:moveTo>
                    <a:lnTo>
                      <a:pt x="71552" y="123958"/>
                    </a:lnTo>
                    <a:cubicBezTo>
                      <a:pt x="72543" y="119463"/>
                      <a:pt x="73171" y="114090"/>
                      <a:pt x="72619" y="111690"/>
                    </a:cubicBezTo>
                    <a:cubicBezTo>
                      <a:pt x="72291" y="110201"/>
                      <a:pt x="73101" y="108695"/>
                      <a:pt x="74524" y="108147"/>
                    </a:cubicBezTo>
                    <a:lnTo>
                      <a:pt x="87687" y="102622"/>
                    </a:lnTo>
                    <a:cubicBezTo>
                      <a:pt x="89089" y="102043"/>
                      <a:pt x="90704" y="102568"/>
                      <a:pt x="91497" y="103861"/>
                    </a:cubicBezTo>
                    <a:cubicBezTo>
                      <a:pt x="94089" y="106976"/>
                      <a:pt x="97179" y="109641"/>
                      <a:pt x="100641" y="111747"/>
                    </a:cubicBezTo>
                    <a:lnTo>
                      <a:pt x="110605" y="101670"/>
                    </a:lnTo>
                    <a:cubicBezTo>
                      <a:pt x="108555" y="98073"/>
                      <a:pt x="105907" y="94852"/>
                      <a:pt x="102775" y="92145"/>
                    </a:cubicBezTo>
                    <a:cubicBezTo>
                      <a:pt x="101496" y="91341"/>
                      <a:pt x="100981" y="89732"/>
                      <a:pt x="101556" y="88335"/>
                    </a:cubicBezTo>
                    <a:lnTo>
                      <a:pt x="107023" y="75000"/>
                    </a:lnTo>
                    <a:cubicBezTo>
                      <a:pt x="107572" y="73568"/>
                      <a:pt x="109090" y="72757"/>
                      <a:pt x="110586" y="73095"/>
                    </a:cubicBezTo>
                    <a:cubicBezTo>
                      <a:pt x="112948" y="73647"/>
                      <a:pt x="118206" y="73095"/>
                      <a:pt x="122682" y="72028"/>
                    </a:cubicBezTo>
                    <a:lnTo>
                      <a:pt x="122682" y="57741"/>
                    </a:lnTo>
                    <a:cubicBezTo>
                      <a:pt x="118244" y="56750"/>
                      <a:pt x="112948" y="56121"/>
                      <a:pt x="110586" y="56674"/>
                    </a:cubicBezTo>
                    <a:cubicBezTo>
                      <a:pt x="109091" y="57004"/>
                      <a:pt x="107579" y="56195"/>
                      <a:pt x="107023" y="54769"/>
                    </a:cubicBezTo>
                    <a:lnTo>
                      <a:pt x="101556" y="41434"/>
                    </a:lnTo>
                    <a:cubicBezTo>
                      <a:pt x="100981" y="40036"/>
                      <a:pt x="101496" y="38428"/>
                      <a:pt x="102775" y="37624"/>
                    </a:cubicBezTo>
                    <a:cubicBezTo>
                      <a:pt x="105907" y="34917"/>
                      <a:pt x="108555" y="31695"/>
                      <a:pt x="110605" y="28099"/>
                    </a:cubicBezTo>
                    <a:lnTo>
                      <a:pt x="100641" y="18402"/>
                    </a:lnTo>
                    <a:cubicBezTo>
                      <a:pt x="97125" y="20495"/>
                      <a:pt x="93983" y="23161"/>
                      <a:pt x="91345" y="26289"/>
                    </a:cubicBezTo>
                    <a:cubicBezTo>
                      <a:pt x="90552" y="27582"/>
                      <a:pt x="88937" y="28107"/>
                      <a:pt x="87535" y="27527"/>
                    </a:cubicBezTo>
                    <a:lnTo>
                      <a:pt x="74372" y="22003"/>
                    </a:lnTo>
                    <a:cubicBezTo>
                      <a:pt x="72948" y="21455"/>
                      <a:pt x="72139" y="19949"/>
                      <a:pt x="72467" y="18459"/>
                    </a:cubicBezTo>
                    <a:cubicBezTo>
                      <a:pt x="73019" y="16059"/>
                      <a:pt x="72467" y="10687"/>
                      <a:pt x="71400" y="6191"/>
                    </a:cubicBezTo>
                    <a:lnTo>
                      <a:pt x="57417" y="6191"/>
                    </a:lnTo>
                    <a:cubicBezTo>
                      <a:pt x="56426" y="10687"/>
                      <a:pt x="55798" y="16059"/>
                      <a:pt x="56350" y="18459"/>
                    </a:cubicBezTo>
                    <a:cubicBezTo>
                      <a:pt x="56670" y="19948"/>
                      <a:pt x="55863" y="21448"/>
                      <a:pt x="54445" y="22003"/>
                    </a:cubicBezTo>
                    <a:lnTo>
                      <a:pt x="41282" y="27527"/>
                    </a:lnTo>
                    <a:cubicBezTo>
                      <a:pt x="39879" y="28090"/>
                      <a:pt x="38275" y="27569"/>
                      <a:pt x="37472" y="26289"/>
                    </a:cubicBezTo>
                    <a:cubicBezTo>
                      <a:pt x="34857" y="23167"/>
                      <a:pt x="31741" y="20502"/>
                      <a:pt x="28251" y="18402"/>
                    </a:cubicBezTo>
                    <a:lnTo>
                      <a:pt x="18288" y="28480"/>
                    </a:lnTo>
                    <a:cubicBezTo>
                      <a:pt x="20338" y="32076"/>
                      <a:pt x="22986" y="35298"/>
                      <a:pt x="26118" y="38005"/>
                    </a:cubicBezTo>
                    <a:cubicBezTo>
                      <a:pt x="27397" y="38810"/>
                      <a:pt x="27905" y="40422"/>
                      <a:pt x="27318" y="41815"/>
                    </a:cubicBezTo>
                    <a:lnTo>
                      <a:pt x="21870" y="55150"/>
                    </a:lnTo>
                    <a:cubicBezTo>
                      <a:pt x="21321" y="56582"/>
                      <a:pt x="19803" y="57393"/>
                      <a:pt x="18307" y="57055"/>
                    </a:cubicBezTo>
                    <a:cubicBezTo>
                      <a:pt x="15945" y="56502"/>
                      <a:pt x="10687" y="57055"/>
                      <a:pt x="6211" y="58122"/>
                    </a:cubicBezTo>
                    <a:lnTo>
                      <a:pt x="6211" y="72409"/>
                    </a:lnTo>
                    <a:cubicBezTo>
                      <a:pt x="10649" y="73400"/>
                      <a:pt x="15945" y="74028"/>
                      <a:pt x="18307" y="73476"/>
                    </a:cubicBezTo>
                    <a:cubicBezTo>
                      <a:pt x="19802" y="73146"/>
                      <a:pt x="21314" y="73955"/>
                      <a:pt x="21870" y="75381"/>
                    </a:cubicBezTo>
                    <a:lnTo>
                      <a:pt x="27318" y="88716"/>
                    </a:lnTo>
                    <a:cubicBezTo>
                      <a:pt x="27905" y="90108"/>
                      <a:pt x="27397" y="91721"/>
                      <a:pt x="26118" y="92526"/>
                    </a:cubicBezTo>
                    <a:cubicBezTo>
                      <a:pt x="22986" y="95233"/>
                      <a:pt x="20338" y="98454"/>
                      <a:pt x="18288" y="102051"/>
                    </a:cubicBezTo>
                    <a:lnTo>
                      <a:pt x="28251" y="111747"/>
                    </a:lnTo>
                    <a:cubicBezTo>
                      <a:pt x="31768" y="109655"/>
                      <a:pt x="34910" y="106989"/>
                      <a:pt x="37548" y="103861"/>
                    </a:cubicBezTo>
                    <a:cubicBezTo>
                      <a:pt x="38351" y="102581"/>
                      <a:pt x="39956" y="102059"/>
                      <a:pt x="41358" y="102622"/>
                    </a:cubicBezTo>
                    <a:lnTo>
                      <a:pt x="54521" y="108147"/>
                    </a:lnTo>
                    <a:cubicBezTo>
                      <a:pt x="55939" y="108701"/>
                      <a:pt x="56746" y="110202"/>
                      <a:pt x="56426" y="111690"/>
                    </a:cubicBezTo>
                    <a:cubicBezTo>
                      <a:pt x="55798" y="114090"/>
                      <a:pt x="56426" y="119463"/>
                      <a:pt x="57417" y="12395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61" name="Freeform: Shape 60">
                <a:extLst>
                  <a:ext uri="{FF2B5EF4-FFF2-40B4-BE49-F238E27FC236}">
                    <a16:creationId xmlns:a16="http://schemas.microsoft.com/office/drawing/2014/main" id="{E2A672B4-DEEF-430F-845C-BD63335B0DD9}"/>
                  </a:ext>
                </a:extLst>
              </p:cNvPr>
              <p:cNvSpPr/>
              <p:nvPr/>
            </p:nvSpPr>
            <p:spPr>
              <a:xfrm>
                <a:off x="9662237" y="2614962"/>
                <a:ext cx="11285" cy="11791"/>
              </a:xfrm>
              <a:custGeom>
                <a:avLst/>
                <a:gdLst>
                  <a:gd name="connsiteX0" fmla="*/ 5570 w 11285"/>
                  <a:gd name="connsiteY0" fmla="*/ 11792 h 11791"/>
                  <a:gd name="connsiteX1" fmla="*/ 10 w 11285"/>
                  <a:gd name="connsiteY1" fmla="*/ 5561 h 11791"/>
                  <a:gd name="connsiteX2" fmla="*/ 5570 w 11285"/>
                  <a:gd name="connsiteY2" fmla="*/ 0 h 11791"/>
                  <a:gd name="connsiteX3" fmla="*/ 9380 w 11285"/>
                  <a:gd name="connsiteY3" fmla="*/ 1467 h 11791"/>
                  <a:gd name="connsiteX4" fmla="*/ 9380 w 11285"/>
                  <a:gd name="connsiteY4" fmla="*/ 1467 h 11791"/>
                  <a:gd name="connsiteX5" fmla="*/ 11285 w 11285"/>
                  <a:gd name="connsiteY5" fmla="*/ 5886 h 11791"/>
                  <a:gd name="connsiteX6" fmla="*/ 5570 w 11285"/>
                  <a:gd name="connsiteY6" fmla="*/ 11792 h 11791"/>
                  <a:gd name="connsiteX7" fmla="*/ 5342 w 11285"/>
                  <a:gd name="connsiteY7" fmla="*/ 6077 h 11791"/>
                  <a:gd name="connsiteX8" fmla="*/ 5799 w 11285"/>
                  <a:gd name="connsiteY8" fmla="*/ 6043 h 11791"/>
                  <a:gd name="connsiteX9" fmla="*/ 5875 w 11285"/>
                  <a:gd name="connsiteY9" fmla="*/ 5867 h 11791"/>
                  <a:gd name="connsiteX10" fmla="*/ 5247 w 11285"/>
                  <a:gd name="connsiteY10" fmla="*/ 5867 h 11791"/>
                  <a:gd name="connsiteX11" fmla="*/ 5342 w 11285"/>
                  <a:gd name="connsiteY11" fmla="*/ 6096 h 11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85" h="11791">
                    <a:moveTo>
                      <a:pt x="5570" y="11792"/>
                    </a:moveTo>
                    <a:cubicBezTo>
                      <a:pt x="2315" y="11607"/>
                      <a:pt x="-175" y="8817"/>
                      <a:pt x="10" y="5561"/>
                    </a:cubicBezTo>
                    <a:cubicBezTo>
                      <a:pt x="179" y="2563"/>
                      <a:pt x="2572" y="170"/>
                      <a:pt x="5570" y="0"/>
                    </a:cubicBezTo>
                    <a:cubicBezTo>
                      <a:pt x="6978" y="3"/>
                      <a:pt x="8335" y="525"/>
                      <a:pt x="9380" y="1467"/>
                    </a:cubicBezTo>
                    <a:lnTo>
                      <a:pt x="9380" y="1467"/>
                    </a:lnTo>
                    <a:cubicBezTo>
                      <a:pt x="10611" y="2606"/>
                      <a:pt x="11302" y="4211"/>
                      <a:pt x="11285" y="5886"/>
                    </a:cubicBezTo>
                    <a:cubicBezTo>
                      <a:pt x="11297" y="9079"/>
                      <a:pt x="8761" y="11699"/>
                      <a:pt x="5570" y="11792"/>
                    </a:cubicBezTo>
                    <a:close/>
                    <a:moveTo>
                      <a:pt x="5342" y="6077"/>
                    </a:moveTo>
                    <a:cubicBezTo>
                      <a:pt x="5477" y="6194"/>
                      <a:pt x="5681" y="6179"/>
                      <a:pt x="5799" y="6043"/>
                    </a:cubicBezTo>
                    <a:cubicBezTo>
                      <a:pt x="5841" y="5994"/>
                      <a:pt x="5868" y="5932"/>
                      <a:pt x="5875" y="5867"/>
                    </a:cubicBezTo>
                    <a:cubicBezTo>
                      <a:pt x="5875" y="5544"/>
                      <a:pt x="5247" y="5544"/>
                      <a:pt x="5247" y="5867"/>
                    </a:cubicBezTo>
                    <a:cubicBezTo>
                      <a:pt x="5239" y="5955"/>
                      <a:pt x="5275" y="6040"/>
                      <a:pt x="5342" y="609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62" name="Freeform: Shape 61">
                <a:extLst>
                  <a:ext uri="{FF2B5EF4-FFF2-40B4-BE49-F238E27FC236}">
                    <a16:creationId xmlns:a16="http://schemas.microsoft.com/office/drawing/2014/main" id="{7004B831-A089-FD9A-B8D3-32878D39649A}"/>
                  </a:ext>
                </a:extLst>
              </p:cNvPr>
              <p:cNvSpPr/>
              <p:nvPr/>
            </p:nvSpPr>
            <p:spPr>
              <a:xfrm>
                <a:off x="9531706" y="2614962"/>
                <a:ext cx="11370" cy="11791"/>
              </a:xfrm>
              <a:custGeom>
                <a:avLst/>
                <a:gdLst>
                  <a:gd name="connsiteX0" fmla="*/ 5800 w 11370"/>
                  <a:gd name="connsiteY0" fmla="*/ 11792 h 11791"/>
                  <a:gd name="connsiteX1" fmla="*/ 1 w 11370"/>
                  <a:gd name="connsiteY1" fmla="*/ 5781 h 11791"/>
                  <a:gd name="connsiteX2" fmla="*/ 1990 w 11370"/>
                  <a:gd name="connsiteY2" fmla="*/ 1467 h 11791"/>
                  <a:gd name="connsiteX3" fmla="*/ 1990 w 11370"/>
                  <a:gd name="connsiteY3" fmla="*/ 1467 h 11791"/>
                  <a:gd name="connsiteX4" fmla="*/ 5800 w 11370"/>
                  <a:gd name="connsiteY4" fmla="*/ 0 h 11791"/>
                  <a:gd name="connsiteX5" fmla="*/ 11360 w 11370"/>
                  <a:gd name="connsiteY5" fmla="*/ 6231 h 11791"/>
                  <a:gd name="connsiteX6" fmla="*/ 5800 w 11370"/>
                  <a:gd name="connsiteY6" fmla="*/ 11792 h 11791"/>
                  <a:gd name="connsiteX7" fmla="*/ 5628 w 11370"/>
                  <a:gd name="connsiteY7" fmla="*/ 5639 h 11791"/>
                  <a:gd name="connsiteX8" fmla="*/ 5495 w 11370"/>
                  <a:gd name="connsiteY8" fmla="*/ 5886 h 11791"/>
                  <a:gd name="connsiteX9" fmla="*/ 5792 w 11370"/>
                  <a:gd name="connsiteY9" fmla="*/ 6199 h 11791"/>
                  <a:gd name="connsiteX10" fmla="*/ 6028 w 11370"/>
                  <a:gd name="connsiteY10" fmla="*/ 6096 h 11791"/>
                  <a:gd name="connsiteX11" fmla="*/ 5628 w 11370"/>
                  <a:gd name="connsiteY11" fmla="*/ 5639 h 11791"/>
                  <a:gd name="connsiteX12" fmla="*/ 6028 w 11370"/>
                  <a:gd name="connsiteY12" fmla="*/ 6096 h 11791"/>
                  <a:gd name="connsiteX13" fmla="*/ 6028 w 11370"/>
                  <a:gd name="connsiteY13" fmla="*/ 5886 h 11791"/>
                  <a:gd name="connsiteX14" fmla="*/ 5628 w 11370"/>
                  <a:gd name="connsiteY14" fmla="*/ 5639 h 11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70" h="11791">
                    <a:moveTo>
                      <a:pt x="5800" y="11792"/>
                    </a:moveTo>
                    <a:cubicBezTo>
                      <a:pt x="2539" y="11733"/>
                      <a:pt x="-57" y="9043"/>
                      <a:pt x="1" y="5781"/>
                    </a:cubicBezTo>
                    <a:cubicBezTo>
                      <a:pt x="31" y="4128"/>
                      <a:pt x="752" y="2563"/>
                      <a:pt x="1990" y="1467"/>
                    </a:cubicBezTo>
                    <a:lnTo>
                      <a:pt x="1990" y="1467"/>
                    </a:lnTo>
                    <a:cubicBezTo>
                      <a:pt x="3036" y="525"/>
                      <a:pt x="4393" y="3"/>
                      <a:pt x="5800" y="0"/>
                    </a:cubicBezTo>
                    <a:cubicBezTo>
                      <a:pt x="9056" y="185"/>
                      <a:pt x="11546" y="2975"/>
                      <a:pt x="11360" y="6231"/>
                    </a:cubicBezTo>
                    <a:cubicBezTo>
                      <a:pt x="11190" y="9229"/>
                      <a:pt x="8797" y="11621"/>
                      <a:pt x="5800" y="11792"/>
                    </a:cubicBezTo>
                    <a:close/>
                    <a:moveTo>
                      <a:pt x="5628" y="5639"/>
                    </a:moveTo>
                    <a:cubicBezTo>
                      <a:pt x="5549" y="5697"/>
                      <a:pt x="5499" y="5788"/>
                      <a:pt x="5495" y="5886"/>
                    </a:cubicBezTo>
                    <a:cubicBezTo>
                      <a:pt x="5491" y="6055"/>
                      <a:pt x="5623" y="6195"/>
                      <a:pt x="5792" y="6199"/>
                    </a:cubicBezTo>
                    <a:cubicBezTo>
                      <a:pt x="5882" y="6202"/>
                      <a:pt x="5969" y="6164"/>
                      <a:pt x="6028" y="6096"/>
                    </a:cubicBezTo>
                    <a:close/>
                    <a:moveTo>
                      <a:pt x="5628" y="5639"/>
                    </a:moveTo>
                    <a:lnTo>
                      <a:pt x="6028" y="6096"/>
                    </a:lnTo>
                    <a:cubicBezTo>
                      <a:pt x="6057" y="6029"/>
                      <a:pt x="6057" y="5953"/>
                      <a:pt x="6028" y="5886"/>
                    </a:cubicBezTo>
                    <a:cubicBezTo>
                      <a:pt x="6181" y="5677"/>
                      <a:pt x="5819" y="5544"/>
                      <a:pt x="5628" y="563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63" name="Freeform: Shape 62">
                <a:extLst>
                  <a:ext uri="{FF2B5EF4-FFF2-40B4-BE49-F238E27FC236}">
                    <a16:creationId xmlns:a16="http://schemas.microsoft.com/office/drawing/2014/main" id="{D023A682-9BE2-B34D-E26C-D71A531C2E1A}"/>
                  </a:ext>
                </a:extLst>
              </p:cNvPr>
              <p:cNvSpPr/>
              <p:nvPr/>
            </p:nvSpPr>
            <p:spPr>
              <a:xfrm>
                <a:off x="9661869" y="2746521"/>
                <a:ext cx="11733" cy="11735"/>
              </a:xfrm>
              <a:custGeom>
                <a:avLst/>
                <a:gdLst>
                  <a:gd name="connsiteX0" fmla="*/ 5938 w 11733"/>
                  <a:gd name="connsiteY0" fmla="*/ 11735 h 11735"/>
                  <a:gd name="connsiteX1" fmla="*/ 0 w 11733"/>
                  <a:gd name="connsiteY1" fmla="*/ 5940 h 11735"/>
                  <a:gd name="connsiteX2" fmla="*/ 5795 w 11733"/>
                  <a:gd name="connsiteY2" fmla="*/ 0 h 11735"/>
                  <a:gd name="connsiteX3" fmla="*/ 11733 w 11733"/>
                  <a:gd name="connsiteY3" fmla="*/ 5797 h 11735"/>
                  <a:gd name="connsiteX4" fmla="*/ 9748 w 11733"/>
                  <a:gd name="connsiteY4" fmla="*/ 10268 h 11735"/>
                  <a:gd name="connsiteX5" fmla="*/ 9748 w 11733"/>
                  <a:gd name="connsiteY5" fmla="*/ 10268 h 11735"/>
                  <a:gd name="connsiteX6" fmla="*/ 5938 w 11733"/>
                  <a:gd name="connsiteY6" fmla="*/ 11735 h 11735"/>
                  <a:gd name="connsiteX7" fmla="*/ 5710 w 11733"/>
                  <a:gd name="connsiteY7" fmla="*/ 5639 h 11735"/>
                  <a:gd name="connsiteX8" fmla="*/ 5710 w 11733"/>
                  <a:gd name="connsiteY8" fmla="*/ 5849 h 11735"/>
                  <a:gd name="connsiteX9" fmla="*/ 6338 w 11733"/>
                  <a:gd name="connsiteY9" fmla="*/ 5849 h 11735"/>
                  <a:gd name="connsiteX10" fmla="*/ 6129 w 11733"/>
                  <a:gd name="connsiteY10" fmla="*/ 5430 h 11735"/>
                  <a:gd name="connsiteX11" fmla="*/ 5710 w 11733"/>
                  <a:gd name="connsiteY11" fmla="*/ 5639 h 1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3" h="11735">
                    <a:moveTo>
                      <a:pt x="5938" y="11735"/>
                    </a:moveTo>
                    <a:cubicBezTo>
                      <a:pt x="2698" y="11775"/>
                      <a:pt x="39" y="9181"/>
                      <a:pt x="0" y="5940"/>
                    </a:cubicBezTo>
                    <a:cubicBezTo>
                      <a:pt x="-40" y="2700"/>
                      <a:pt x="2555" y="40"/>
                      <a:pt x="5795" y="0"/>
                    </a:cubicBezTo>
                    <a:cubicBezTo>
                      <a:pt x="9036" y="-38"/>
                      <a:pt x="11695" y="2557"/>
                      <a:pt x="11733" y="5797"/>
                    </a:cubicBezTo>
                    <a:cubicBezTo>
                      <a:pt x="11754" y="7506"/>
                      <a:pt x="11030" y="9139"/>
                      <a:pt x="9748" y="10268"/>
                    </a:cubicBezTo>
                    <a:lnTo>
                      <a:pt x="9748" y="10268"/>
                    </a:lnTo>
                    <a:cubicBezTo>
                      <a:pt x="8702" y="11209"/>
                      <a:pt x="7346" y="11731"/>
                      <a:pt x="5938" y="11735"/>
                    </a:cubicBezTo>
                    <a:close/>
                    <a:moveTo>
                      <a:pt x="5710" y="5639"/>
                    </a:moveTo>
                    <a:cubicBezTo>
                      <a:pt x="5679" y="5706"/>
                      <a:pt x="5679" y="5782"/>
                      <a:pt x="5710" y="5849"/>
                    </a:cubicBezTo>
                    <a:cubicBezTo>
                      <a:pt x="5710" y="6173"/>
                      <a:pt x="6338" y="6173"/>
                      <a:pt x="6338" y="5849"/>
                    </a:cubicBezTo>
                    <a:cubicBezTo>
                      <a:pt x="6396" y="5675"/>
                      <a:pt x="6302" y="5487"/>
                      <a:pt x="6129" y="5430"/>
                    </a:cubicBezTo>
                    <a:cubicBezTo>
                      <a:pt x="5955" y="5373"/>
                      <a:pt x="5767" y="5466"/>
                      <a:pt x="5710" y="563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54" name="Freeform: Shape 1253">
                <a:extLst>
                  <a:ext uri="{FF2B5EF4-FFF2-40B4-BE49-F238E27FC236}">
                    <a16:creationId xmlns:a16="http://schemas.microsoft.com/office/drawing/2014/main" id="{6DD16AAB-D52E-D622-1A12-A9ABD0AF36CA}"/>
                  </a:ext>
                </a:extLst>
              </p:cNvPr>
              <p:cNvSpPr/>
              <p:nvPr/>
            </p:nvSpPr>
            <p:spPr>
              <a:xfrm>
                <a:off x="9531721" y="2746560"/>
                <a:ext cx="11696" cy="11697"/>
              </a:xfrm>
              <a:custGeom>
                <a:avLst/>
                <a:gdLst>
                  <a:gd name="connsiteX0" fmla="*/ 5784 w 11696"/>
                  <a:gd name="connsiteY0" fmla="*/ 11697 h 11697"/>
                  <a:gd name="connsiteX1" fmla="*/ 1974 w 11696"/>
                  <a:gd name="connsiteY1" fmla="*/ 10230 h 11697"/>
                  <a:gd name="connsiteX2" fmla="*/ 1974 w 11696"/>
                  <a:gd name="connsiteY2" fmla="*/ 10230 h 11697"/>
                  <a:gd name="connsiteX3" fmla="*/ 1467 w 11696"/>
                  <a:gd name="connsiteY3" fmla="*/ 1976 h 11697"/>
                  <a:gd name="connsiteX4" fmla="*/ 9723 w 11696"/>
                  <a:gd name="connsiteY4" fmla="*/ 1467 h 11697"/>
                  <a:gd name="connsiteX5" fmla="*/ 10230 w 11696"/>
                  <a:gd name="connsiteY5" fmla="*/ 9723 h 11697"/>
                  <a:gd name="connsiteX6" fmla="*/ 5784 w 11696"/>
                  <a:gd name="connsiteY6" fmla="*/ 11697 h 11697"/>
                  <a:gd name="connsiteX7" fmla="*/ 5613 w 11696"/>
                  <a:gd name="connsiteY7" fmla="*/ 5982 h 11697"/>
                  <a:gd name="connsiteX8" fmla="*/ 6075 w 11696"/>
                  <a:gd name="connsiteY8" fmla="*/ 5835 h 11697"/>
                  <a:gd name="connsiteX9" fmla="*/ 6108 w 11696"/>
                  <a:gd name="connsiteY9" fmla="*/ 5734 h 11697"/>
                  <a:gd name="connsiteX10" fmla="*/ 6108 w 11696"/>
                  <a:gd name="connsiteY10" fmla="*/ 5525 h 11697"/>
                  <a:gd name="connsiteX11" fmla="*/ 5784 w 11696"/>
                  <a:gd name="connsiteY11" fmla="*/ 5448 h 11697"/>
                  <a:gd name="connsiteX12" fmla="*/ 5480 w 11696"/>
                  <a:gd name="connsiteY12" fmla="*/ 5734 h 11697"/>
                  <a:gd name="connsiteX13" fmla="*/ 5613 w 11696"/>
                  <a:gd name="connsiteY13" fmla="*/ 5982 h 11697"/>
                  <a:gd name="connsiteX14" fmla="*/ 6013 w 11696"/>
                  <a:gd name="connsiteY14" fmla="*/ 5525 h 11697"/>
                  <a:gd name="connsiteX15" fmla="*/ 5784 w 11696"/>
                  <a:gd name="connsiteY15" fmla="*/ 5525 h 1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96" h="11697">
                    <a:moveTo>
                      <a:pt x="5784" y="11697"/>
                    </a:moveTo>
                    <a:cubicBezTo>
                      <a:pt x="4377" y="11693"/>
                      <a:pt x="3020" y="11171"/>
                      <a:pt x="1974" y="10230"/>
                    </a:cubicBezTo>
                    <a:lnTo>
                      <a:pt x="1974" y="10230"/>
                    </a:lnTo>
                    <a:cubicBezTo>
                      <a:pt x="-445" y="8091"/>
                      <a:pt x="-672" y="4395"/>
                      <a:pt x="1467" y="1976"/>
                    </a:cubicBezTo>
                    <a:cubicBezTo>
                      <a:pt x="3607" y="-446"/>
                      <a:pt x="7303" y="-672"/>
                      <a:pt x="9723" y="1467"/>
                    </a:cubicBezTo>
                    <a:cubicBezTo>
                      <a:pt x="12142" y="3608"/>
                      <a:pt x="12369" y="7304"/>
                      <a:pt x="10230" y="9723"/>
                    </a:cubicBezTo>
                    <a:cubicBezTo>
                      <a:pt x="9105" y="10996"/>
                      <a:pt x="7482" y="11716"/>
                      <a:pt x="5784" y="11697"/>
                    </a:cubicBezTo>
                    <a:close/>
                    <a:moveTo>
                      <a:pt x="5613" y="5982"/>
                    </a:moveTo>
                    <a:cubicBezTo>
                      <a:pt x="5781" y="6069"/>
                      <a:pt x="5988" y="6003"/>
                      <a:pt x="6075" y="5835"/>
                    </a:cubicBezTo>
                    <a:cubicBezTo>
                      <a:pt x="6091" y="5803"/>
                      <a:pt x="6102" y="5768"/>
                      <a:pt x="6108" y="5734"/>
                    </a:cubicBezTo>
                    <a:cubicBezTo>
                      <a:pt x="6139" y="5668"/>
                      <a:pt x="6139" y="5591"/>
                      <a:pt x="6108" y="5525"/>
                    </a:cubicBezTo>
                    <a:close/>
                    <a:moveTo>
                      <a:pt x="5784" y="5448"/>
                    </a:moveTo>
                    <a:cubicBezTo>
                      <a:pt x="5623" y="5448"/>
                      <a:pt x="5490" y="5574"/>
                      <a:pt x="5480" y="5734"/>
                    </a:cubicBezTo>
                    <a:cubicBezTo>
                      <a:pt x="5484" y="5833"/>
                      <a:pt x="5533" y="5925"/>
                      <a:pt x="5613" y="5982"/>
                    </a:cubicBezTo>
                    <a:lnTo>
                      <a:pt x="6013" y="5525"/>
                    </a:lnTo>
                    <a:cubicBezTo>
                      <a:pt x="5940" y="5494"/>
                      <a:pt x="5858" y="5494"/>
                      <a:pt x="5784" y="5525"/>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56" name="Freeform: Shape 1255">
                <a:extLst>
                  <a:ext uri="{FF2B5EF4-FFF2-40B4-BE49-F238E27FC236}">
                    <a16:creationId xmlns:a16="http://schemas.microsoft.com/office/drawing/2014/main" id="{940B54B2-DC4F-7379-29E9-248878898A78}"/>
                  </a:ext>
                </a:extLst>
              </p:cNvPr>
              <p:cNvSpPr/>
              <p:nvPr/>
            </p:nvSpPr>
            <p:spPr>
              <a:xfrm>
                <a:off x="9514112" y="2597246"/>
                <a:ext cx="177088" cy="178727"/>
              </a:xfrm>
              <a:custGeom>
                <a:avLst/>
                <a:gdLst>
                  <a:gd name="connsiteX0" fmla="*/ 151295 w 177088"/>
                  <a:gd name="connsiteY0" fmla="*/ 178727 h 178727"/>
                  <a:gd name="connsiteX1" fmla="*/ 25794 w 177088"/>
                  <a:gd name="connsiteY1" fmla="*/ 178727 h 178727"/>
                  <a:gd name="connsiteX2" fmla="*/ 23603 w 177088"/>
                  <a:gd name="connsiteY2" fmla="*/ 177813 h 178727"/>
                  <a:gd name="connsiteX3" fmla="*/ 914 w 177088"/>
                  <a:gd name="connsiteY3" fmla="*/ 155181 h 178727"/>
                  <a:gd name="connsiteX4" fmla="*/ 0 w 177088"/>
                  <a:gd name="connsiteY4" fmla="*/ 152991 h 178727"/>
                  <a:gd name="connsiteX5" fmla="*/ 0 w 177088"/>
                  <a:gd name="connsiteY5" fmla="*/ 25737 h 178727"/>
                  <a:gd name="connsiteX6" fmla="*/ 914 w 177088"/>
                  <a:gd name="connsiteY6" fmla="*/ 23546 h 178727"/>
                  <a:gd name="connsiteX7" fmla="*/ 23603 w 177088"/>
                  <a:gd name="connsiteY7" fmla="*/ 914 h 178727"/>
                  <a:gd name="connsiteX8" fmla="*/ 25794 w 177088"/>
                  <a:gd name="connsiteY8" fmla="*/ 0 h 178727"/>
                  <a:gd name="connsiteX9" fmla="*/ 151295 w 177088"/>
                  <a:gd name="connsiteY9" fmla="*/ 0 h 178727"/>
                  <a:gd name="connsiteX10" fmla="*/ 153486 w 177088"/>
                  <a:gd name="connsiteY10" fmla="*/ 914 h 178727"/>
                  <a:gd name="connsiteX11" fmla="*/ 176174 w 177088"/>
                  <a:gd name="connsiteY11" fmla="*/ 23546 h 178727"/>
                  <a:gd name="connsiteX12" fmla="*/ 177089 w 177088"/>
                  <a:gd name="connsiteY12" fmla="*/ 25737 h 178727"/>
                  <a:gd name="connsiteX13" fmla="*/ 177089 w 177088"/>
                  <a:gd name="connsiteY13" fmla="*/ 152991 h 178727"/>
                  <a:gd name="connsiteX14" fmla="*/ 176174 w 177088"/>
                  <a:gd name="connsiteY14" fmla="*/ 155181 h 178727"/>
                  <a:gd name="connsiteX15" fmla="*/ 153543 w 177088"/>
                  <a:gd name="connsiteY15" fmla="*/ 177813 h 178727"/>
                  <a:gd name="connsiteX16" fmla="*/ 151295 w 177088"/>
                  <a:gd name="connsiteY16" fmla="*/ 178727 h 178727"/>
                  <a:gd name="connsiteX17" fmla="*/ 27070 w 177088"/>
                  <a:gd name="connsiteY17" fmla="*/ 172536 h 178727"/>
                  <a:gd name="connsiteX18" fmla="*/ 150019 w 177088"/>
                  <a:gd name="connsiteY18" fmla="*/ 172536 h 178727"/>
                  <a:gd name="connsiteX19" fmla="*/ 170840 w 177088"/>
                  <a:gd name="connsiteY19" fmla="*/ 151714 h 178727"/>
                  <a:gd name="connsiteX20" fmla="*/ 170840 w 177088"/>
                  <a:gd name="connsiteY20" fmla="*/ 27013 h 178727"/>
                  <a:gd name="connsiteX21" fmla="*/ 150019 w 177088"/>
                  <a:gd name="connsiteY21" fmla="*/ 6191 h 178727"/>
                  <a:gd name="connsiteX22" fmla="*/ 27070 w 177088"/>
                  <a:gd name="connsiteY22" fmla="*/ 6191 h 178727"/>
                  <a:gd name="connsiteX23" fmla="*/ 6248 w 177088"/>
                  <a:gd name="connsiteY23" fmla="*/ 27013 h 178727"/>
                  <a:gd name="connsiteX24" fmla="*/ 6248 w 177088"/>
                  <a:gd name="connsiteY24" fmla="*/ 151714 h 1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7088" h="178727">
                    <a:moveTo>
                      <a:pt x="151295" y="178727"/>
                    </a:moveTo>
                    <a:lnTo>
                      <a:pt x="25794" y="178727"/>
                    </a:lnTo>
                    <a:cubicBezTo>
                      <a:pt x="24970" y="178731"/>
                      <a:pt x="24180" y="178401"/>
                      <a:pt x="23603" y="177813"/>
                    </a:cubicBezTo>
                    <a:lnTo>
                      <a:pt x="914" y="155181"/>
                    </a:lnTo>
                    <a:cubicBezTo>
                      <a:pt x="326" y="154604"/>
                      <a:pt x="-4" y="153814"/>
                      <a:pt x="0" y="152991"/>
                    </a:cubicBezTo>
                    <a:lnTo>
                      <a:pt x="0" y="25737"/>
                    </a:lnTo>
                    <a:cubicBezTo>
                      <a:pt x="-4" y="24913"/>
                      <a:pt x="326" y="24122"/>
                      <a:pt x="914" y="23546"/>
                    </a:cubicBezTo>
                    <a:lnTo>
                      <a:pt x="23603" y="914"/>
                    </a:lnTo>
                    <a:cubicBezTo>
                      <a:pt x="24180" y="326"/>
                      <a:pt x="24970" y="-4"/>
                      <a:pt x="25794" y="0"/>
                    </a:cubicBezTo>
                    <a:lnTo>
                      <a:pt x="151295" y="0"/>
                    </a:lnTo>
                    <a:cubicBezTo>
                      <a:pt x="152118" y="-4"/>
                      <a:pt x="152909" y="326"/>
                      <a:pt x="153486" y="914"/>
                    </a:cubicBezTo>
                    <a:lnTo>
                      <a:pt x="176174" y="23546"/>
                    </a:lnTo>
                    <a:cubicBezTo>
                      <a:pt x="176763" y="24122"/>
                      <a:pt x="177093" y="24913"/>
                      <a:pt x="177089" y="25737"/>
                    </a:cubicBezTo>
                    <a:lnTo>
                      <a:pt x="177089" y="152991"/>
                    </a:lnTo>
                    <a:cubicBezTo>
                      <a:pt x="177093" y="153814"/>
                      <a:pt x="176763" y="154604"/>
                      <a:pt x="176174" y="155181"/>
                    </a:cubicBezTo>
                    <a:lnTo>
                      <a:pt x="153543" y="177813"/>
                    </a:lnTo>
                    <a:cubicBezTo>
                      <a:pt x="152952" y="178415"/>
                      <a:pt x="152139" y="178746"/>
                      <a:pt x="151295" y="178727"/>
                    </a:cubicBezTo>
                    <a:close/>
                    <a:moveTo>
                      <a:pt x="27070" y="172536"/>
                    </a:moveTo>
                    <a:lnTo>
                      <a:pt x="150019" y="172536"/>
                    </a:lnTo>
                    <a:lnTo>
                      <a:pt x="170840" y="151714"/>
                    </a:lnTo>
                    <a:lnTo>
                      <a:pt x="170840" y="27013"/>
                    </a:lnTo>
                    <a:lnTo>
                      <a:pt x="150019" y="6191"/>
                    </a:lnTo>
                    <a:lnTo>
                      <a:pt x="27070" y="6191"/>
                    </a:lnTo>
                    <a:lnTo>
                      <a:pt x="6248" y="27013"/>
                    </a:lnTo>
                    <a:lnTo>
                      <a:pt x="6248" y="15171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66" name="Freeform: Shape 1265">
                <a:extLst>
                  <a:ext uri="{FF2B5EF4-FFF2-40B4-BE49-F238E27FC236}">
                    <a16:creationId xmlns:a16="http://schemas.microsoft.com/office/drawing/2014/main" id="{391E6334-87F2-3972-8B50-AE1F4B989330}"/>
                  </a:ext>
                </a:extLst>
              </p:cNvPr>
              <p:cNvSpPr/>
              <p:nvPr/>
            </p:nvSpPr>
            <p:spPr>
              <a:xfrm>
                <a:off x="9599570"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68" name="Freeform: Shape 1267">
                <a:extLst>
                  <a:ext uri="{FF2B5EF4-FFF2-40B4-BE49-F238E27FC236}">
                    <a16:creationId xmlns:a16="http://schemas.microsoft.com/office/drawing/2014/main" id="{F28B4468-C40E-F2BD-84CC-74F3832430EE}"/>
                  </a:ext>
                </a:extLst>
              </p:cNvPr>
              <p:cNvSpPr/>
              <p:nvPr/>
            </p:nvSpPr>
            <p:spPr>
              <a:xfrm>
                <a:off x="9669465"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269" name="Freeform: Shape 1268">
                <a:extLst>
                  <a:ext uri="{FF2B5EF4-FFF2-40B4-BE49-F238E27FC236}">
                    <a16:creationId xmlns:a16="http://schemas.microsoft.com/office/drawing/2014/main" id="{C98A441A-0BFF-4C40-6481-D8D3B68CD1D3}"/>
                  </a:ext>
                </a:extLst>
              </p:cNvPr>
              <p:cNvSpPr/>
              <p:nvPr/>
            </p:nvSpPr>
            <p:spPr>
              <a:xfrm>
                <a:off x="9529657"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2" name="Freeform: Shape 831">
                <a:extLst>
                  <a:ext uri="{FF2B5EF4-FFF2-40B4-BE49-F238E27FC236}">
                    <a16:creationId xmlns:a16="http://schemas.microsoft.com/office/drawing/2014/main" id="{85A5E4B3-0B80-2D2B-7938-E97AFDA36118}"/>
                  </a:ext>
                </a:extLst>
              </p:cNvPr>
              <p:cNvSpPr/>
              <p:nvPr/>
            </p:nvSpPr>
            <p:spPr>
              <a:xfrm>
                <a:off x="9552955"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3" name="Freeform: Shape 832">
                <a:extLst>
                  <a:ext uri="{FF2B5EF4-FFF2-40B4-BE49-F238E27FC236}">
                    <a16:creationId xmlns:a16="http://schemas.microsoft.com/office/drawing/2014/main" id="{9CEF821B-1750-9D48-7CA7-334C685D5DE9}"/>
                  </a:ext>
                </a:extLst>
              </p:cNvPr>
              <p:cNvSpPr/>
              <p:nvPr/>
            </p:nvSpPr>
            <p:spPr>
              <a:xfrm>
                <a:off x="9576253"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4" name="Freeform: Shape 833">
                <a:extLst>
                  <a:ext uri="{FF2B5EF4-FFF2-40B4-BE49-F238E27FC236}">
                    <a16:creationId xmlns:a16="http://schemas.microsoft.com/office/drawing/2014/main" id="{92AD64BF-06A6-B378-A6FC-5ADB0A6C290F}"/>
                  </a:ext>
                </a:extLst>
              </p:cNvPr>
              <p:cNvSpPr/>
              <p:nvPr/>
            </p:nvSpPr>
            <p:spPr>
              <a:xfrm>
                <a:off x="9622869"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5" name="Freeform: Shape 834">
                <a:extLst>
                  <a:ext uri="{FF2B5EF4-FFF2-40B4-BE49-F238E27FC236}">
                    <a16:creationId xmlns:a16="http://schemas.microsoft.com/office/drawing/2014/main" id="{8D4EB91C-697E-C7FF-26F3-D740E8DDFE71}"/>
                  </a:ext>
                </a:extLst>
              </p:cNvPr>
              <p:cNvSpPr/>
              <p:nvPr/>
            </p:nvSpPr>
            <p:spPr>
              <a:xfrm>
                <a:off x="9646167" y="2569757"/>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6" name="Freeform: Shape 835">
                <a:extLst>
                  <a:ext uri="{FF2B5EF4-FFF2-40B4-BE49-F238E27FC236}">
                    <a16:creationId xmlns:a16="http://schemas.microsoft.com/office/drawing/2014/main" id="{0FFFC867-C2EF-398A-B1A8-E2BA1F3C1F3B}"/>
                  </a:ext>
                </a:extLst>
              </p:cNvPr>
              <p:cNvSpPr/>
              <p:nvPr/>
            </p:nvSpPr>
            <p:spPr>
              <a:xfrm>
                <a:off x="9486985" y="2683523"/>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7" name="Freeform: Shape 836">
                <a:extLst>
                  <a:ext uri="{FF2B5EF4-FFF2-40B4-BE49-F238E27FC236}">
                    <a16:creationId xmlns:a16="http://schemas.microsoft.com/office/drawing/2014/main" id="{A12C436E-03AD-4D76-AFD8-067BC4F8B573}"/>
                  </a:ext>
                </a:extLst>
              </p:cNvPr>
              <p:cNvSpPr/>
              <p:nvPr/>
            </p:nvSpPr>
            <p:spPr>
              <a:xfrm>
                <a:off x="9486985" y="2612905"/>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8" name="Freeform: Shape 837">
                <a:extLst>
                  <a:ext uri="{FF2B5EF4-FFF2-40B4-BE49-F238E27FC236}">
                    <a16:creationId xmlns:a16="http://schemas.microsoft.com/office/drawing/2014/main" id="{7A96D9E9-C810-2155-5D03-948771AF68B5}"/>
                  </a:ext>
                </a:extLst>
              </p:cNvPr>
              <p:cNvSpPr/>
              <p:nvPr/>
            </p:nvSpPr>
            <p:spPr>
              <a:xfrm>
                <a:off x="9486985" y="2754142"/>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39" name="Freeform: Shape 838">
                <a:extLst>
                  <a:ext uri="{FF2B5EF4-FFF2-40B4-BE49-F238E27FC236}">
                    <a16:creationId xmlns:a16="http://schemas.microsoft.com/office/drawing/2014/main" id="{85AD40D5-C80D-2FBE-1E33-DD480F84FDBB}"/>
                  </a:ext>
                </a:extLst>
              </p:cNvPr>
              <p:cNvSpPr/>
              <p:nvPr/>
            </p:nvSpPr>
            <p:spPr>
              <a:xfrm>
                <a:off x="9486985" y="2730596"/>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0" name="Freeform: Shape 839">
                <a:extLst>
                  <a:ext uri="{FF2B5EF4-FFF2-40B4-BE49-F238E27FC236}">
                    <a16:creationId xmlns:a16="http://schemas.microsoft.com/office/drawing/2014/main" id="{25AA0756-FAC6-C3C4-63FC-45F26BCD1C3A}"/>
                  </a:ext>
                </a:extLst>
              </p:cNvPr>
              <p:cNvSpPr/>
              <p:nvPr/>
            </p:nvSpPr>
            <p:spPr>
              <a:xfrm>
                <a:off x="9486985" y="2707050"/>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1" name="Freeform: Shape 840">
                <a:extLst>
                  <a:ext uri="{FF2B5EF4-FFF2-40B4-BE49-F238E27FC236}">
                    <a16:creationId xmlns:a16="http://schemas.microsoft.com/office/drawing/2014/main" id="{A9CF8872-C686-7A89-963E-1A3DA2801732}"/>
                  </a:ext>
                </a:extLst>
              </p:cNvPr>
              <p:cNvSpPr/>
              <p:nvPr/>
            </p:nvSpPr>
            <p:spPr>
              <a:xfrm>
                <a:off x="9486985" y="2659978"/>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2" name="Freeform: Shape 841">
                <a:extLst>
                  <a:ext uri="{FF2B5EF4-FFF2-40B4-BE49-F238E27FC236}">
                    <a16:creationId xmlns:a16="http://schemas.microsoft.com/office/drawing/2014/main" id="{F59C9A40-F250-A473-CFD9-B860886654B7}"/>
                  </a:ext>
                </a:extLst>
              </p:cNvPr>
              <p:cNvSpPr/>
              <p:nvPr/>
            </p:nvSpPr>
            <p:spPr>
              <a:xfrm>
                <a:off x="9486985" y="2636432"/>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3" name="Freeform: Shape 842">
                <a:extLst>
                  <a:ext uri="{FF2B5EF4-FFF2-40B4-BE49-F238E27FC236}">
                    <a16:creationId xmlns:a16="http://schemas.microsoft.com/office/drawing/2014/main" id="{3FECCC95-6EF1-5DC7-90F4-D0713E29AF97}"/>
                  </a:ext>
                </a:extLst>
              </p:cNvPr>
              <p:cNvSpPr/>
              <p:nvPr/>
            </p:nvSpPr>
            <p:spPr>
              <a:xfrm>
                <a:off x="9599570"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4" name="Freeform: Shape 843">
                <a:extLst>
                  <a:ext uri="{FF2B5EF4-FFF2-40B4-BE49-F238E27FC236}">
                    <a16:creationId xmlns:a16="http://schemas.microsoft.com/office/drawing/2014/main" id="{C3A5D3D3-3AF3-91BC-1BAB-F435D078968C}"/>
                  </a:ext>
                </a:extLst>
              </p:cNvPr>
              <p:cNvSpPr/>
              <p:nvPr/>
            </p:nvSpPr>
            <p:spPr>
              <a:xfrm>
                <a:off x="9529657"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5" name="Freeform: Shape 844">
                <a:extLst>
                  <a:ext uri="{FF2B5EF4-FFF2-40B4-BE49-F238E27FC236}">
                    <a16:creationId xmlns:a16="http://schemas.microsoft.com/office/drawing/2014/main" id="{80378DC2-8DF7-F1B0-7A4F-35D0D5EA5824}"/>
                  </a:ext>
                </a:extLst>
              </p:cNvPr>
              <p:cNvSpPr/>
              <p:nvPr/>
            </p:nvSpPr>
            <p:spPr>
              <a:xfrm>
                <a:off x="9669465"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6" name="Freeform: Shape 845">
                <a:extLst>
                  <a:ext uri="{FF2B5EF4-FFF2-40B4-BE49-F238E27FC236}">
                    <a16:creationId xmlns:a16="http://schemas.microsoft.com/office/drawing/2014/main" id="{4CEAA3C4-E8FD-58FD-74E8-CFF16A4A7404}"/>
                  </a:ext>
                </a:extLst>
              </p:cNvPr>
              <p:cNvSpPr/>
              <p:nvPr/>
            </p:nvSpPr>
            <p:spPr>
              <a:xfrm>
                <a:off x="9646167"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7" name="Freeform: Shape 846">
                <a:extLst>
                  <a:ext uri="{FF2B5EF4-FFF2-40B4-BE49-F238E27FC236}">
                    <a16:creationId xmlns:a16="http://schemas.microsoft.com/office/drawing/2014/main" id="{88919EEE-B557-3E93-9731-05659032C4CD}"/>
                  </a:ext>
                </a:extLst>
              </p:cNvPr>
              <p:cNvSpPr/>
              <p:nvPr/>
            </p:nvSpPr>
            <p:spPr>
              <a:xfrm>
                <a:off x="9622869"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8" name="Freeform: Shape 847">
                <a:extLst>
                  <a:ext uri="{FF2B5EF4-FFF2-40B4-BE49-F238E27FC236}">
                    <a16:creationId xmlns:a16="http://schemas.microsoft.com/office/drawing/2014/main" id="{06E7A378-7C0E-357F-6EF6-AA6CC926FE42}"/>
                  </a:ext>
                </a:extLst>
              </p:cNvPr>
              <p:cNvSpPr/>
              <p:nvPr/>
            </p:nvSpPr>
            <p:spPr>
              <a:xfrm>
                <a:off x="9576272"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49" name="Freeform: Shape 848">
                <a:extLst>
                  <a:ext uri="{FF2B5EF4-FFF2-40B4-BE49-F238E27FC236}">
                    <a16:creationId xmlns:a16="http://schemas.microsoft.com/office/drawing/2014/main" id="{AAB0DD72-DA0F-368B-35ED-919B93616B72}"/>
                  </a:ext>
                </a:extLst>
              </p:cNvPr>
              <p:cNvSpPr/>
              <p:nvPr/>
            </p:nvSpPr>
            <p:spPr>
              <a:xfrm>
                <a:off x="9552955" y="2781078"/>
                <a:ext cx="6191" cy="22383"/>
              </a:xfrm>
              <a:custGeom>
                <a:avLst/>
                <a:gdLst>
                  <a:gd name="connsiteX0" fmla="*/ 0 w 6191"/>
                  <a:gd name="connsiteY0" fmla="*/ 0 h 22383"/>
                  <a:gd name="connsiteX1" fmla="*/ 6191 w 6191"/>
                  <a:gd name="connsiteY1" fmla="*/ 0 h 22383"/>
                  <a:gd name="connsiteX2" fmla="*/ 6191 w 6191"/>
                  <a:gd name="connsiteY2" fmla="*/ 22384 h 22383"/>
                  <a:gd name="connsiteX3" fmla="*/ 0 w 6191"/>
                  <a:gd name="connsiteY3" fmla="*/ 22384 h 22383"/>
                </a:gdLst>
                <a:ahLst/>
                <a:cxnLst>
                  <a:cxn ang="0">
                    <a:pos x="connsiteX0" y="connsiteY0"/>
                  </a:cxn>
                  <a:cxn ang="0">
                    <a:pos x="connsiteX1" y="connsiteY1"/>
                  </a:cxn>
                  <a:cxn ang="0">
                    <a:pos x="connsiteX2" y="connsiteY2"/>
                  </a:cxn>
                  <a:cxn ang="0">
                    <a:pos x="connsiteX3" y="connsiteY3"/>
                  </a:cxn>
                </a:cxnLst>
                <a:rect l="l" t="t" r="r" b="b"/>
                <a:pathLst>
                  <a:path w="6191" h="22383">
                    <a:moveTo>
                      <a:pt x="0" y="0"/>
                    </a:moveTo>
                    <a:lnTo>
                      <a:pt x="6191" y="0"/>
                    </a:lnTo>
                    <a:lnTo>
                      <a:pt x="6191" y="22384"/>
                    </a:lnTo>
                    <a:lnTo>
                      <a:pt x="0" y="2238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0" name="Freeform: Shape 849">
                <a:extLst>
                  <a:ext uri="{FF2B5EF4-FFF2-40B4-BE49-F238E27FC236}">
                    <a16:creationId xmlns:a16="http://schemas.microsoft.com/office/drawing/2014/main" id="{5498BB7E-AAE6-61DF-873D-38F7396F3767}"/>
                  </a:ext>
                </a:extLst>
              </p:cNvPr>
              <p:cNvSpPr/>
              <p:nvPr/>
            </p:nvSpPr>
            <p:spPr>
              <a:xfrm>
                <a:off x="9696173" y="2683523"/>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1" name="Freeform: Shape 850">
                <a:extLst>
                  <a:ext uri="{FF2B5EF4-FFF2-40B4-BE49-F238E27FC236}">
                    <a16:creationId xmlns:a16="http://schemas.microsoft.com/office/drawing/2014/main" id="{05B2B219-1AC2-FB62-E181-DC51020DB7BC}"/>
                  </a:ext>
                </a:extLst>
              </p:cNvPr>
              <p:cNvSpPr/>
              <p:nvPr/>
            </p:nvSpPr>
            <p:spPr>
              <a:xfrm>
                <a:off x="9696173" y="2754142"/>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2" name="Freeform: Shape 851">
                <a:extLst>
                  <a:ext uri="{FF2B5EF4-FFF2-40B4-BE49-F238E27FC236}">
                    <a16:creationId xmlns:a16="http://schemas.microsoft.com/office/drawing/2014/main" id="{6A871E92-B582-03A2-6747-FC3B2B8953F5}"/>
                  </a:ext>
                </a:extLst>
              </p:cNvPr>
              <p:cNvSpPr/>
              <p:nvPr/>
            </p:nvSpPr>
            <p:spPr>
              <a:xfrm>
                <a:off x="9696173" y="2612905"/>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3" name="Freeform: Shape 852">
                <a:extLst>
                  <a:ext uri="{FF2B5EF4-FFF2-40B4-BE49-F238E27FC236}">
                    <a16:creationId xmlns:a16="http://schemas.microsoft.com/office/drawing/2014/main" id="{9FB4B503-9C28-C7C1-33D1-68BD4CA0679A}"/>
                  </a:ext>
                </a:extLst>
              </p:cNvPr>
              <p:cNvSpPr/>
              <p:nvPr/>
            </p:nvSpPr>
            <p:spPr>
              <a:xfrm>
                <a:off x="9696173" y="2636432"/>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4" name="Freeform: Shape 853">
                <a:extLst>
                  <a:ext uri="{FF2B5EF4-FFF2-40B4-BE49-F238E27FC236}">
                    <a16:creationId xmlns:a16="http://schemas.microsoft.com/office/drawing/2014/main" id="{2594A217-7B85-957F-FCE8-FA616510BA9D}"/>
                  </a:ext>
                </a:extLst>
              </p:cNvPr>
              <p:cNvSpPr/>
              <p:nvPr/>
            </p:nvSpPr>
            <p:spPr>
              <a:xfrm>
                <a:off x="9696173" y="2659978"/>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5" name="Freeform: Shape 854">
                <a:extLst>
                  <a:ext uri="{FF2B5EF4-FFF2-40B4-BE49-F238E27FC236}">
                    <a16:creationId xmlns:a16="http://schemas.microsoft.com/office/drawing/2014/main" id="{CAAFA4BB-1F7A-1B9D-DC7A-AF6D00C51013}"/>
                  </a:ext>
                </a:extLst>
              </p:cNvPr>
              <p:cNvSpPr/>
              <p:nvPr/>
            </p:nvSpPr>
            <p:spPr>
              <a:xfrm>
                <a:off x="9696173" y="2707050"/>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856" name="Freeform: Shape 855">
                <a:extLst>
                  <a:ext uri="{FF2B5EF4-FFF2-40B4-BE49-F238E27FC236}">
                    <a16:creationId xmlns:a16="http://schemas.microsoft.com/office/drawing/2014/main" id="{D2398EC8-754C-0D56-0F2F-03EE6E260588}"/>
                  </a:ext>
                </a:extLst>
              </p:cNvPr>
              <p:cNvSpPr/>
              <p:nvPr/>
            </p:nvSpPr>
            <p:spPr>
              <a:xfrm>
                <a:off x="9696173" y="2730596"/>
                <a:ext cx="22155" cy="6191"/>
              </a:xfrm>
              <a:custGeom>
                <a:avLst/>
                <a:gdLst>
                  <a:gd name="connsiteX0" fmla="*/ 0 w 22155"/>
                  <a:gd name="connsiteY0" fmla="*/ 0 h 6191"/>
                  <a:gd name="connsiteX1" fmla="*/ 22155 w 22155"/>
                  <a:gd name="connsiteY1" fmla="*/ 0 h 6191"/>
                  <a:gd name="connsiteX2" fmla="*/ 22155 w 22155"/>
                  <a:gd name="connsiteY2" fmla="*/ 6191 h 6191"/>
                  <a:gd name="connsiteX3" fmla="*/ 0 w 22155"/>
                  <a:gd name="connsiteY3" fmla="*/ 6191 h 6191"/>
                </a:gdLst>
                <a:ahLst/>
                <a:cxnLst>
                  <a:cxn ang="0">
                    <a:pos x="connsiteX0" y="connsiteY0"/>
                  </a:cxn>
                  <a:cxn ang="0">
                    <a:pos x="connsiteX1" y="connsiteY1"/>
                  </a:cxn>
                  <a:cxn ang="0">
                    <a:pos x="connsiteX2" y="connsiteY2"/>
                  </a:cxn>
                  <a:cxn ang="0">
                    <a:pos x="connsiteX3" y="connsiteY3"/>
                  </a:cxn>
                </a:cxnLst>
                <a:rect l="l" t="t" r="r" b="b"/>
                <a:pathLst>
                  <a:path w="22155" h="6191">
                    <a:moveTo>
                      <a:pt x="0" y="0"/>
                    </a:moveTo>
                    <a:lnTo>
                      <a:pt x="22155" y="0"/>
                    </a:lnTo>
                    <a:lnTo>
                      <a:pt x="22155"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pic>
          <p:nvPicPr>
            <p:cNvPr id="56" name="Graphic 55">
              <a:extLst>
                <a:ext uri="{FF2B5EF4-FFF2-40B4-BE49-F238E27FC236}">
                  <a16:creationId xmlns:a16="http://schemas.microsoft.com/office/drawing/2014/main" id="{9C77D270-C87D-AB42-5718-6F01315A6E15}"/>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8460" y="3350691"/>
              <a:ext cx="274320" cy="321557"/>
            </a:xfrm>
            <a:prstGeom prst="rect">
              <a:avLst/>
            </a:prstGeom>
          </p:spPr>
        </p:pic>
      </p:grpSp>
      <p:grpSp>
        <p:nvGrpSpPr>
          <p:cNvPr id="1329" name="Group 1328">
            <a:extLst>
              <a:ext uri="{FF2B5EF4-FFF2-40B4-BE49-F238E27FC236}">
                <a16:creationId xmlns:a16="http://schemas.microsoft.com/office/drawing/2014/main" id="{CBA08A0D-8804-91AB-B1A8-AEA13F688F3F}"/>
              </a:ext>
            </a:extLst>
          </p:cNvPr>
          <p:cNvGrpSpPr/>
          <p:nvPr/>
        </p:nvGrpSpPr>
        <p:grpSpPr>
          <a:xfrm>
            <a:off x="2375307" y="2527475"/>
            <a:ext cx="234307" cy="234549"/>
            <a:chOff x="2412983" y="2717664"/>
            <a:chExt cx="241477" cy="241615"/>
          </a:xfrm>
          <a:solidFill>
            <a:srgbClr val="FF0000"/>
          </a:solidFill>
        </p:grpSpPr>
        <p:sp>
          <p:nvSpPr>
            <p:cNvPr id="1330" name="Freeform: Shape 1329">
              <a:extLst>
                <a:ext uri="{FF2B5EF4-FFF2-40B4-BE49-F238E27FC236}">
                  <a16:creationId xmlns:a16="http://schemas.microsoft.com/office/drawing/2014/main" id="{9EBA8E23-C429-25FC-44D0-7AF766482CA5}"/>
                </a:ext>
              </a:extLst>
            </p:cNvPr>
            <p:cNvSpPr/>
            <p:nvPr/>
          </p:nvSpPr>
          <p:spPr>
            <a:xfrm>
              <a:off x="2518596" y="2929104"/>
              <a:ext cx="30175" cy="30175"/>
            </a:xfrm>
            <a:custGeom>
              <a:avLst/>
              <a:gdLst>
                <a:gd name="connsiteX0" fmla="*/ 30175 w 30175"/>
                <a:gd name="connsiteY0" fmla="*/ 30175 h 30175"/>
                <a:gd name="connsiteX1" fmla="*/ 0 w 30175"/>
                <a:gd name="connsiteY1" fmla="*/ 30175 h 30175"/>
                <a:gd name="connsiteX2" fmla="*/ 0 w 30175"/>
                <a:gd name="connsiteY2" fmla="*/ 0 h 30175"/>
                <a:gd name="connsiteX3" fmla="*/ 30175 w 30175"/>
                <a:gd name="connsiteY3" fmla="*/ 0 h 30175"/>
                <a:gd name="connsiteX4" fmla="*/ 10058 w 30175"/>
                <a:gd name="connsiteY4" fmla="*/ 20015 h 30175"/>
                <a:gd name="connsiteX5" fmla="*/ 20218 w 30175"/>
                <a:gd name="connsiteY5" fmla="*/ 20015 h 30175"/>
                <a:gd name="connsiteX6" fmla="*/ 20218 w 30175"/>
                <a:gd name="connsiteY6" fmla="*/ 9855 h 30175"/>
                <a:gd name="connsiteX7" fmla="*/ 10008 w 30175"/>
                <a:gd name="connsiteY7" fmla="*/ 985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75" h="30175">
                  <a:moveTo>
                    <a:pt x="30175" y="30175"/>
                  </a:moveTo>
                  <a:lnTo>
                    <a:pt x="0" y="30175"/>
                  </a:lnTo>
                  <a:lnTo>
                    <a:pt x="0" y="0"/>
                  </a:lnTo>
                  <a:lnTo>
                    <a:pt x="30175" y="0"/>
                  </a:lnTo>
                  <a:close/>
                  <a:moveTo>
                    <a:pt x="10058" y="20015"/>
                  </a:moveTo>
                  <a:lnTo>
                    <a:pt x="20218" y="20015"/>
                  </a:lnTo>
                  <a:lnTo>
                    <a:pt x="20218" y="9855"/>
                  </a:lnTo>
                  <a:lnTo>
                    <a:pt x="10008" y="985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1" name="Freeform: Shape 1330">
              <a:extLst>
                <a:ext uri="{FF2B5EF4-FFF2-40B4-BE49-F238E27FC236}">
                  <a16:creationId xmlns:a16="http://schemas.microsoft.com/office/drawing/2014/main" id="{AC81FFFE-A0D9-3D43-17E0-DFBCFAA8B63E}"/>
                </a:ext>
              </a:extLst>
            </p:cNvPr>
            <p:cNvSpPr/>
            <p:nvPr/>
          </p:nvSpPr>
          <p:spPr>
            <a:xfrm>
              <a:off x="2573917" y="2929104"/>
              <a:ext cx="30175" cy="30175"/>
            </a:xfrm>
            <a:custGeom>
              <a:avLst/>
              <a:gdLst>
                <a:gd name="connsiteX0" fmla="*/ 30175 w 30175"/>
                <a:gd name="connsiteY0" fmla="*/ 30175 h 30175"/>
                <a:gd name="connsiteX1" fmla="*/ 0 w 30175"/>
                <a:gd name="connsiteY1" fmla="*/ 30175 h 30175"/>
                <a:gd name="connsiteX2" fmla="*/ 0 w 30175"/>
                <a:gd name="connsiteY2" fmla="*/ 0 h 30175"/>
                <a:gd name="connsiteX3" fmla="*/ 30175 w 30175"/>
                <a:gd name="connsiteY3" fmla="*/ 0 h 30175"/>
                <a:gd name="connsiteX4" fmla="*/ 10058 w 30175"/>
                <a:gd name="connsiteY4" fmla="*/ 20015 h 30175"/>
                <a:gd name="connsiteX5" fmla="*/ 20218 w 30175"/>
                <a:gd name="connsiteY5" fmla="*/ 20015 h 30175"/>
                <a:gd name="connsiteX6" fmla="*/ 20218 w 30175"/>
                <a:gd name="connsiteY6" fmla="*/ 9855 h 30175"/>
                <a:gd name="connsiteX7" fmla="*/ 10058 w 30175"/>
                <a:gd name="connsiteY7" fmla="*/ 985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75" h="30175">
                  <a:moveTo>
                    <a:pt x="30175" y="30175"/>
                  </a:moveTo>
                  <a:lnTo>
                    <a:pt x="0" y="30175"/>
                  </a:lnTo>
                  <a:lnTo>
                    <a:pt x="0" y="0"/>
                  </a:lnTo>
                  <a:lnTo>
                    <a:pt x="30175" y="0"/>
                  </a:lnTo>
                  <a:close/>
                  <a:moveTo>
                    <a:pt x="10058" y="20015"/>
                  </a:moveTo>
                  <a:lnTo>
                    <a:pt x="20218" y="20015"/>
                  </a:lnTo>
                  <a:lnTo>
                    <a:pt x="20218" y="9855"/>
                  </a:lnTo>
                  <a:lnTo>
                    <a:pt x="10058" y="985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2" name="Freeform: Shape 1331">
              <a:extLst>
                <a:ext uri="{FF2B5EF4-FFF2-40B4-BE49-F238E27FC236}">
                  <a16:creationId xmlns:a16="http://schemas.microsoft.com/office/drawing/2014/main" id="{E29BA1EA-623A-9540-077A-B9234D0E81ED}"/>
                </a:ext>
              </a:extLst>
            </p:cNvPr>
            <p:cNvSpPr/>
            <p:nvPr/>
          </p:nvSpPr>
          <p:spPr>
            <a:xfrm>
              <a:off x="2624209" y="2878812"/>
              <a:ext cx="30175" cy="30175"/>
            </a:xfrm>
            <a:custGeom>
              <a:avLst/>
              <a:gdLst>
                <a:gd name="connsiteX0" fmla="*/ 30175 w 30175"/>
                <a:gd name="connsiteY0" fmla="*/ 30175 h 30175"/>
                <a:gd name="connsiteX1" fmla="*/ 0 w 30175"/>
                <a:gd name="connsiteY1" fmla="*/ 30175 h 30175"/>
                <a:gd name="connsiteX2" fmla="*/ 0 w 30175"/>
                <a:gd name="connsiteY2" fmla="*/ 0 h 30175"/>
                <a:gd name="connsiteX3" fmla="*/ 30175 w 30175"/>
                <a:gd name="connsiteY3" fmla="*/ 0 h 30175"/>
                <a:gd name="connsiteX4" fmla="*/ 10058 w 30175"/>
                <a:gd name="connsiteY4" fmla="*/ 20015 h 30175"/>
                <a:gd name="connsiteX5" fmla="*/ 20218 w 30175"/>
                <a:gd name="connsiteY5" fmla="*/ 20015 h 30175"/>
                <a:gd name="connsiteX6" fmla="*/ 20218 w 30175"/>
                <a:gd name="connsiteY6" fmla="*/ 9855 h 30175"/>
                <a:gd name="connsiteX7" fmla="*/ 10058 w 30175"/>
                <a:gd name="connsiteY7" fmla="*/ 985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75" h="30175">
                  <a:moveTo>
                    <a:pt x="30175" y="30175"/>
                  </a:moveTo>
                  <a:lnTo>
                    <a:pt x="0" y="30175"/>
                  </a:lnTo>
                  <a:lnTo>
                    <a:pt x="0" y="0"/>
                  </a:lnTo>
                  <a:lnTo>
                    <a:pt x="30175" y="0"/>
                  </a:lnTo>
                  <a:close/>
                  <a:moveTo>
                    <a:pt x="10058" y="20015"/>
                  </a:moveTo>
                  <a:lnTo>
                    <a:pt x="20218" y="20015"/>
                  </a:lnTo>
                  <a:lnTo>
                    <a:pt x="20218" y="9855"/>
                  </a:lnTo>
                  <a:lnTo>
                    <a:pt x="10058" y="985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3" name="Freeform: Shape 1332">
              <a:extLst>
                <a:ext uri="{FF2B5EF4-FFF2-40B4-BE49-F238E27FC236}">
                  <a16:creationId xmlns:a16="http://schemas.microsoft.com/office/drawing/2014/main" id="{3A4EED73-3EF9-1803-0726-7DAD782CD629}"/>
                </a:ext>
              </a:extLst>
            </p:cNvPr>
            <p:cNvSpPr/>
            <p:nvPr/>
          </p:nvSpPr>
          <p:spPr>
            <a:xfrm>
              <a:off x="2528654" y="2843608"/>
              <a:ext cx="10058" cy="90525"/>
            </a:xfrm>
            <a:custGeom>
              <a:avLst/>
              <a:gdLst>
                <a:gd name="connsiteX0" fmla="*/ 0 w 10058"/>
                <a:gd name="connsiteY0" fmla="*/ 0 h 90525"/>
                <a:gd name="connsiteX1" fmla="*/ 10058 w 10058"/>
                <a:gd name="connsiteY1" fmla="*/ 0 h 90525"/>
                <a:gd name="connsiteX2" fmla="*/ 10058 w 10058"/>
                <a:gd name="connsiteY2" fmla="*/ 90526 h 90525"/>
                <a:gd name="connsiteX3" fmla="*/ 0 w 10058"/>
                <a:gd name="connsiteY3" fmla="*/ 90526 h 90525"/>
              </a:gdLst>
              <a:ahLst/>
              <a:cxnLst>
                <a:cxn ang="0">
                  <a:pos x="connsiteX0" y="connsiteY0"/>
                </a:cxn>
                <a:cxn ang="0">
                  <a:pos x="connsiteX1" y="connsiteY1"/>
                </a:cxn>
                <a:cxn ang="0">
                  <a:pos x="connsiteX2" y="connsiteY2"/>
                </a:cxn>
                <a:cxn ang="0">
                  <a:pos x="connsiteX3" y="connsiteY3"/>
                </a:cxn>
              </a:cxnLst>
              <a:rect l="l" t="t" r="r" b="b"/>
              <a:pathLst>
                <a:path w="10058" h="90525">
                  <a:moveTo>
                    <a:pt x="0" y="0"/>
                  </a:moveTo>
                  <a:lnTo>
                    <a:pt x="10058" y="0"/>
                  </a:lnTo>
                  <a:lnTo>
                    <a:pt x="10058" y="90526"/>
                  </a:lnTo>
                  <a:lnTo>
                    <a:pt x="0" y="90526"/>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4" name="Freeform: Shape 1333">
              <a:extLst>
                <a:ext uri="{FF2B5EF4-FFF2-40B4-BE49-F238E27FC236}">
                  <a16:creationId xmlns:a16="http://schemas.microsoft.com/office/drawing/2014/main" id="{1FB9A2F5-138A-BE3C-6A44-C49633E3AAE6}"/>
                </a:ext>
              </a:extLst>
            </p:cNvPr>
            <p:cNvSpPr/>
            <p:nvPr/>
          </p:nvSpPr>
          <p:spPr>
            <a:xfrm>
              <a:off x="2463275" y="2818462"/>
              <a:ext cx="140817" cy="30175"/>
            </a:xfrm>
            <a:custGeom>
              <a:avLst/>
              <a:gdLst>
                <a:gd name="connsiteX0" fmla="*/ 140818 w 140817"/>
                <a:gd name="connsiteY0" fmla="*/ 30175 h 30175"/>
                <a:gd name="connsiteX1" fmla="*/ 0 w 140817"/>
                <a:gd name="connsiteY1" fmla="*/ 30175 h 30175"/>
                <a:gd name="connsiteX2" fmla="*/ 0 w 140817"/>
                <a:gd name="connsiteY2" fmla="*/ 0 h 30175"/>
                <a:gd name="connsiteX3" fmla="*/ 10058 w 140817"/>
                <a:gd name="connsiteY3" fmla="*/ 0 h 30175"/>
                <a:gd name="connsiteX4" fmla="*/ 10058 w 140817"/>
                <a:gd name="connsiteY4" fmla="*/ 20117 h 30175"/>
                <a:gd name="connsiteX5" fmla="*/ 130759 w 140817"/>
                <a:gd name="connsiteY5" fmla="*/ 20117 h 30175"/>
                <a:gd name="connsiteX6" fmla="*/ 130759 w 140817"/>
                <a:gd name="connsiteY6" fmla="*/ 0 h 30175"/>
                <a:gd name="connsiteX7" fmla="*/ 140818 w 140817"/>
                <a:gd name="connsiteY7" fmla="*/ 0 h 30175"/>
                <a:gd name="connsiteX8" fmla="*/ 140818 w 140817"/>
                <a:gd name="connsiteY8" fmla="*/ 3017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17" h="30175">
                  <a:moveTo>
                    <a:pt x="140818" y="30175"/>
                  </a:moveTo>
                  <a:lnTo>
                    <a:pt x="0" y="30175"/>
                  </a:lnTo>
                  <a:lnTo>
                    <a:pt x="0" y="0"/>
                  </a:lnTo>
                  <a:lnTo>
                    <a:pt x="10058" y="0"/>
                  </a:lnTo>
                  <a:lnTo>
                    <a:pt x="10058" y="20117"/>
                  </a:lnTo>
                  <a:lnTo>
                    <a:pt x="130759" y="20117"/>
                  </a:lnTo>
                  <a:lnTo>
                    <a:pt x="130759" y="0"/>
                  </a:lnTo>
                  <a:lnTo>
                    <a:pt x="140818" y="0"/>
                  </a:lnTo>
                  <a:lnTo>
                    <a:pt x="140818" y="3017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5" name="Freeform: Shape 1334">
              <a:extLst>
                <a:ext uri="{FF2B5EF4-FFF2-40B4-BE49-F238E27FC236}">
                  <a16:creationId xmlns:a16="http://schemas.microsoft.com/office/drawing/2014/main" id="{F8ACD9E8-9F50-F18B-C425-234C06A120C3}"/>
                </a:ext>
              </a:extLst>
            </p:cNvPr>
            <p:cNvSpPr/>
            <p:nvPr/>
          </p:nvSpPr>
          <p:spPr>
            <a:xfrm>
              <a:off x="2503508" y="2818462"/>
              <a:ext cx="60350" cy="10058"/>
            </a:xfrm>
            <a:custGeom>
              <a:avLst/>
              <a:gdLst>
                <a:gd name="connsiteX0" fmla="*/ 0 w 60350"/>
                <a:gd name="connsiteY0" fmla="*/ 0 h 10058"/>
                <a:gd name="connsiteX1" fmla="*/ 60350 w 60350"/>
                <a:gd name="connsiteY1" fmla="*/ 0 h 10058"/>
                <a:gd name="connsiteX2" fmla="*/ 60350 w 60350"/>
                <a:gd name="connsiteY2" fmla="*/ 10058 h 10058"/>
                <a:gd name="connsiteX3" fmla="*/ 0 w 60350"/>
                <a:gd name="connsiteY3" fmla="*/ 10058 h 10058"/>
              </a:gdLst>
              <a:ahLst/>
              <a:cxnLst>
                <a:cxn ang="0">
                  <a:pos x="connsiteX0" y="connsiteY0"/>
                </a:cxn>
                <a:cxn ang="0">
                  <a:pos x="connsiteX1" y="connsiteY1"/>
                </a:cxn>
                <a:cxn ang="0">
                  <a:pos x="connsiteX2" y="connsiteY2"/>
                </a:cxn>
                <a:cxn ang="0">
                  <a:pos x="connsiteX3" y="connsiteY3"/>
                </a:cxn>
              </a:cxnLst>
              <a:rect l="l" t="t" r="r" b="b"/>
              <a:pathLst>
                <a:path w="60350" h="10058">
                  <a:moveTo>
                    <a:pt x="0" y="0"/>
                  </a:moveTo>
                  <a:lnTo>
                    <a:pt x="60350" y="0"/>
                  </a:lnTo>
                  <a:lnTo>
                    <a:pt x="60350" y="10058"/>
                  </a:lnTo>
                  <a:lnTo>
                    <a:pt x="0" y="10058"/>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6" name="Freeform: Shape 1335">
              <a:extLst>
                <a:ext uri="{FF2B5EF4-FFF2-40B4-BE49-F238E27FC236}">
                  <a16:creationId xmlns:a16="http://schemas.microsoft.com/office/drawing/2014/main" id="{E5A990D3-512F-C434-76E3-02EB79A99BC4}"/>
                </a:ext>
              </a:extLst>
            </p:cNvPr>
            <p:cNvSpPr/>
            <p:nvPr/>
          </p:nvSpPr>
          <p:spPr>
            <a:xfrm>
              <a:off x="2548771" y="2843608"/>
              <a:ext cx="45262" cy="90525"/>
            </a:xfrm>
            <a:custGeom>
              <a:avLst/>
              <a:gdLst>
                <a:gd name="connsiteX0" fmla="*/ 45263 w 45262"/>
                <a:gd name="connsiteY0" fmla="*/ 90526 h 90525"/>
                <a:gd name="connsiteX1" fmla="*/ 35204 w 45262"/>
                <a:gd name="connsiteY1" fmla="*/ 90526 h 90525"/>
                <a:gd name="connsiteX2" fmla="*/ 35204 w 45262"/>
                <a:gd name="connsiteY2" fmla="*/ 75438 h 90525"/>
                <a:gd name="connsiteX3" fmla="*/ 0 w 45262"/>
                <a:gd name="connsiteY3" fmla="*/ 75438 h 90525"/>
                <a:gd name="connsiteX4" fmla="*/ 0 w 45262"/>
                <a:gd name="connsiteY4" fmla="*/ 0 h 90525"/>
                <a:gd name="connsiteX5" fmla="*/ 10058 w 45262"/>
                <a:gd name="connsiteY5" fmla="*/ 0 h 90525"/>
                <a:gd name="connsiteX6" fmla="*/ 10058 w 45262"/>
                <a:gd name="connsiteY6" fmla="*/ 65380 h 90525"/>
                <a:gd name="connsiteX7" fmla="*/ 45263 w 45262"/>
                <a:gd name="connsiteY7" fmla="*/ 65380 h 90525"/>
                <a:gd name="connsiteX8" fmla="*/ 45263 w 45262"/>
                <a:gd name="connsiteY8" fmla="*/ 90526 h 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62" h="90525">
                  <a:moveTo>
                    <a:pt x="45263" y="90526"/>
                  </a:moveTo>
                  <a:lnTo>
                    <a:pt x="35204" y="90526"/>
                  </a:lnTo>
                  <a:lnTo>
                    <a:pt x="35204" y="75438"/>
                  </a:lnTo>
                  <a:lnTo>
                    <a:pt x="0" y="75438"/>
                  </a:lnTo>
                  <a:lnTo>
                    <a:pt x="0" y="0"/>
                  </a:lnTo>
                  <a:lnTo>
                    <a:pt x="10058" y="0"/>
                  </a:lnTo>
                  <a:lnTo>
                    <a:pt x="10058" y="65380"/>
                  </a:lnTo>
                  <a:lnTo>
                    <a:pt x="45263" y="65380"/>
                  </a:lnTo>
                  <a:lnTo>
                    <a:pt x="45263" y="90526"/>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7" name="Freeform: Shape 1336">
              <a:extLst>
                <a:ext uri="{FF2B5EF4-FFF2-40B4-BE49-F238E27FC236}">
                  <a16:creationId xmlns:a16="http://schemas.microsoft.com/office/drawing/2014/main" id="{2DB59604-20A0-4437-036C-0AF2C74F6DFE}"/>
                </a:ext>
              </a:extLst>
            </p:cNvPr>
            <p:cNvSpPr/>
            <p:nvPr/>
          </p:nvSpPr>
          <p:spPr>
            <a:xfrm>
              <a:off x="2568888" y="2843608"/>
              <a:ext cx="60350" cy="55321"/>
            </a:xfrm>
            <a:custGeom>
              <a:avLst/>
              <a:gdLst>
                <a:gd name="connsiteX0" fmla="*/ 60350 w 60350"/>
                <a:gd name="connsiteY0" fmla="*/ 55321 h 55321"/>
                <a:gd name="connsiteX1" fmla="*/ 0 w 60350"/>
                <a:gd name="connsiteY1" fmla="*/ 55321 h 55321"/>
                <a:gd name="connsiteX2" fmla="*/ 0 w 60350"/>
                <a:gd name="connsiteY2" fmla="*/ 0 h 55321"/>
                <a:gd name="connsiteX3" fmla="*/ 10058 w 60350"/>
                <a:gd name="connsiteY3" fmla="*/ 0 h 55321"/>
                <a:gd name="connsiteX4" fmla="*/ 10058 w 60350"/>
                <a:gd name="connsiteY4" fmla="*/ 45263 h 55321"/>
                <a:gd name="connsiteX5" fmla="*/ 60350 w 60350"/>
                <a:gd name="connsiteY5" fmla="*/ 45263 h 55321"/>
                <a:gd name="connsiteX6" fmla="*/ 60350 w 60350"/>
                <a:gd name="connsiteY6" fmla="*/ 55321 h 5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50" h="55321">
                  <a:moveTo>
                    <a:pt x="60350" y="55321"/>
                  </a:moveTo>
                  <a:lnTo>
                    <a:pt x="0" y="55321"/>
                  </a:lnTo>
                  <a:lnTo>
                    <a:pt x="0" y="0"/>
                  </a:lnTo>
                  <a:lnTo>
                    <a:pt x="10058" y="0"/>
                  </a:lnTo>
                  <a:lnTo>
                    <a:pt x="10058" y="45263"/>
                  </a:lnTo>
                  <a:lnTo>
                    <a:pt x="60350" y="45263"/>
                  </a:lnTo>
                  <a:lnTo>
                    <a:pt x="60350" y="55321"/>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8" name="Freeform: Shape 1337">
              <a:extLst>
                <a:ext uri="{FF2B5EF4-FFF2-40B4-BE49-F238E27FC236}">
                  <a16:creationId xmlns:a16="http://schemas.microsoft.com/office/drawing/2014/main" id="{A135036C-E113-D2D4-2359-40E3D991FB61}"/>
                </a:ext>
              </a:extLst>
            </p:cNvPr>
            <p:cNvSpPr/>
            <p:nvPr/>
          </p:nvSpPr>
          <p:spPr>
            <a:xfrm>
              <a:off x="2463275" y="2929104"/>
              <a:ext cx="30175" cy="30175"/>
            </a:xfrm>
            <a:custGeom>
              <a:avLst/>
              <a:gdLst>
                <a:gd name="connsiteX0" fmla="*/ 30175 w 30175"/>
                <a:gd name="connsiteY0" fmla="*/ 30175 h 30175"/>
                <a:gd name="connsiteX1" fmla="*/ 0 w 30175"/>
                <a:gd name="connsiteY1" fmla="*/ 30175 h 30175"/>
                <a:gd name="connsiteX2" fmla="*/ 0 w 30175"/>
                <a:gd name="connsiteY2" fmla="*/ 0 h 30175"/>
                <a:gd name="connsiteX3" fmla="*/ 30175 w 30175"/>
                <a:gd name="connsiteY3" fmla="*/ 0 h 30175"/>
                <a:gd name="connsiteX4" fmla="*/ 10058 w 30175"/>
                <a:gd name="connsiteY4" fmla="*/ 20015 h 30175"/>
                <a:gd name="connsiteX5" fmla="*/ 20218 w 30175"/>
                <a:gd name="connsiteY5" fmla="*/ 20015 h 30175"/>
                <a:gd name="connsiteX6" fmla="*/ 20218 w 30175"/>
                <a:gd name="connsiteY6" fmla="*/ 9855 h 30175"/>
                <a:gd name="connsiteX7" fmla="*/ 10058 w 30175"/>
                <a:gd name="connsiteY7" fmla="*/ 985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75" h="30175">
                  <a:moveTo>
                    <a:pt x="30175" y="30175"/>
                  </a:moveTo>
                  <a:lnTo>
                    <a:pt x="0" y="30175"/>
                  </a:lnTo>
                  <a:lnTo>
                    <a:pt x="0" y="0"/>
                  </a:lnTo>
                  <a:lnTo>
                    <a:pt x="30175" y="0"/>
                  </a:lnTo>
                  <a:close/>
                  <a:moveTo>
                    <a:pt x="10058" y="20015"/>
                  </a:moveTo>
                  <a:lnTo>
                    <a:pt x="20218" y="20015"/>
                  </a:lnTo>
                  <a:lnTo>
                    <a:pt x="20218" y="9855"/>
                  </a:lnTo>
                  <a:lnTo>
                    <a:pt x="10058" y="985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39" name="Freeform: Shape 1338">
              <a:extLst>
                <a:ext uri="{FF2B5EF4-FFF2-40B4-BE49-F238E27FC236}">
                  <a16:creationId xmlns:a16="http://schemas.microsoft.com/office/drawing/2014/main" id="{60498DA2-0155-2A39-6305-BCBC9E42A841}"/>
                </a:ext>
              </a:extLst>
            </p:cNvPr>
            <p:cNvSpPr/>
            <p:nvPr/>
          </p:nvSpPr>
          <p:spPr>
            <a:xfrm>
              <a:off x="2412983" y="2878812"/>
              <a:ext cx="30175" cy="30175"/>
            </a:xfrm>
            <a:custGeom>
              <a:avLst/>
              <a:gdLst>
                <a:gd name="connsiteX0" fmla="*/ 30175 w 30175"/>
                <a:gd name="connsiteY0" fmla="*/ 30175 h 30175"/>
                <a:gd name="connsiteX1" fmla="*/ 0 w 30175"/>
                <a:gd name="connsiteY1" fmla="*/ 30175 h 30175"/>
                <a:gd name="connsiteX2" fmla="*/ 0 w 30175"/>
                <a:gd name="connsiteY2" fmla="*/ 0 h 30175"/>
                <a:gd name="connsiteX3" fmla="*/ 30175 w 30175"/>
                <a:gd name="connsiteY3" fmla="*/ 0 h 30175"/>
                <a:gd name="connsiteX4" fmla="*/ 10058 w 30175"/>
                <a:gd name="connsiteY4" fmla="*/ 20015 h 30175"/>
                <a:gd name="connsiteX5" fmla="*/ 20218 w 30175"/>
                <a:gd name="connsiteY5" fmla="*/ 20015 h 30175"/>
                <a:gd name="connsiteX6" fmla="*/ 20218 w 30175"/>
                <a:gd name="connsiteY6" fmla="*/ 9855 h 30175"/>
                <a:gd name="connsiteX7" fmla="*/ 10058 w 30175"/>
                <a:gd name="connsiteY7" fmla="*/ 9855 h 3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75" h="30175">
                  <a:moveTo>
                    <a:pt x="30175" y="30175"/>
                  </a:moveTo>
                  <a:lnTo>
                    <a:pt x="0" y="30175"/>
                  </a:lnTo>
                  <a:lnTo>
                    <a:pt x="0" y="0"/>
                  </a:lnTo>
                  <a:lnTo>
                    <a:pt x="30175" y="0"/>
                  </a:lnTo>
                  <a:close/>
                  <a:moveTo>
                    <a:pt x="10058" y="20015"/>
                  </a:moveTo>
                  <a:lnTo>
                    <a:pt x="20218" y="20015"/>
                  </a:lnTo>
                  <a:lnTo>
                    <a:pt x="20218" y="9855"/>
                  </a:lnTo>
                  <a:lnTo>
                    <a:pt x="10058" y="9855"/>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0" name="Freeform: Shape 1339">
              <a:extLst>
                <a:ext uri="{FF2B5EF4-FFF2-40B4-BE49-F238E27FC236}">
                  <a16:creationId xmlns:a16="http://schemas.microsoft.com/office/drawing/2014/main" id="{DA413120-0F77-1EB1-356C-93F01AB28C6B}"/>
                </a:ext>
              </a:extLst>
            </p:cNvPr>
            <p:cNvSpPr/>
            <p:nvPr/>
          </p:nvSpPr>
          <p:spPr>
            <a:xfrm>
              <a:off x="2473333" y="2843608"/>
              <a:ext cx="45262" cy="90525"/>
            </a:xfrm>
            <a:custGeom>
              <a:avLst/>
              <a:gdLst>
                <a:gd name="connsiteX0" fmla="*/ 10058 w 45262"/>
                <a:gd name="connsiteY0" fmla="*/ 90526 h 90525"/>
                <a:gd name="connsiteX1" fmla="*/ 0 w 45262"/>
                <a:gd name="connsiteY1" fmla="*/ 90526 h 90525"/>
                <a:gd name="connsiteX2" fmla="*/ 0 w 45262"/>
                <a:gd name="connsiteY2" fmla="*/ 65380 h 90525"/>
                <a:gd name="connsiteX3" fmla="*/ 35204 w 45262"/>
                <a:gd name="connsiteY3" fmla="*/ 65380 h 90525"/>
                <a:gd name="connsiteX4" fmla="*/ 35204 w 45262"/>
                <a:gd name="connsiteY4" fmla="*/ 0 h 90525"/>
                <a:gd name="connsiteX5" fmla="*/ 45263 w 45262"/>
                <a:gd name="connsiteY5" fmla="*/ 0 h 90525"/>
                <a:gd name="connsiteX6" fmla="*/ 45263 w 45262"/>
                <a:gd name="connsiteY6" fmla="*/ 75438 h 90525"/>
                <a:gd name="connsiteX7" fmla="*/ 10058 w 45262"/>
                <a:gd name="connsiteY7" fmla="*/ 75438 h 90525"/>
                <a:gd name="connsiteX8" fmla="*/ 10058 w 45262"/>
                <a:gd name="connsiteY8" fmla="*/ 90526 h 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62" h="90525">
                  <a:moveTo>
                    <a:pt x="10058" y="90526"/>
                  </a:moveTo>
                  <a:lnTo>
                    <a:pt x="0" y="90526"/>
                  </a:lnTo>
                  <a:lnTo>
                    <a:pt x="0" y="65380"/>
                  </a:lnTo>
                  <a:lnTo>
                    <a:pt x="35204" y="65380"/>
                  </a:lnTo>
                  <a:lnTo>
                    <a:pt x="35204" y="0"/>
                  </a:lnTo>
                  <a:lnTo>
                    <a:pt x="45263" y="0"/>
                  </a:lnTo>
                  <a:lnTo>
                    <a:pt x="45263" y="75438"/>
                  </a:lnTo>
                  <a:lnTo>
                    <a:pt x="10058" y="75438"/>
                  </a:lnTo>
                  <a:lnTo>
                    <a:pt x="10058" y="90526"/>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1" name="Freeform: Shape 1340">
              <a:extLst>
                <a:ext uri="{FF2B5EF4-FFF2-40B4-BE49-F238E27FC236}">
                  <a16:creationId xmlns:a16="http://schemas.microsoft.com/office/drawing/2014/main" id="{E65E7D38-BA01-96A6-CD8A-EEC63D326F56}"/>
                </a:ext>
              </a:extLst>
            </p:cNvPr>
            <p:cNvSpPr/>
            <p:nvPr/>
          </p:nvSpPr>
          <p:spPr>
            <a:xfrm>
              <a:off x="2438129" y="2843608"/>
              <a:ext cx="60350" cy="55321"/>
            </a:xfrm>
            <a:custGeom>
              <a:avLst/>
              <a:gdLst>
                <a:gd name="connsiteX0" fmla="*/ 60350 w 60350"/>
                <a:gd name="connsiteY0" fmla="*/ 55321 h 55321"/>
                <a:gd name="connsiteX1" fmla="*/ 0 w 60350"/>
                <a:gd name="connsiteY1" fmla="*/ 55321 h 55321"/>
                <a:gd name="connsiteX2" fmla="*/ 0 w 60350"/>
                <a:gd name="connsiteY2" fmla="*/ 45263 h 55321"/>
                <a:gd name="connsiteX3" fmla="*/ 50292 w 60350"/>
                <a:gd name="connsiteY3" fmla="*/ 45263 h 55321"/>
                <a:gd name="connsiteX4" fmla="*/ 50292 w 60350"/>
                <a:gd name="connsiteY4" fmla="*/ 0 h 55321"/>
                <a:gd name="connsiteX5" fmla="*/ 60350 w 60350"/>
                <a:gd name="connsiteY5" fmla="*/ 0 h 55321"/>
                <a:gd name="connsiteX6" fmla="*/ 60350 w 60350"/>
                <a:gd name="connsiteY6" fmla="*/ 55321 h 5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50" h="55321">
                  <a:moveTo>
                    <a:pt x="60350" y="55321"/>
                  </a:moveTo>
                  <a:lnTo>
                    <a:pt x="0" y="55321"/>
                  </a:lnTo>
                  <a:lnTo>
                    <a:pt x="0" y="45263"/>
                  </a:lnTo>
                  <a:lnTo>
                    <a:pt x="50292" y="45263"/>
                  </a:lnTo>
                  <a:lnTo>
                    <a:pt x="50292" y="0"/>
                  </a:lnTo>
                  <a:lnTo>
                    <a:pt x="60350" y="0"/>
                  </a:lnTo>
                  <a:lnTo>
                    <a:pt x="60350" y="55321"/>
                  </a:ln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2" name="Freeform: Shape 1341">
              <a:extLst>
                <a:ext uri="{FF2B5EF4-FFF2-40B4-BE49-F238E27FC236}">
                  <a16:creationId xmlns:a16="http://schemas.microsoft.com/office/drawing/2014/main" id="{B19CBA8E-377E-7945-A9D6-821A321941AB}"/>
                </a:ext>
              </a:extLst>
            </p:cNvPr>
            <p:cNvSpPr/>
            <p:nvPr/>
          </p:nvSpPr>
          <p:spPr>
            <a:xfrm>
              <a:off x="2412983" y="2717664"/>
              <a:ext cx="241477" cy="151089"/>
            </a:xfrm>
            <a:custGeom>
              <a:avLst/>
              <a:gdLst>
                <a:gd name="connsiteX0" fmla="*/ 191110 w 241477"/>
                <a:gd name="connsiteY0" fmla="*/ 151089 h 151089"/>
                <a:gd name="connsiteX1" fmla="*/ 176022 w 241477"/>
                <a:gd name="connsiteY1" fmla="*/ 151089 h 151089"/>
                <a:gd name="connsiteX2" fmla="*/ 176022 w 241477"/>
                <a:gd name="connsiteY2" fmla="*/ 140929 h 151089"/>
                <a:gd name="connsiteX3" fmla="*/ 191110 w 241477"/>
                <a:gd name="connsiteY3" fmla="*/ 140929 h 151089"/>
                <a:gd name="connsiteX4" fmla="*/ 231425 w 241477"/>
                <a:gd name="connsiteY4" fmla="*/ 100778 h 151089"/>
                <a:gd name="connsiteX5" fmla="*/ 191273 w 241477"/>
                <a:gd name="connsiteY5" fmla="*/ 60463 h 151089"/>
                <a:gd name="connsiteX6" fmla="*/ 176987 w 241477"/>
                <a:gd name="connsiteY6" fmla="*/ 63053 h 151089"/>
                <a:gd name="connsiteX7" fmla="*/ 171196 w 241477"/>
                <a:gd name="connsiteY7" fmla="*/ 65237 h 151089"/>
                <a:gd name="connsiteX8" fmla="*/ 170231 w 241477"/>
                <a:gd name="connsiteY8" fmla="*/ 59116 h 151089"/>
                <a:gd name="connsiteX9" fmla="*/ 104319 w 241477"/>
                <a:gd name="connsiteY9" fmla="*/ 10867 h 151089"/>
                <a:gd name="connsiteX10" fmla="*/ 55423 w 241477"/>
                <a:gd name="connsiteY10" fmla="*/ 66025 h 151089"/>
                <a:gd name="connsiteX11" fmla="*/ 55245 w 241477"/>
                <a:gd name="connsiteY11" fmla="*/ 71537 h 151089"/>
                <a:gd name="connsiteX12" fmla="*/ 49759 w 241477"/>
                <a:gd name="connsiteY12" fmla="*/ 70851 h 151089"/>
                <a:gd name="connsiteX13" fmla="*/ 45263 w 241477"/>
                <a:gd name="connsiteY13" fmla="*/ 70521 h 151089"/>
                <a:gd name="connsiteX14" fmla="*/ 10058 w 241477"/>
                <a:gd name="connsiteY14" fmla="*/ 105725 h 151089"/>
                <a:gd name="connsiteX15" fmla="*/ 45263 w 241477"/>
                <a:gd name="connsiteY15" fmla="*/ 140929 h 151089"/>
                <a:gd name="connsiteX16" fmla="*/ 65380 w 241477"/>
                <a:gd name="connsiteY16" fmla="*/ 140929 h 151089"/>
                <a:gd name="connsiteX17" fmla="*/ 65380 w 241477"/>
                <a:gd name="connsiteY17" fmla="*/ 151089 h 151089"/>
                <a:gd name="connsiteX18" fmla="*/ 45263 w 241477"/>
                <a:gd name="connsiteY18" fmla="*/ 151089 h 151089"/>
                <a:gd name="connsiteX19" fmla="*/ 0 w 241477"/>
                <a:gd name="connsiteY19" fmla="*/ 105827 h 151089"/>
                <a:gd name="connsiteX20" fmla="*/ 45263 w 241477"/>
                <a:gd name="connsiteY20" fmla="*/ 60564 h 151089"/>
                <a:gd name="connsiteX21" fmla="*/ 45745 w 241477"/>
                <a:gd name="connsiteY21" fmla="*/ 60564 h 151089"/>
                <a:gd name="connsiteX22" fmla="*/ 120434 w 241477"/>
                <a:gd name="connsiteY22" fmla="*/ 395 h 151089"/>
                <a:gd name="connsiteX23" fmla="*/ 179121 w 241477"/>
                <a:gd name="connsiteY23" fmla="*/ 52004 h 151089"/>
                <a:gd name="connsiteX24" fmla="*/ 191186 w 241477"/>
                <a:gd name="connsiteY24" fmla="*/ 50505 h 151089"/>
                <a:gd name="connsiteX25" fmla="*/ 241478 w 241477"/>
                <a:gd name="connsiteY25" fmla="*/ 100797 h 151089"/>
                <a:gd name="connsiteX26" fmla="*/ 191186 w 241477"/>
                <a:gd name="connsiteY26" fmla="*/ 151089 h 15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1477" h="151089">
                  <a:moveTo>
                    <a:pt x="191110" y="151089"/>
                  </a:moveTo>
                  <a:lnTo>
                    <a:pt x="176022" y="151089"/>
                  </a:lnTo>
                  <a:lnTo>
                    <a:pt x="176022" y="140929"/>
                  </a:lnTo>
                  <a:lnTo>
                    <a:pt x="191110" y="140929"/>
                  </a:lnTo>
                  <a:cubicBezTo>
                    <a:pt x="213330" y="140975"/>
                    <a:pt x="231380" y="122998"/>
                    <a:pt x="231425" y="100778"/>
                  </a:cubicBezTo>
                  <a:cubicBezTo>
                    <a:pt x="231470" y="78557"/>
                    <a:pt x="213493" y="60507"/>
                    <a:pt x="191273" y="60463"/>
                  </a:cubicBezTo>
                  <a:cubicBezTo>
                    <a:pt x="186393" y="60453"/>
                    <a:pt x="181553" y="61330"/>
                    <a:pt x="176987" y="63053"/>
                  </a:cubicBezTo>
                  <a:lnTo>
                    <a:pt x="171196" y="65237"/>
                  </a:lnTo>
                  <a:lnTo>
                    <a:pt x="170231" y="59116"/>
                  </a:lnTo>
                  <a:cubicBezTo>
                    <a:pt x="165353" y="27591"/>
                    <a:pt x="135844" y="5990"/>
                    <a:pt x="104319" y="10867"/>
                  </a:cubicBezTo>
                  <a:cubicBezTo>
                    <a:pt x="76882" y="15112"/>
                    <a:pt x="56347" y="38277"/>
                    <a:pt x="55423" y="66025"/>
                  </a:cubicBezTo>
                  <a:lnTo>
                    <a:pt x="55245" y="71537"/>
                  </a:lnTo>
                  <a:lnTo>
                    <a:pt x="49759" y="70851"/>
                  </a:lnTo>
                  <a:cubicBezTo>
                    <a:pt x="48269" y="70638"/>
                    <a:pt x="46767" y="70528"/>
                    <a:pt x="45263" y="70521"/>
                  </a:cubicBezTo>
                  <a:cubicBezTo>
                    <a:pt x="25820" y="70521"/>
                    <a:pt x="10058" y="86282"/>
                    <a:pt x="10058" y="105725"/>
                  </a:cubicBezTo>
                  <a:cubicBezTo>
                    <a:pt x="10058" y="125168"/>
                    <a:pt x="25820" y="140929"/>
                    <a:pt x="45263" y="140929"/>
                  </a:cubicBezTo>
                  <a:lnTo>
                    <a:pt x="65380" y="140929"/>
                  </a:lnTo>
                  <a:lnTo>
                    <a:pt x="65380" y="151089"/>
                  </a:lnTo>
                  <a:lnTo>
                    <a:pt x="45263" y="151089"/>
                  </a:lnTo>
                  <a:cubicBezTo>
                    <a:pt x="20265" y="151089"/>
                    <a:pt x="0" y="130825"/>
                    <a:pt x="0" y="105827"/>
                  </a:cubicBezTo>
                  <a:cubicBezTo>
                    <a:pt x="0" y="80829"/>
                    <a:pt x="20265" y="60564"/>
                    <a:pt x="45263" y="60564"/>
                  </a:cubicBezTo>
                  <a:lnTo>
                    <a:pt x="45745" y="60564"/>
                  </a:lnTo>
                  <a:cubicBezTo>
                    <a:pt x="49755" y="23324"/>
                    <a:pt x="83194" y="-3614"/>
                    <a:pt x="120434" y="395"/>
                  </a:cubicBezTo>
                  <a:cubicBezTo>
                    <a:pt x="148938" y="3464"/>
                    <a:pt x="172433" y="24126"/>
                    <a:pt x="179121" y="52004"/>
                  </a:cubicBezTo>
                  <a:cubicBezTo>
                    <a:pt x="183066" y="51014"/>
                    <a:pt x="187118" y="50511"/>
                    <a:pt x="191186" y="50505"/>
                  </a:cubicBezTo>
                  <a:cubicBezTo>
                    <a:pt x="218961" y="50505"/>
                    <a:pt x="241478" y="73022"/>
                    <a:pt x="241478" y="100797"/>
                  </a:cubicBezTo>
                  <a:cubicBezTo>
                    <a:pt x="241478" y="128573"/>
                    <a:pt x="218961" y="151089"/>
                    <a:pt x="191186" y="151089"/>
                  </a:cubicBez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3" name="Freeform: Shape 1342">
              <a:extLst>
                <a:ext uri="{FF2B5EF4-FFF2-40B4-BE49-F238E27FC236}">
                  <a16:creationId xmlns:a16="http://schemas.microsoft.com/office/drawing/2014/main" id="{7F69D0E0-00E6-E9F1-A004-52788EB651CB}"/>
                </a:ext>
              </a:extLst>
            </p:cNvPr>
            <p:cNvSpPr/>
            <p:nvPr/>
          </p:nvSpPr>
          <p:spPr>
            <a:xfrm>
              <a:off x="2478261" y="2737994"/>
              <a:ext cx="47802" cy="47777"/>
            </a:xfrm>
            <a:custGeom>
              <a:avLst/>
              <a:gdLst>
                <a:gd name="connsiteX0" fmla="*/ 10160 w 47802"/>
                <a:gd name="connsiteY0" fmla="*/ 47777 h 47777"/>
                <a:gd name="connsiteX1" fmla="*/ 0 w 47802"/>
                <a:gd name="connsiteY1" fmla="*/ 47777 h 47777"/>
                <a:gd name="connsiteX2" fmla="*/ 47803 w 47802"/>
                <a:gd name="connsiteY2" fmla="*/ 0 h 47777"/>
                <a:gd name="connsiteX3" fmla="*/ 47803 w 47802"/>
                <a:gd name="connsiteY3" fmla="*/ 10160 h 47777"/>
                <a:gd name="connsiteX4" fmla="*/ 10160 w 47802"/>
                <a:gd name="connsiteY4" fmla="*/ 47777 h 4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2" h="47777">
                  <a:moveTo>
                    <a:pt x="10160" y="47777"/>
                  </a:moveTo>
                  <a:lnTo>
                    <a:pt x="0" y="47777"/>
                  </a:lnTo>
                  <a:cubicBezTo>
                    <a:pt x="28" y="21392"/>
                    <a:pt x="21418" y="14"/>
                    <a:pt x="47803" y="0"/>
                  </a:cubicBezTo>
                  <a:lnTo>
                    <a:pt x="47803" y="10160"/>
                  </a:lnTo>
                  <a:cubicBezTo>
                    <a:pt x="27046" y="10216"/>
                    <a:pt x="10230" y="27021"/>
                    <a:pt x="10160" y="47777"/>
                  </a:cubicBezTo>
                  <a:close/>
                </a:path>
              </a:pathLst>
            </a:custGeom>
            <a:grp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grpSp>
      <p:grpSp>
        <p:nvGrpSpPr>
          <p:cNvPr id="1344" name="Graphic 317">
            <a:extLst>
              <a:ext uri="{FF2B5EF4-FFF2-40B4-BE49-F238E27FC236}">
                <a16:creationId xmlns:a16="http://schemas.microsoft.com/office/drawing/2014/main" id="{1E3FF4B7-AADF-48E7-324B-69D80B12FC8B}"/>
              </a:ext>
            </a:extLst>
          </p:cNvPr>
          <p:cNvGrpSpPr/>
          <p:nvPr/>
        </p:nvGrpSpPr>
        <p:grpSpPr>
          <a:xfrm>
            <a:off x="2358399" y="3516204"/>
            <a:ext cx="268121" cy="257225"/>
            <a:chOff x="9919387" y="3442074"/>
            <a:chExt cx="276325" cy="200723"/>
          </a:xfrm>
          <a:solidFill>
            <a:srgbClr val="FF0000"/>
          </a:solidFill>
        </p:grpSpPr>
        <p:sp>
          <p:nvSpPr>
            <p:cNvPr id="1345" name="Freeform: Shape 1344">
              <a:extLst>
                <a:ext uri="{FF2B5EF4-FFF2-40B4-BE49-F238E27FC236}">
                  <a16:creationId xmlns:a16="http://schemas.microsoft.com/office/drawing/2014/main" id="{A9026915-A3DA-6CAA-1E49-470C5B830F86}"/>
                </a:ext>
              </a:extLst>
            </p:cNvPr>
            <p:cNvSpPr/>
            <p:nvPr/>
          </p:nvSpPr>
          <p:spPr>
            <a:xfrm>
              <a:off x="10004925" y="3559356"/>
              <a:ext cx="105249" cy="83440"/>
            </a:xfrm>
            <a:custGeom>
              <a:avLst/>
              <a:gdLst>
                <a:gd name="connsiteX0" fmla="*/ 52625 w 105249"/>
                <a:gd name="connsiteY0" fmla="*/ 83441 h 83440"/>
                <a:gd name="connsiteX1" fmla="*/ 0 w 105249"/>
                <a:gd name="connsiteY1" fmla="*/ 41720 h 83440"/>
                <a:gd name="connsiteX2" fmla="*/ 52625 w 105249"/>
                <a:gd name="connsiteY2" fmla="*/ 0 h 83440"/>
                <a:gd name="connsiteX3" fmla="*/ 105249 w 105249"/>
                <a:gd name="connsiteY3" fmla="*/ 41720 h 83440"/>
                <a:gd name="connsiteX4" fmla="*/ 52625 w 105249"/>
                <a:gd name="connsiteY4" fmla="*/ 83441 h 83440"/>
                <a:gd name="connsiteX5" fmla="*/ 52625 w 105249"/>
                <a:gd name="connsiteY5" fmla="*/ 6889 h 83440"/>
                <a:gd name="connsiteX6" fmla="*/ 8635 w 105249"/>
                <a:gd name="connsiteY6" fmla="*/ 41763 h 83440"/>
                <a:gd name="connsiteX7" fmla="*/ 52625 w 105249"/>
                <a:gd name="connsiteY7" fmla="*/ 76638 h 83440"/>
                <a:gd name="connsiteX8" fmla="*/ 96614 w 105249"/>
                <a:gd name="connsiteY8" fmla="*/ 41763 h 83440"/>
                <a:gd name="connsiteX9" fmla="*/ 96614 w 105249"/>
                <a:gd name="connsiteY9" fmla="*/ 41720 h 83440"/>
                <a:gd name="connsiteX10" fmla="*/ 52625 w 105249"/>
                <a:gd name="connsiteY10" fmla="*/ 6889 h 8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249" h="83440">
                  <a:moveTo>
                    <a:pt x="52625" y="83441"/>
                  </a:moveTo>
                  <a:cubicBezTo>
                    <a:pt x="23561" y="83441"/>
                    <a:pt x="0" y="64762"/>
                    <a:pt x="0" y="41720"/>
                  </a:cubicBezTo>
                  <a:cubicBezTo>
                    <a:pt x="0" y="18679"/>
                    <a:pt x="23561" y="0"/>
                    <a:pt x="52625" y="0"/>
                  </a:cubicBezTo>
                  <a:cubicBezTo>
                    <a:pt x="81688" y="0"/>
                    <a:pt x="105249" y="18679"/>
                    <a:pt x="105249" y="41720"/>
                  </a:cubicBezTo>
                  <a:cubicBezTo>
                    <a:pt x="105219" y="64752"/>
                    <a:pt x="81676" y="83417"/>
                    <a:pt x="52625" y="83441"/>
                  </a:cubicBezTo>
                  <a:close/>
                  <a:moveTo>
                    <a:pt x="52625" y="6889"/>
                  </a:moveTo>
                  <a:cubicBezTo>
                    <a:pt x="28330" y="6889"/>
                    <a:pt x="8635" y="22503"/>
                    <a:pt x="8635" y="41763"/>
                  </a:cubicBezTo>
                  <a:cubicBezTo>
                    <a:pt x="8635" y="61024"/>
                    <a:pt x="28330" y="76638"/>
                    <a:pt x="52625" y="76638"/>
                  </a:cubicBezTo>
                  <a:cubicBezTo>
                    <a:pt x="76919" y="76638"/>
                    <a:pt x="96614" y="61024"/>
                    <a:pt x="96614" y="41763"/>
                  </a:cubicBezTo>
                  <a:cubicBezTo>
                    <a:pt x="96614" y="41749"/>
                    <a:pt x="96614" y="41734"/>
                    <a:pt x="96614" y="41720"/>
                  </a:cubicBezTo>
                  <a:cubicBezTo>
                    <a:pt x="96554" y="22486"/>
                    <a:pt x="76886" y="6912"/>
                    <a:pt x="52625" y="6889"/>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6" name="Freeform: Shape 1345">
              <a:extLst>
                <a:ext uri="{FF2B5EF4-FFF2-40B4-BE49-F238E27FC236}">
                  <a16:creationId xmlns:a16="http://schemas.microsoft.com/office/drawing/2014/main" id="{B1DBF7C2-EFD1-FEBF-9F19-DB0C5557B369}"/>
                </a:ext>
              </a:extLst>
            </p:cNvPr>
            <p:cNvSpPr/>
            <p:nvPr/>
          </p:nvSpPr>
          <p:spPr>
            <a:xfrm>
              <a:off x="10004925" y="3442074"/>
              <a:ext cx="105249" cy="83440"/>
            </a:xfrm>
            <a:custGeom>
              <a:avLst/>
              <a:gdLst>
                <a:gd name="connsiteX0" fmla="*/ 52625 w 105249"/>
                <a:gd name="connsiteY0" fmla="*/ 83441 h 83440"/>
                <a:gd name="connsiteX1" fmla="*/ 0 w 105249"/>
                <a:gd name="connsiteY1" fmla="*/ 41720 h 83440"/>
                <a:gd name="connsiteX2" fmla="*/ 52625 w 105249"/>
                <a:gd name="connsiteY2" fmla="*/ 0 h 83440"/>
                <a:gd name="connsiteX3" fmla="*/ 105249 w 105249"/>
                <a:gd name="connsiteY3" fmla="*/ 41720 h 83440"/>
                <a:gd name="connsiteX4" fmla="*/ 52625 w 105249"/>
                <a:gd name="connsiteY4" fmla="*/ 83441 h 83440"/>
                <a:gd name="connsiteX5" fmla="*/ 52625 w 105249"/>
                <a:gd name="connsiteY5" fmla="*/ 6846 h 83440"/>
                <a:gd name="connsiteX6" fmla="*/ 8635 w 105249"/>
                <a:gd name="connsiteY6" fmla="*/ 41720 h 83440"/>
                <a:gd name="connsiteX7" fmla="*/ 52625 w 105249"/>
                <a:gd name="connsiteY7" fmla="*/ 76595 h 83440"/>
                <a:gd name="connsiteX8" fmla="*/ 96614 w 105249"/>
                <a:gd name="connsiteY8" fmla="*/ 41720 h 83440"/>
                <a:gd name="connsiteX9" fmla="*/ 52625 w 105249"/>
                <a:gd name="connsiteY9" fmla="*/ 6846 h 8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249" h="83440">
                  <a:moveTo>
                    <a:pt x="52625" y="83441"/>
                  </a:moveTo>
                  <a:cubicBezTo>
                    <a:pt x="23561" y="83441"/>
                    <a:pt x="0" y="64762"/>
                    <a:pt x="0" y="41720"/>
                  </a:cubicBezTo>
                  <a:cubicBezTo>
                    <a:pt x="0" y="18679"/>
                    <a:pt x="23561" y="0"/>
                    <a:pt x="52625" y="0"/>
                  </a:cubicBezTo>
                  <a:cubicBezTo>
                    <a:pt x="81688" y="0"/>
                    <a:pt x="105249" y="18679"/>
                    <a:pt x="105249" y="41720"/>
                  </a:cubicBezTo>
                  <a:cubicBezTo>
                    <a:pt x="105219" y="64752"/>
                    <a:pt x="81676" y="83417"/>
                    <a:pt x="52625" y="83441"/>
                  </a:cubicBezTo>
                  <a:close/>
                  <a:moveTo>
                    <a:pt x="52625" y="6846"/>
                  </a:moveTo>
                  <a:cubicBezTo>
                    <a:pt x="28330" y="6846"/>
                    <a:pt x="8635" y="22460"/>
                    <a:pt x="8635" y="41720"/>
                  </a:cubicBezTo>
                  <a:cubicBezTo>
                    <a:pt x="8635" y="60981"/>
                    <a:pt x="28330" y="76595"/>
                    <a:pt x="52625" y="76595"/>
                  </a:cubicBezTo>
                  <a:cubicBezTo>
                    <a:pt x="76919" y="76595"/>
                    <a:pt x="96614" y="60981"/>
                    <a:pt x="96614" y="41720"/>
                  </a:cubicBezTo>
                  <a:cubicBezTo>
                    <a:pt x="96584" y="22470"/>
                    <a:pt x="76907" y="6869"/>
                    <a:pt x="52625" y="684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7" name="Freeform: Shape 1346">
              <a:extLst>
                <a:ext uri="{FF2B5EF4-FFF2-40B4-BE49-F238E27FC236}">
                  <a16:creationId xmlns:a16="http://schemas.microsoft.com/office/drawing/2014/main" id="{DFC04694-5B2E-3C95-CBED-1EFCBE444476}"/>
                </a:ext>
              </a:extLst>
            </p:cNvPr>
            <p:cNvSpPr/>
            <p:nvPr/>
          </p:nvSpPr>
          <p:spPr>
            <a:xfrm>
              <a:off x="9998571" y="3538991"/>
              <a:ext cx="117957" cy="6888"/>
            </a:xfrm>
            <a:custGeom>
              <a:avLst/>
              <a:gdLst>
                <a:gd name="connsiteX0" fmla="*/ 113612 w 117957"/>
                <a:gd name="connsiteY0" fmla="*/ 6889 h 6888"/>
                <a:gd name="connsiteX1" fmla="*/ 4345 w 117957"/>
                <a:gd name="connsiteY1" fmla="*/ 6889 h 6888"/>
                <a:gd name="connsiteX2" fmla="*/ 0 w 117957"/>
                <a:gd name="connsiteY2" fmla="*/ 3444 h 6888"/>
                <a:gd name="connsiteX3" fmla="*/ 4345 w 117957"/>
                <a:gd name="connsiteY3" fmla="*/ 0 h 6888"/>
                <a:gd name="connsiteX4" fmla="*/ 113612 w 117957"/>
                <a:gd name="connsiteY4" fmla="*/ 0 h 6888"/>
                <a:gd name="connsiteX5" fmla="*/ 117957 w 117957"/>
                <a:gd name="connsiteY5" fmla="*/ 3444 h 6888"/>
                <a:gd name="connsiteX6" fmla="*/ 113612 w 117957"/>
                <a:gd name="connsiteY6" fmla="*/ 6889 h 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957" h="6888">
                  <a:moveTo>
                    <a:pt x="113612" y="6889"/>
                  </a:moveTo>
                  <a:lnTo>
                    <a:pt x="4345" y="6889"/>
                  </a:lnTo>
                  <a:cubicBezTo>
                    <a:pt x="1945" y="6889"/>
                    <a:pt x="0" y="5347"/>
                    <a:pt x="0" y="3444"/>
                  </a:cubicBezTo>
                  <a:cubicBezTo>
                    <a:pt x="0" y="1542"/>
                    <a:pt x="1945" y="0"/>
                    <a:pt x="4345" y="0"/>
                  </a:cubicBezTo>
                  <a:lnTo>
                    <a:pt x="113612" y="0"/>
                  </a:lnTo>
                  <a:cubicBezTo>
                    <a:pt x="116012" y="0"/>
                    <a:pt x="117957" y="1542"/>
                    <a:pt x="117957" y="3444"/>
                  </a:cubicBezTo>
                  <a:cubicBezTo>
                    <a:pt x="117957" y="5347"/>
                    <a:pt x="116012" y="6889"/>
                    <a:pt x="113612" y="6889"/>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8" name="Freeform: Shape 1347">
              <a:extLst>
                <a:ext uri="{FF2B5EF4-FFF2-40B4-BE49-F238E27FC236}">
                  <a16:creationId xmlns:a16="http://schemas.microsoft.com/office/drawing/2014/main" id="{EA82B7D5-72C6-9A42-5757-01F248603A1C}"/>
                </a:ext>
              </a:extLst>
            </p:cNvPr>
            <p:cNvSpPr/>
            <p:nvPr/>
          </p:nvSpPr>
          <p:spPr>
            <a:xfrm>
              <a:off x="10053205" y="3518626"/>
              <a:ext cx="8689" cy="47618"/>
            </a:xfrm>
            <a:custGeom>
              <a:avLst/>
              <a:gdLst>
                <a:gd name="connsiteX0" fmla="*/ 4345 w 8689"/>
                <a:gd name="connsiteY0" fmla="*/ 47619 h 47618"/>
                <a:gd name="connsiteX1" fmla="*/ 0 w 8689"/>
                <a:gd name="connsiteY1" fmla="*/ 44174 h 47618"/>
                <a:gd name="connsiteX2" fmla="*/ 0 w 8689"/>
                <a:gd name="connsiteY2" fmla="*/ 3444 h 47618"/>
                <a:gd name="connsiteX3" fmla="*/ 4345 w 8689"/>
                <a:gd name="connsiteY3" fmla="*/ 0 h 47618"/>
                <a:gd name="connsiteX4" fmla="*/ 8689 w 8689"/>
                <a:gd name="connsiteY4" fmla="*/ 3444 h 47618"/>
                <a:gd name="connsiteX5" fmla="*/ 8689 w 8689"/>
                <a:gd name="connsiteY5" fmla="*/ 44174 h 47618"/>
                <a:gd name="connsiteX6" fmla="*/ 4345 w 8689"/>
                <a:gd name="connsiteY6" fmla="*/ 47619 h 4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9" h="47618">
                  <a:moveTo>
                    <a:pt x="4345" y="47619"/>
                  </a:moveTo>
                  <a:cubicBezTo>
                    <a:pt x="1945" y="47619"/>
                    <a:pt x="0" y="46077"/>
                    <a:pt x="0" y="44174"/>
                  </a:cubicBezTo>
                  <a:lnTo>
                    <a:pt x="0" y="3444"/>
                  </a:lnTo>
                  <a:cubicBezTo>
                    <a:pt x="0" y="1542"/>
                    <a:pt x="1945" y="0"/>
                    <a:pt x="4345" y="0"/>
                  </a:cubicBezTo>
                  <a:cubicBezTo>
                    <a:pt x="6744" y="0"/>
                    <a:pt x="8689" y="1542"/>
                    <a:pt x="8689" y="3444"/>
                  </a:cubicBezTo>
                  <a:lnTo>
                    <a:pt x="8689" y="44174"/>
                  </a:lnTo>
                  <a:cubicBezTo>
                    <a:pt x="8689" y="46077"/>
                    <a:pt x="6744" y="47619"/>
                    <a:pt x="4345" y="47619"/>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49" name="Freeform: Shape 1348">
              <a:extLst>
                <a:ext uri="{FF2B5EF4-FFF2-40B4-BE49-F238E27FC236}">
                  <a16:creationId xmlns:a16="http://schemas.microsoft.com/office/drawing/2014/main" id="{64EFA80D-4454-BA9A-D9AC-C892A79C9F96}"/>
                </a:ext>
              </a:extLst>
            </p:cNvPr>
            <p:cNvSpPr/>
            <p:nvPr/>
          </p:nvSpPr>
          <p:spPr>
            <a:xfrm>
              <a:off x="10077780" y="3530760"/>
              <a:ext cx="15878" cy="15119"/>
            </a:xfrm>
            <a:custGeom>
              <a:avLst/>
              <a:gdLst>
                <a:gd name="connsiteX0" fmla="*/ 4317 w 15878"/>
                <a:gd name="connsiteY0" fmla="*/ 15119 h 15119"/>
                <a:gd name="connsiteX1" fmla="*/ 1873 w 15878"/>
                <a:gd name="connsiteY1" fmla="*/ 14474 h 15119"/>
                <a:gd name="connsiteX2" fmla="*/ 721 w 15878"/>
                <a:gd name="connsiteY2" fmla="*/ 9813 h 15119"/>
                <a:gd name="connsiteX3" fmla="*/ 787 w 15878"/>
                <a:gd name="connsiteY3" fmla="*/ 9738 h 15119"/>
                <a:gd name="connsiteX4" fmla="*/ 8010 w 15878"/>
                <a:gd name="connsiteY4" fmla="*/ 1471 h 15119"/>
                <a:gd name="connsiteX5" fmla="*/ 14038 w 15878"/>
                <a:gd name="connsiteY5" fmla="*/ 610 h 15119"/>
                <a:gd name="connsiteX6" fmla="*/ 15110 w 15878"/>
                <a:gd name="connsiteY6" fmla="*/ 5345 h 15119"/>
                <a:gd name="connsiteX7" fmla="*/ 15070 w 15878"/>
                <a:gd name="connsiteY7" fmla="*/ 5389 h 15119"/>
                <a:gd name="connsiteX8" fmla="*/ 7847 w 15878"/>
                <a:gd name="connsiteY8" fmla="*/ 13612 h 15119"/>
                <a:gd name="connsiteX9" fmla="*/ 4317 w 15878"/>
                <a:gd name="connsiteY9" fmla="*/ 15119 h 1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8" h="15119">
                  <a:moveTo>
                    <a:pt x="4317" y="15119"/>
                  </a:moveTo>
                  <a:cubicBezTo>
                    <a:pt x="3435" y="15122"/>
                    <a:pt x="2576" y="14896"/>
                    <a:pt x="1873" y="14474"/>
                  </a:cubicBezTo>
                  <a:cubicBezTo>
                    <a:pt x="-68" y="13439"/>
                    <a:pt x="-584" y="11352"/>
                    <a:pt x="721" y="9813"/>
                  </a:cubicBezTo>
                  <a:cubicBezTo>
                    <a:pt x="742" y="9787"/>
                    <a:pt x="765" y="9763"/>
                    <a:pt x="787" y="9738"/>
                  </a:cubicBezTo>
                  <a:lnTo>
                    <a:pt x="8010" y="1471"/>
                  </a:lnTo>
                  <a:cubicBezTo>
                    <a:pt x="9379" y="-81"/>
                    <a:pt x="12072" y="-466"/>
                    <a:pt x="14038" y="610"/>
                  </a:cubicBezTo>
                  <a:cubicBezTo>
                    <a:pt x="15983" y="1683"/>
                    <a:pt x="16463" y="3802"/>
                    <a:pt x="15110" y="5345"/>
                  </a:cubicBezTo>
                  <a:cubicBezTo>
                    <a:pt x="15097" y="5359"/>
                    <a:pt x="15084" y="5374"/>
                    <a:pt x="15070" y="5389"/>
                  </a:cubicBezTo>
                  <a:lnTo>
                    <a:pt x="7847" y="13612"/>
                  </a:lnTo>
                  <a:cubicBezTo>
                    <a:pt x="7070" y="14558"/>
                    <a:pt x="5740" y="15126"/>
                    <a:pt x="4317" y="15119"/>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0" name="Freeform: Shape 1349">
              <a:extLst>
                <a:ext uri="{FF2B5EF4-FFF2-40B4-BE49-F238E27FC236}">
                  <a16:creationId xmlns:a16="http://schemas.microsoft.com/office/drawing/2014/main" id="{F32233DF-BD58-89D0-381D-4344B873912B}"/>
                </a:ext>
              </a:extLst>
            </p:cNvPr>
            <p:cNvSpPr/>
            <p:nvPr/>
          </p:nvSpPr>
          <p:spPr>
            <a:xfrm>
              <a:off x="10077780" y="3539030"/>
              <a:ext cx="15878" cy="15073"/>
            </a:xfrm>
            <a:custGeom>
              <a:avLst/>
              <a:gdLst>
                <a:gd name="connsiteX0" fmla="*/ 11540 w 15878"/>
                <a:gd name="connsiteY0" fmla="*/ 15073 h 15073"/>
                <a:gd name="connsiteX1" fmla="*/ 8010 w 15878"/>
                <a:gd name="connsiteY1" fmla="*/ 13609 h 15073"/>
                <a:gd name="connsiteX2" fmla="*/ 787 w 15878"/>
                <a:gd name="connsiteY2" fmla="*/ 5343 h 15073"/>
                <a:gd name="connsiteX3" fmla="*/ 1778 w 15878"/>
                <a:gd name="connsiteY3" fmla="*/ 659 h 15073"/>
                <a:gd name="connsiteX4" fmla="*/ 1873 w 15878"/>
                <a:gd name="connsiteY4" fmla="*/ 606 h 15073"/>
                <a:gd name="connsiteX5" fmla="*/ 7843 w 15878"/>
                <a:gd name="connsiteY5" fmla="*/ 1464 h 15073"/>
                <a:gd name="connsiteX6" fmla="*/ 7847 w 15878"/>
                <a:gd name="connsiteY6" fmla="*/ 1468 h 15073"/>
                <a:gd name="connsiteX7" fmla="*/ 15070 w 15878"/>
                <a:gd name="connsiteY7" fmla="*/ 9691 h 15073"/>
                <a:gd name="connsiteX8" fmla="*/ 14094 w 15878"/>
                <a:gd name="connsiteY8" fmla="*/ 14439 h 15073"/>
                <a:gd name="connsiteX9" fmla="*/ 14038 w 15878"/>
                <a:gd name="connsiteY9" fmla="*/ 14470 h 15073"/>
                <a:gd name="connsiteX10" fmla="*/ 11540 w 15878"/>
                <a:gd name="connsiteY10" fmla="*/ 15073 h 1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78" h="15073">
                  <a:moveTo>
                    <a:pt x="11540" y="15073"/>
                  </a:moveTo>
                  <a:cubicBezTo>
                    <a:pt x="10131" y="15074"/>
                    <a:pt x="8812" y="14527"/>
                    <a:pt x="8010" y="13609"/>
                  </a:cubicBezTo>
                  <a:lnTo>
                    <a:pt x="787" y="5343"/>
                  </a:lnTo>
                  <a:cubicBezTo>
                    <a:pt x="-571" y="3832"/>
                    <a:pt x="-127" y="1735"/>
                    <a:pt x="1778" y="659"/>
                  </a:cubicBezTo>
                  <a:cubicBezTo>
                    <a:pt x="1809" y="641"/>
                    <a:pt x="1841" y="624"/>
                    <a:pt x="1873" y="606"/>
                  </a:cubicBezTo>
                  <a:cubicBezTo>
                    <a:pt x="3820" y="-464"/>
                    <a:pt x="6493" y="-80"/>
                    <a:pt x="7843" y="1464"/>
                  </a:cubicBezTo>
                  <a:cubicBezTo>
                    <a:pt x="7845" y="1465"/>
                    <a:pt x="7846" y="1466"/>
                    <a:pt x="7847" y="1468"/>
                  </a:cubicBezTo>
                  <a:lnTo>
                    <a:pt x="15070" y="9691"/>
                  </a:lnTo>
                  <a:cubicBezTo>
                    <a:pt x="16454" y="11216"/>
                    <a:pt x="16017" y="13341"/>
                    <a:pt x="14094" y="14439"/>
                  </a:cubicBezTo>
                  <a:cubicBezTo>
                    <a:pt x="14075" y="14450"/>
                    <a:pt x="14057" y="14460"/>
                    <a:pt x="14038" y="14470"/>
                  </a:cubicBezTo>
                  <a:cubicBezTo>
                    <a:pt x="13306" y="14874"/>
                    <a:pt x="12431" y="15085"/>
                    <a:pt x="11540" y="15073"/>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1" name="Freeform: Shape 1350">
              <a:extLst>
                <a:ext uri="{FF2B5EF4-FFF2-40B4-BE49-F238E27FC236}">
                  <a16:creationId xmlns:a16="http://schemas.microsoft.com/office/drawing/2014/main" id="{F3ECD48B-85A9-09DB-9B07-D2C2F1E54C48}"/>
                </a:ext>
              </a:extLst>
            </p:cNvPr>
            <p:cNvSpPr/>
            <p:nvPr/>
          </p:nvSpPr>
          <p:spPr>
            <a:xfrm>
              <a:off x="10021441" y="3530760"/>
              <a:ext cx="15878" cy="15119"/>
            </a:xfrm>
            <a:custGeom>
              <a:avLst/>
              <a:gdLst>
                <a:gd name="connsiteX0" fmla="*/ 11561 w 15878"/>
                <a:gd name="connsiteY0" fmla="*/ 15119 h 15119"/>
                <a:gd name="connsiteX1" fmla="*/ 8031 w 15878"/>
                <a:gd name="connsiteY1" fmla="*/ 13612 h 15119"/>
                <a:gd name="connsiteX2" fmla="*/ 809 w 15878"/>
                <a:gd name="connsiteY2" fmla="*/ 5389 h 15119"/>
                <a:gd name="connsiteX3" fmla="*/ 1784 w 15878"/>
                <a:gd name="connsiteY3" fmla="*/ 641 h 15119"/>
                <a:gd name="connsiteX4" fmla="*/ 1840 w 15878"/>
                <a:gd name="connsiteY4" fmla="*/ 610 h 15119"/>
                <a:gd name="connsiteX5" fmla="*/ 7869 w 15878"/>
                <a:gd name="connsiteY5" fmla="*/ 1471 h 15119"/>
                <a:gd name="connsiteX6" fmla="*/ 15092 w 15878"/>
                <a:gd name="connsiteY6" fmla="*/ 9738 h 15119"/>
                <a:gd name="connsiteX7" fmla="*/ 14100 w 15878"/>
                <a:gd name="connsiteY7" fmla="*/ 14422 h 15119"/>
                <a:gd name="connsiteX8" fmla="*/ 14005 w 15878"/>
                <a:gd name="connsiteY8" fmla="*/ 14474 h 15119"/>
                <a:gd name="connsiteX9" fmla="*/ 11561 w 15878"/>
                <a:gd name="connsiteY9" fmla="*/ 15119 h 1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8" h="15119">
                  <a:moveTo>
                    <a:pt x="11561" y="15119"/>
                  </a:moveTo>
                  <a:cubicBezTo>
                    <a:pt x="10138" y="15126"/>
                    <a:pt x="8808" y="14558"/>
                    <a:pt x="8031" y="13612"/>
                  </a:cubicBezTo>
                  <a:lnTo>
                    <a:pt x="809" y="5389"/>
                  </a:lnTo>
                  <a:cubicBezTo>
                    <a:pt x="-576" y="3864"/>
                    <a:pt x="-139" y="1739"/>
                    <a:pt x="1784" y="641"/>
                  </a:cubicBezTo>
                  <a:cubicBezTo>
                    <a:pt x="1803" y="631"/>
                    <a:pt x="1821" y="620"/>
                    <a:pt x="1840" y="610"/>
                  </a:cubicBezTo>
                  <a:cubicBezTo>
                    <a:pt x="3807" y="-466"/>
                    <a:pt x="6499" y="-81"/>
                    <a:pt x="7869" y="1471"/>
                  </a:cubicBezTo>
                  <a:lnTo>
                    <a:pt x="15092" y="9738"/>
                  </a:lnTo>
                  <a:cubicBezTo>
                    <a:pt x="16449" y="11248"/>
                    <a:pt x="16006" y="13345"/>
                    <a:pt x="14100" y="14422"/>
                  </a:cubicBezTo>
                  <a:cubicBezTo>
                    <a:pt x="14069" y="14439"/>
                    <a:pt x="14037" y="14456"/>
                    <a:pt x="14005" y="14474"/>
                  </a:cubicBezTo>
                  <a:cubicBezTo>
                    <a:pt x="13302" y="14896"/>
                    <a:pt x="12443" y="15122"/>
                    <a:pt x="11561" y="15119"/>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2" name="Freeform: Shape 1351">
              <a:extLst>
                <a:ext uri="{FF2B5EF4-FFF2-40B4-BE49-F238E27FC236}">
                  <a16:creationId xmlns:a16="http://schemas.microsoft.com/office/drawing/2014/main" id="{9FBC7099-24EB-8300-470D-05A4DB3955B3}"/>
                </a:ext>
              </a:extLst>
            </p:cNvPr>
            <p:cNvSpPr/>
            <p:nvPr/>
          </p:nvSpPr>
          <p:spPr>
            <a:xfrm>
              <a:off x="10021441" y="3539030"/>
              <a:ext cx="15878" cy="15073"/>
            </a:xfrm>
            <a:custGeom>
              <a:avLst/>
              <a:gdLst>
                <a:gd name="connsiteX0" fmla="*/ 4339 w 15878"/>
                <a:gd name="connsiteY0" fmla="*/ 15073 h 15073"/>
                <a:gd name="connsiteX1" fmla="*/ 1840 w 15878"/>
                <a:gd name="connsiteY1" fmla="*/ 14470 h 15073"/>
                <a:gd name="connsiteX2" fmla="*/ 769 w 15878"/>
                <a:gd name="connsiteY2" fmla="*/ 9735 h 15073"/>
                <a:gd name="connsiteX3" fmla="*/ 809 w 15878"/>
                <a:gd name="connsiteY3" fmla="*/ 9691 h 15073"/>
                <a:gd name="connsiteX4" fmla="*/ 8032 w 15878"/>
                <a:gd name="connsiteY4" fmla="*/ 1468 h 15073"/>
                <a:gd name="connsiteX5" fmla="*/ 14001 w 15878"/>
                <a:gd name="connsiteY5" fmla="*/ 603 h 15073"/>
                <a:gd name="connsiteX6" fmla="*/ 14005 w 15878"/>
                <a:gd name="connsiteY6" fmla="*/ 606 h 15073"/>
                <a:gd name="connsiteX7" fmla="*/ 15157 w 15878"/>
                <a:gd name="connsiteY7" fmla="*/ 5267 h 15073"/>
                <a:gd name="connsiteX8" fmla="*/ 15092 w 15878"/>
                <a:gd name="connsiteY8" fmla="*/ 5343 h 15073"/>
                <a:gd name="connsiteX9" fmla="*/ 7869 w 15878"/>
                <a:gd name="connsiteY9" fmla="*/ 13609 h 15073"/>
                <a:gd name="connsiteX10" fmla="*/ 4339 w 15878"/>
                <a:gd name="connsiteY10" fmla="*/ 15073 h 1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78" h="15073">
                  <a:moveTo>
                    <a:pt x="4339" y="15073"/>
                  </a:moveTo>
                  <a:cubicBezTo>
                    <a:pt x="3447" y="15085"/>
                    <a:pt x="2572" y="14874"/>
                    <a:pt x="1840" y="14470"/>
                  </a:cubicBezTo>
                  <a:cubicBezTo>
                    <a:pt x="-104" y="13397"/>
                    <a:pt x="-584" y="11278"/>
                    <a:pt x="769" y="9735"/>
                  </a:cubicBezTo>
                  <a:cubicBezTo>
                    <a:pt x="782" y="9721"/>
                    <a:pt x="795" y="9706"/>
                    <a:pt x="809" y="9691"/>
                  </a:cubicBezTo>
                  <a:lnTo>
                    <a:pt x="8032" y="1468"/>
                  </a:lnTo>
                  <a:cubicBezTo>
                    <a:pt x="9379" y="-78"/>
                    <a:pt x="12051" y="-464"/>
                    <a:pt x="14001" y="603"/>
                  </a:cubicBezTo>
                  <a:cubicBezTo>
                    <a:pt x="14002" y="605"/>
                    <a:pt x="14004" y="606"/>
                    <a:pt x="14005" y="606"/>
                  </a:cubicBezTo>
                  <a:cubicBezTo>
                    <a:pt x="15947" y="1641"/>
                    <a:pt x="16463" y="3728"/>
                    <a:pt x="15157" y="5267"/>
                  </a:cubicBezTo>
                  <a:cubicBezTo>
                    <a:pt x="15136" y="5293"/>
                    <a:pt x="15114" y="5318"/>
                    <a:pt x="15092" y="5343"/>
                  </a:cubicBezTo>
                  <a:lnTo>
                    <a:pt x="7869" y="13609"/>
                  </a:lnTo>
                  <a:cubicBezTo>
                    <a:pt x="7066" y="14527"/>
                    <a:pt x="5747" y="15074"/>
                    <a:pt x="4339" y="15073"/>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3" name="Freeform: Shape 1352">
              <a:extLst>
                <a:ext uri="{FF2B5EF4-FFF2-40B4-BE49-F238E27FC236}">
                  <a16:creationId xmlns:a16="http://schemas.microsoft.com/office/drawing/2014/main" id="{5107DD3D-5642-4DBC-79D7-C5799BEE4A4D}"/>
                </a:ext>
              </a:extLst>
            </p:cNvPr>
            <p:cNvSpPr/>
            <p:nvPr/>
          </p:nvSpPr>
          <p:spPr>
            <a:xfrm>
              <a:off x="10107836" y="3507776"/>
              <a:ext cx="87876" cy="69490"/>
            </a:xfrm>
            <a:custGeom>
              <a:avLst/>
              <a:gdLst>
                <a:gd name="connsiteX0" fmla="*/ 49586 w 87876"/>
                <a:gd name="connsiteY0" fmla="*/ 69491 h 69490"/>
                <a:gd name="connsiteX1" fmla="*/ 38290 w 87876"/>
                <a:gd name="connsiteY1" fmla="*/ 69491 h 69490"/>
                <a:gd name="connsiteX2" fmla="*/ 30090 w 87876"/>
                <a:gd name="connsiteY2" fmla="*/ 62989 h 69490"/>
                <a:gd name="connsiteX3" fmla="*/ 30090 w 87876"/>
                <a:gd name="connsiteY3" fmla="*/ 61138 h 69490"/>
                <a:gd name="connsiteX4" fmla="*/ 28460 w 87876"/>
                <a:gd name="connsiteY4" fmla="*/ 62430 h 69490"/>
                <a:gd name="connsiteX5" fmla="*/ 16838 w 87876"/>
                <a:gd name="connsiteY5" fmla="*/ 62430 h 69490"/>
                <a:gd name="connsiteX6" fmla="*/ 8909 w 87876"/>
                <a:gd name="connsiteY6" fmla="*/ 56187 h 69490"/>
                <a:gd name="connsiteX7" fmla="*/ 6466 w 87876"/>
                <a:gd name="connsiteY7" fmla="*/ 51580 h 69490"/>
                <a:gd name="connsiteX8" fmla="*/ 8909 w 87876"/>
                <a:gd name="connsiteY8" fmla="*/ 46973 h 69490"/>
                <a:gd name="connsiteX9" fmla="*/ 10539 w 87876"/>
                <a:gd name="connsiteY9" fmla="*/ 45681 h 69490"/>
                <a:gd name="connsiteX10" fmla="*/ 8203 w 87876"/>
                <a:gd name="connsiteY10" fmla="*/ 45681 h 69490"/>
                <a:gd name="connsiteX11" fmla="*/ 0 w 87876"/>
                <a:gd name="connsiteY11" fmla="*/ 39097 h 69490"/>
                <a:gd name="connsiteX12" fmla="*/ 3 w 87876"/>
                <a:gd name="connsiteY12" fmla="*/ 38965 h 69490"/>
                <a:gd name="connsiteX13" fmla="*/ 3 w 87876"/>
                <a:gd name="connsiteY13" fmla="*/ 30354 h 69490"/>
                <a:gd name="connsiteX14" fmla="*/ 8203 w 87876"/>
                <a:gd name="connsiteY14" fmla="*/ 23852 h 69490"/>
                <a:gd name="connsiteX15" fmla="*/ 10539 w 87876"/>
                <a:gd name="connsiteY15" fmla="*/ 23852 h 69490"/>
                <a:gd name="connsiteX16" fmla="*/ 8909 w 87876"/>
                <a:gd name="connsiteY16" fmla="*/ 22561 h 69490"/>
                <a:gd name="connsiteX17" fmla="*/ 8885 w 87876"/>
                <a:gd name="connsiteY17" fmla="*/ 13366 h 69490"/>
                <a:gd name="connsiteX18" fmla="*/ 8909 w 87876"/>
                <a:gd name="connsiteY18" fmla="*/ 13347 h 69490"/>
                <a:gd name="connsiteX19" fmla="*/ 16838 w 87876"/>
                <a:gd name="connsiteY19" fmla="*/ 7061 h 69490"/>
                <a:gd name="connsiteX20" fmla="*/ 28460 w 87876"/>
                <a:gd name="connsiteY20" fmla="*/ 7061 h 69490"/>
                <a:gd name="connsiteX21" fmla="*/ 30090 w 87876"/>
                <a:gd name="connsiteY21" fmla="*/ 8353 h 69490"/>
                <a:gd name="connsiteX22" fmla="*/ 30090 w 87876"/>
                <a:gd name="connsiteY22" fmla="*/ 6501 h 69490"/>
                <a:gd name="connsiteX23" fmla="*/ 38290 w 87876"/>
                <a:gd name="connsiteY23" fmla="*/ 0 h 69490"/>
                <a:gd name="connsiteX24" fmla="*/ 49586 w 87876"/>
                <a:gd name="connsiteY24" fmla="*/ 0 h 69490"/>
                <a:gd name="connsiteX25" fmla="*/ 57787 w 87876"/>
                <a:gd name="connsiteY25" fmla="*/ 6501 h 69490"/>
                <a:gd name="connsiteX26" fmla="*/ 57787 w 87876"/>
                <a:gd name="connsiteY26" fmla="*/ 8353 h 69490"/>
                <a:gd name="connsiteX27" fmla="*/ 59416 w 87876"/>
                <a:gd name="connsiteY27" fmla="*/ 7061 h 69490"/>
                <a:gd name="connsiteX28" fmla="*/ 71038 w 87876"/>
                <a:gd name="connsiteY28" fmla="*/ 7061 h 69490"/>
                <a:gd name="connsiteX29" fmla="*/ 78967 w 87876"/>
                <a:gd name="connsiteY29" fmla="*/ 13132 h 69490"/>
                <a:gd name="connsiteX30" fmla="*/ 78991 w 87876"/>
                <a:gd name="connsiteY30" fmla="*/ 22326 h 69490"/>
                <a:gd name="connsiteX31" fmla="*/ 78967 w 87876"/>
                <a:gd name="connsiteY31" fmla="*/ 22346 h 69490"/>
                <a:gd name="connsiteX32" fmla="*/ 77392 w 87876"/>
                <a:gd name="connsiteY32" fmla="*/ 23637 h 69490"/>
                <a:gd name="connsiteX33" fmla="*/ 79673 w 87876"/>
                <a:gd name="connsiteY33" fmla="*/ 23637 h 69490"/>
                <a:gd name="connsiteX34" fmla="*/ 87876 w 87876"/>
                <a:gd name="connsiteY34" fmla="*/ 30222 h 69490"/>
                <a:gd name="connsiteX35" fmla="*/ 87873 w 87876"/>
                <a:gd name="connsiteY35" fmla="*/ 30354 h 69490"/>
                <a:gd name="connsiteX36" fmla="*/ 87873 w 87876"/>
                <a:gd name="connsiteY36" fmla="*/ 38965 h 69490"/>
                <a:gd name="connsiteX37" fmla="*/ 79673 w 87876"/>
                <a:gd name="connsiteY37" fmla="*/ 45466 h 69490"/>
                <a:gd name="connsiteX38" fmla="*/ 77392 w 87876"/>
                <a:gd name="connsiteY38" fmla="*/ 45466 h 69490"/>
                <a:gd name="connsiteX39" fmla="*/ 78967 w 87876"/>
                <a:gd name="connsiteY39" fmla="*/ 46758 h 69490"/>
                <a:gd name="connsiteX40" fmla="*/ 81411 w 87876"/>
                <a:gd name="connsiteY40" fmla="*/ 51365 h 69490"/>
                <a:gd name="connsiteX41" fmla="*/ 78967 w 87876"/>
                <a:gd name="connsiteY41" fmla="*/ 56187 h 69490"/>
                <a:gd name="connsiteX42" fmla="*/ 71038 w 87876"/>
                <a:gd name="connsiteY42" fmla="*/ 62473 h 69490"/>
                <a:gd name="connsiteX43" fmla="*/ 59440 w 87876"/>
                <a:gd name="connsiteY43" fmla="*/ 62492 h 69490"/>
                <a:gd name="connsiteX44" fmla="*/ 59416 w 87876"/>
                <a:gd name="connsiteY44" fmla="*/ 62473 h 69490"/>
                <a:gd name="connsiteX45" fmla="*/ 57787 w 87876"/>
                <a:gd name="connsiteY45" fmla="*/ 61181 h 69490"/>
                <a:gd name="connsiteX46" fmla="*/ 57787 w 87876"/>
                <a:gd name="connsiteY46" fmla="*/ 63033 h 69490"/>
                <a:gd name="connsiteX47" fmla="*/ 49586 w 87876"/>
                <a:gd name="connsiteY47" fmla="*/ 69491 h 69490"/>
                <a:gd name="connsiteX48" fmla="*/ 38725 w 87876"/>
                <a:gd name="connsiteY48" fmla="*/ 62645 h 69490"/>
                <a:gd name="connsiteX49" fmla="*/ 49152 w 87876"/>
                <a:gd name="connsiteY49" fmla="*/ 62645 h 69490"/>
                <a:gd name="connsiteX50" fmla="*/ 49152 w 87876"/>
                <a:gd name="connsiteY50" fmla="*/ 54508 h 69490"/>
                <a:gd name="connsiteX51" fmla="*/ 51921 w 87876"/>
                <a:gd name="connsiteY51" fmla="*/ 51279 h 69490"/>
                <a:gd name="connsiteX52" fmla="*/ 53170 w 87876"/>
                <a:gd name="connsiteY52" fmla="*/ 50891 h 69490"/>
                <a:gd name="connsiteX53" fmla="*/ 57950 w 87876"/>
                <a:gd name="connsiteY53" fmla="*/ 51623 h 69490"/>
                <a:gd name="connsiteX54" fmla="*/ 65227 w 87876"/>
                <a:gd name="connsiteY54" fmla="*/ 57349 h 69490"/>
                <a:gd name="connsiteX55" fmla="*/ 72558 w 87876"/>
                <a:gd name="connsiteY55" fmla="*/ 51537 h 69490"/>
                <a:gd name="connsiteX56" fmla="*/ 65335 w 87876"/>
                <a:gd name="connsiteY56" fmla="*/ 45767 h 69490"/>
                <a:gd name="connsiteX57" fmla="*/ 64412 w 87876"/>
                <a:gd name="connsiteY57" fmla="*/ 41936 h 69490"/>
                <a:gd name="connsiteX58" fmla="*/ 64955 w 87876"/>
                <a:gd name="connsiteY58" fmla="*/ 40988 h 69490"/>
                <a:gd name="connsiteX59" fmla="*/ 69191 w 87876"/>
                <a:gd name="connsiteY59" fmla="*/ 38965 h 69490"/>
                <a:gd name="connsiteX60" fmla="*/ 79456 w 87876"/>
                <a:gd name="connsiteY60" fmla="*/ 38965 h 69490"/>
                <a:gd name="connsiteX61" fmla="*/ 79456 w 87876"/>
                <a:gd name="connsiteY61" fmla="*/ 30354 h 69490"/>
                <a:gd name="connsiteX62" fmla="*/ 69191 w 87876"/>
                <a:gd name="connsiteY62" fmla="*/ 30354 h 69490"/>
                <a:gd name="connsiteX63" fmla="*/ 65173 w 87876"/>
                <a:gd name="connsiteY63" fmla="*/ 28158 h 69490"/>
                <a:gd name="connsiteX64" fmla="*/ 64629 w 87876"/>
                <a:gd name="connsiteY64" fmla="*/ 27211 h 69490"/>
                <a:gd name="connsiteX65" fmla="*/ 65553 w 87876"/>
                <a:gd name="connsiteY65" fmla="*/ 23379 h 69490"/>
                <a:gd name="connsiteX66" fmla="*/ 72776 w 87876"/>
                <a:gd name="connsiteY66" fmla="*/ 17609 h 69490"/>
                <a:gd name="connsiteX67" fmla="*/ 65444 w 87876"/>
                <a:gd name="connsiteY67" fmla="*/ 11797 h 69490"/>
                <a:gd name="connsiteX68" fmla="*/ 58167 w 87876"/>
                <a:gd name="connsiteY68" fmla="*/ 17523 h 69490"/>
                <a:gd name="connsiteX69" fmla="*/ 53388 w 87876"/>
                <a:gd name="connsiteY69" fmla="*/ 18255 h 69490"/>
                <a:gd name="connsiteX70" fmla="*/ 52139 w 87876"/>
                <a:gd name="connsiteY70" fmla="*/ 17868 h 69490"/>
                <a:gd name="connsiteX71" fmla="*/ 49369 w 87876"/>
                <a:gd name="connsiteY71" fmla="*/ 14639 h 69490"/>
                <a:gd name="connsiteX72" fmla="*/ 49369 w 87876"/>
                <a:gd name="connsiteY72" fmla="*/ 6674 h 69490"/>
                <a:gd name="connsiteX73" fmla="*/ 38725 w 87876"/>
                <a:gd name="connsiteY73" fmla="*/ 6674 h 69490"/>
                <a:gd name="connsiteX74" fmla="*/ 38725 w 87876"/>
                <a:gd name="connsiteY74" fmla="*/ 14811 h 69490"/>
                <a:gd name="connsiteX75" fmla="*/ 35955 w 87876"/>
                <a:gd name="connsiteY75" fmla="*/ 18040 h 69490"/>
                <a:gd name="connsiteX76" fmla="*/ 34760 w 87876"/>
                <a:gd name="connsiteY76" fmla="*/ 18428 h 69490"/>
                <a:gd name="connsiteX77" fmla="*/ 29927 w 87876"/>
                <a:gd name="connsiteY77" fmla="*/ 17696 h 69490"/>
                <a:gd name="connsiteX78" fmla="*/ 22649 w 87876"/>
                <a:gd name="connsiteY78" fmla="*/ 11969 h 69490"/>
                <a:gd name="connsiteX79" fmla="*/ 15318 w 87876"/>
                <a:gd name="connsiteY79" fmla="*/ 17782 h 69490"/>
                <a:gd name="connsiteX80" fmla="*/ 22541 w 87876"/>
                <a:gd name="connsiteY80" fmla="*/ 23551 h 69490"/>
                <a:gd name="connsiteX81" fmla="*/ 23464 w 87876"/>
                <a:gd name="connsiteY81" fmla="*/ 27383 h 69490"/>
                <a:gd name="connsiteX82" fmla="*/ 22975 w 87876"/>
                <a:gd name="connsiteY82" fmla="*/ 28330 h 69490"/>
                <a:gd name="connsiteX83" fmla="*/ 18902 w 87876"/>
                <a:gd name="connsiteY83" fmla="*/ 30526 h 69490"/>
                <a:gd name="connsiteX84" fmla="*/ 8638 w 87876"/>
                <a:gd name="connsiteY84" fmla="*/ 30526 h 69490"/>
                <a:gd name="connsiteX85" fmla="*/ 8638 w 87876"/>
                <a:gd name="connsiteY85" fmla="*/ 38965 h 69490"/>
                <a:gd name="connsiteX86" fmla="*/ 18902 w 87876"/>
                <a:gd name="connsiteY86" fmla="*/ 38965 h 69490"/>
                <a:gd name="connsiteX87" fmla="*/ 22975 w 87876"/>
                <a:gd name="connsiteY87" fmla="*/ 41161 h 69490"/>
                <a:gd name="connsiteX88" fmla="*/ 23464 w 87876"/>
                <a:gd name="connsiteY88" fmla="*/ 42108 h 69490"/>
                <a:gd name="connsiteX89" fmla="*/ 22541 w 87876"/>
                <a:gd name="connsiteY89" fmla="*/ 45940 h 69490"/>
                <a:gd name="connsiteX90" fmla="*/ 15318 w 87876"/>
                <a:gd name="connsiteY90" fmla="*/ 51709 h 69490"/>
                <a:gd name="connsiteX91" fmla="*/ 22649 w 87876"/>
                <a:gd name="connsiteY91" fmla="*/ 57521 h 69490"/>
                <a:gd name="connsiteX92" fmla="*/ 29927 w 87876"/>
                <a:gd name="connsiteY92" fmla="*/ 51795 h 69490"/>
                <a:gd name="connsiteX93" fmla="*/ 34760 w 87876"/>
                <a:gd name="connsiteY93" fmla="*/ 51063 h 69490"/>
                <a:gd name="connsiteX94" fmla="*/ 35955 w 87876"/>
                <a:gd name="connsiteY94" fmla="*/ 51451 h 69490"/>
                <a:gd name="connsiteX95" fmla="*/ 38725 w 87876"/>
                <a:gd name="connsiteY95" fmla="*/ 54680 h 6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876" h="69490">
                  <a:moveTo>
                    <a:pt x="49586" y="69491"/>
                  </a:moveTo>
                  <a:lnTo>
                    <a:pt x="38290" y="69491"/>
                  </a:lnTo>
                  <a:cubicBezTo>
                    <a:pt x="33773" y="69467"/>
                    <a:pt x="30119" y="66570"/>
                    <a:pt x="30090" y="62989"/>
                  </a:cubicBezTo>
                  <a:lnTo>
                    <a:pt x="30090" y="61138"/>
                  </a:lnTo>
                  <a:lnTo>
                    <a:pt x="28460" y="62430"/>
                  </a:lnTo>
                  <a:cubicBezTo>
                    <a:pt x="25219" y="64912"/>
                    <a:pt x="20079" y="64912"/>
                    <a:pt x="16838" y="62430"/>
                  </a:cubicBezTo>
                  <a:lnTo>
                    <a:pt x="8909" y="56187"/>
                  </a:lnTo>
                  <a:cubicBezTo>
                    <a:pt x="7353" y="54970"/>
                    <a:pt x="6473" y="53312"/>
                    <a:pt x="6466" y="51580"/>
                  </a:cubicBezTo>
                  <a:cubicBezTo>
                    <a:pt x="6449" y="49843"/>
                    <a:pt x="7332" y="48178"/>
                    <a:pt x="8909" y="46973"/>
                  </a:cubicBezTo>
                  <a:lnTo>
                    <a:pt x="10539" y="45681"/>
                  </a:lnTo>
                  <a:lnTo>
                    <a:pt x="8203" y="45681"/>
                  </a:lnTo>
                  <a:cubicBezTo>
                    <a:pt x="3644" y="45659"/>
                    <a:pt x="-28" y="42711"/>
                    <a:pt x="0" y="39097"/>
                  </a:cubicBezTo>
                  <a:cubicBezTo>
                    <a:pt x="1" y="39053"/>
                    <a:pt x="1" y="39009"/>
                    <a:pt x="3" y="38965"/>
                  </a:cubicBezTo>
                  <a:lnTo>
                    <a:pt x="3" y="30354"/>
                  </a:lnTo>
                  <a:cubicBezTo>
                    <a:pt x="33" y="26773"/>
                    <a:pt x="3687" y="23876"/>
                    <a:pt x="8203" y="23852"/>
                  </a:cubicBezTo>
                  <a:lnTo>
                    <a:pt x="10539" y="23852"/>
                  </a:lnTo>
                  <a:lnTo>
                    <a:pt x="8909" y="22561"/>
                  </a:lnTo>
                  <a:cubicBezTo>
                    <a:pt x="5700" y="20027"/>
                    <a:pt x="5689" y="15911"/>
                    <a:pt x="8885" y="13366"/>
                  </a:cubicBezTo>
                  <a:cubicBezTo>
                    <a:pt x="8893" y="13360"/>
                    <a:pt x="8901" y="13354"/>
                    <a:pt x="8909" y="13347"/>
                  </a:cubicBezTo>
                  <a:lnTo>
                    <a:pt x="16838" y="7061"/>
                  </a:lnTo>
                  <a:cubicBezTo>
                    <a:pt x="20068" y="4556"/>
                    <a:pt x="25231" y="4556"/>
                    <a:pt x="28460" y="7061"/>
                  </a:cubicBezTo>
                  <a:lnTo>
                    <a:pt x="30090" y="8353"/>
                  </a:lnTo>
                  <a:lnTo>
                    <a:pt x="30090" y="6501"/>
                  </a:lnTo>
                  <a:cubicBezTo>
                    <a:pt x="30119" y="2920"/>
                    <a:pt x="33773" y="24"/>
                    <a:pt x="38290" y="0"/>
                  </a:cubicBezTo>
                  <a:lnTo>
                    <a:pt x="49586" y="0"/>
                  </a:lnTo>
                  <a:cubicBezTo>
                    <a:pt x="54103" y="24"/>
                    <a:pt x="57757" y="2920"/>
                    <a:pt x="57787" y="6501"/>
                  </a:cubicBezTo>
                  <a:lnTo>
                    <a:pt x="57787" y="8353"/>
                  </a:lnTo>
                  <a:lnTo>
                    <a:pt x="59416" y="7061"/>
                  </a:lnTo>
                  <a:cubicBezTo>
                    <a:pt x="62646" y="4556"/>
                    <a:pt x="67808" y="4556"/>
                    <a:pt x="71038" y="7061"/>
                  </a:cubicBezTo>
                  <a:lnTo>
                    <a:pt x="78967" y="13132"/>
                  </a:lnTo>
                  <a:cubicBezTo>
                    <a:pt x="82176" y="15665"/>
                    <a:pt x="82187" y="19782"/>
                    <a:pt x="78991" y="22326"/>
                  </a:cubicBezTo>
                  <a:cubicBezTo>
                    <a:pt x="78983" y="22333"/>
                    <a:pt x="78975" y="22339"/>
                    <a:pt x="78967" y="22346"/>
                  </a:cubicBezTo>
                  <a:lnTo>
                    <a:pt x="77392" y="23637"/>
                  </a:lnTo>
                  <a:lnTo>
                    <a:pt x="79673" y="23637"/>
                  </a:lnTo>
                  <a:cubicBezTo>
                    <a:pt x="84232" y="23660"/>
                    <a:pt x="87904" y="26608"/>
                    <a:pt x="87876" y="30222"/>
                  </a:cubicBezTo>
                  <a:cubicBezTo>
                    <a:pt x="87875" y="30266"/>
                    <a:pt x="87875" y="30310"/>
                    <a:pt x="87873" y="30354"/>
                  </a:cubicBezTo>
                  <a:lnTo>
                    <a:pt x="87873" y="38965"/>
                  </a:lnTo>
                  <a:cubicBezTo>
                    <a:pt x="87843" y="42546"/>
                    <a:pt x="84190" y="45442"/>
                    <a:pt x="79673" y="45466"/>
                  </a:cubicBezTo>
                  <a:lnTo>
                    <a:pt x="77392" y="45466"/>
                  </a:lnTo>
                  <a:lnTo>
                    <a:pt x="78967" y="46758"/>
                  </a:lnTo>
                  <a:cubicBezTo>
                    <a:pt x="80544" y="47962"/>
                    <a:pt x="81428" y="49628"/>
                    <a:pt x="81411" y="51365"/>
                  </a:cubicBezTo>
                  <a:cubicBezTo>
                    <a:pt x="81477" y="53172"/>
                    <a:pt x="80592" y="54919"/>
                    <a:pt x="78967" y="56187"/>
                  </a:cubicBezTo>
                  <a:lnTo>
                    <a:pt x="71038" y="62473"/>
                  </a:lnTo>
                  <a:cubicBezTo>
                    <a:pt x="67842" y="65017"/>
                    <a:pt x="62650" y="65026"/>
                    <a:pt x="59440" y="62492"/>
                  </a:cubicBezTo>
                  <a:cubicBezTo>
                    <a:pt x="59432" y="62486"/>
                    <a:pt x="59424" y="62479"/>
                    <a:pt x="59416" y="62473"/>
                  </a:cubicBezTo>
                  <a:lnTo>
                    <a:pt x="57787" y="61181"/>
                  </a:lnTo>
                  <a:lnTo>
                    <a:pt x="57787" y="63033"/>
                  </a:lnTo>
                  <a:cubicBezTo>
                    <a:pt x="57727" y="66597"/>
                    <a:pt x="54082" y="69468"/>
                    <a:pt x="49586" y="69491"/>
                  </a:cubicBezTo>
                  <a:close/>
                  <a:moveTo>
                    <a:pt x="38725" y="62645"/>
                  </a:moveTo>
                  <a:lnTo>
                    <a:pt x="49152" y="62645"/>
                  </a:lnTo>
                  <a:lnTo>
                    <a:pt x="49152" y="54508"/>
                  </a:lnTo>
                  <a:cubicBezTo>
                    <a:pt x="49142" y="53080"/>
                    <a:pt x="50243" y="51796"/>
                    <a:pt x="51921" y="51279"/>
                  </a:cubicBezTo>
                  <a:cubicBezTo>
                    <a:pt x="52355" y="51187"/>
                    <a:pt x="52774" y="51057"/>
                    <a:pt x="53170" y="50891"/>
                  </a:cubicBezTo>
                  <a:cubicBezTo>
                    <a:pt x="54799" y="50313"/>
                    <a:pt x="56710" y="50605"/>
                    <a:pt x="57950" y="51623"/>
                  </a:cubicBezTo>
                  <a:lnTo>
                    <a:pt x="65227" y="57349"/>
                  </a:lnTo>
                  <a:lnTo>
                    <a:pt x="72558" y="51537"/>
                  </a:lnTo>
                  <a:lnTo>
                    <a:pt x="65335" y="45767"/>
                  </a:lnTo>
                  <a:cubicBezTo>
                    <a:pt x="64042" y="44771"/>
                    <a:pt x="63674" y="43240"/>
                    <a:pt x="64412" y="41936"/>
                  </a:cubicBezTo>
                  <a:cubicBezTo>
                    <a:pt x="64626" y="41632"/>
                    <a:pt x="64808" y="41316"/>
                    <a:pt x="64955" y="40988"/>
                  </a:cubicBezTo>
                  <a:cubicBezTo>
                    <a:pt x="65673" y="39663"/>
                    <a:pt x="67377" y="38848"/>
                    <a:pt x="69191" y="38965"/>
                  </a:cubicBezTo>
                  <a:lnTo>
                    <a:pt x="79456" y="38965"/>
                  </a:lnTo>
                  <a:lnTo>
                    <a:pt x="79456" y="30354"/>
                  </a:lnTo>
                  <a:lnTo>
                    <a:pt x="69191" y="30354"/>
                  </a:lnTo>
                  <a:cubicBezTo>
                    <a:pt x="67401" y="30369"/>
                    <a:pt x="65792" y="29490"/>
                    <a:pt x="65173" y="28158"/>
                  </a:cubicBezTo>
                  <a:cubicBezTo>
                    <a:pt x="65025" y="27831"/>
                    <a:pt x="64843" y="27514"/>
                    <a:pt x="64629" y="27211"/>
                  </a:cubicBezTo>
                  <a:cubicBezTo>
                    <a:pt x="63891" y="25907"/>
                    <a:pt x="64260" y="24376"/>
                    <a:pt x="65553" y="23379"/>
                  </a:cubicBezTo>
                  <a:lnTo>
                    <a:pt x="72776" y="17609"/>
                  </a:lnTo>
                  <a:lnTo>
                    <a:pt x="65444" y="11797"/>
                  </a:lnTo>
                  <a:lnTo>
                    <a:pt x="58167" y="17523"/>
                  </a:lnTo>
                  <a:cubicBezTo>
                    <a:pt x="56927" y="18541"/>
                    <a:pt x="55016" y="18834"/>
                    <a:pt x="53388" y="18255"/>
                  </a:cubicBezTo>
                  <a:cubicBezTo>
                    <a:pt x="52991" y="18089"/>
                    <a:pt x="52572" y="17959"/>
                    <a:pt x="52139" y="17868"/>
                  </a:cubicBezTo>
                  <a:cubicBezTo>
                    <a:pt x="50460" y="17350"/>
                    <a:pt x="49359" y="16066"/>
                    <a:pt x="49369" y="14639"/>
                  </a:cubicBezTo>
                  <a:lnTo>
                    <a:pt x="49369" y="6674"/>
                  </a:lnTo>
                  <a:lnTo>
                    <a:pt x="38725" y="6674"/>
                  </a:lnTo>
                  <a:lnTo>
                    <a:pt x="38725" y="14811"/>
                  </a:lnTo>
                  <a:cubicBezTo>
                    <a:pt x="38734" y="16238"/>
                    <a:pt x="37633" y="17523"/>
                    <a:pt x="35955" y="18040"/>
                  </a:cubicBezTo>
                  <a:cubicBezTo>
                    <a:pt x="35538" y="18131"/>
                    <a:pt x="35137" y="18261"/>
                    <a:pt x="34760" y="18428"/>
                  </a:cubicBezTo>
                  <a:cubicBezTo>
                    <a:pt x="33113" y="19000"/>
                    <a:pt x="31191" y="18709"/>
                    <a:pt x="29927" y="17696"/>
                  </a:cubicBezTo>
                  <a:lnTo>
                    <a:pt x="22649" y="11969"/>
                  </a:lnTo>
                  <a:lnTo>
                    <a:pt x="15318" y="17782"/>
                  </a:lnTo>
                  <a:lnTo>
                    <a:pt x="22541" y="23551"/>
                  </a:lnTo>
                  <a:cubicBezTo>
                    <a:pt x="23834" y="24548"/>
                    <a:pt x="24203" y="26079"/>
                    <a:pt x="23464" y="27383"/>
                  </a:cubicBezTo>
                  <a:lnTo>
                    <a:pt x="22975" y="28330"/>
                  </a:lnTo>
                  <a:cubicBezTo>
                    <a:pt x="22322" y="29661"/>
                    <a:pt x="20702" y="30534"/>
                    <a:pt x="18902" y="30526"/>
                  </a:cubicBezTo>
                  <a:lnTo>
                    <a:pt x="8638" y="30526"/>
                  </a:lnTo>
                  <a:lnTo>
                    <a:pt x="8638" y="38965"/>
                  </a:lnTo>
                  <a:lnTo>
                    <a:pt x="18902" y="38965"/>
                  </a:lnTo>
                  <a:cubicBezTo>
                    <a:pt x="20702" y="38957"/>
                    <a:pt x="22322" y="39830"/>
                    <a:pt x="22975" y="41161"/>
                  </a:cubicBezTo>
                  <a:lnTo>
                    <a:pt x="23464" y="42108"/>
                  </a:lnTo>
                  <a:cubicBezTo>
                    <a:pt x="24203" y="43412"/>
                    <a:pt x="23834" y="44943"/>
                    <a:pt x="22541" y="45940"/>
                  </a:cubicBezTo>
                  <a:lnTo>
                    <a:pt x="15318" y="51709"/>
                  </a:lnTo>
                  <a:lnTo>
                    <a:pt x="22649" y="57521"/>
                  </a:lnTo>
                  <a:lnTo>
                    <a:pt x="29927" y="51795"/>
                  </a:lnTo>
                  <a:cubicBezTo>
                    <a:pt x="31191" y="50782"/>
                    <a:pt x="33113" y="50491"/>
                    <a:pt x="34760" y="51063"/>
                  </a:cubicBezTo>
                  <a:cubicBezTo>
                    <a:pt x="35137" y="51229"/>
                    <a:pt x="35538" y="51360"/>
                    <a:pt x="35955" y="51451"/>
                  </a:cubicBezTo>
                  <a:cubicBezTo>
                    <a:pt x="37633" y="51968"/>
                    <a:pt x="38734" y="53253"/>
                    <a:pt x="38725" y="54680"/>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4" name="Freeform: Shape 1353">
              <a:extLst>
                <a:ext uri="{FF2B5EF4-FFF2-40B4-BE49-F238E27FC236}">
                  <a16:creationId xmlns:a16="http://schemas.microsoft.com/office/drawing/2014/main" id="{8A2578CB-EDB2-2E92-FB9A-7C07CBB48EE4}"/>
                </a:ext>
              </a:extLst>
            </p:cNvPr>
            <p:cNvSpPr/>
            <p:nvPr/>
          </p:nvSpPr>
          <p:spPr>
            <a:xfrm>
              <a:off x="10133146" y="3527668"/>
              <a:ext cx="37255" cy="29535"/>
            </a:xfrm>
            <a:custGeom>
              <a:avLst/>
              <a:gdLst>
                <a:gd name="connsiteX0" fmla="*/ 18628 w 37255"/>
                <a:gd name="connsiteY0" fmla="*/ 29536 h 29535"/>
                <a:gd name="connsiteX1" fmla="*/ 0 w 37255"/>
                <a:gd name="connsiteY1" fmla="*/ 14768 h 29535"/>
                <a:gd name="connsiteX2" fmla="*/ 18628 w 37255"/>
                <a:gd name="connsiteY2" fmla="*/ 0 h 29535"/>
                <a:gd name="connsiteX3" fmla="*/ 37255 w 37255"/>
                <a:gd name="connsiteY3" fmla="*/ 14768 h 29535"/>
                <a:gd name="connsiteX4" fmla="*/ 18628 w 37255"/>
                <a:gd name="connsiteY4" fmla="*/ 29536 h 29535"/>
                <a:gd name="connsiteX5" fmla="*/ 18628 w 37255"/>
                <a:gd name="connsiteY5" fmla="*/ 6846 h 29535"/>
                <a:gd name="connsiteX6" fmla="*/ 8635 w 37255"/>
                <a:gd name="connsiteY6" fmla="*/ 14768 h 29535"/>
                <a:gd name="connsiteX7" fmla="*/ 18628 w 37255"/>
                <a:gd name="connsiteY7" fmla="*/ 22690 h 29535"/>
                <a:gd name="connsiteX8" fmla="*/ 28620 w 37255"/>
                <a:gd name="connsiteY8" fmla="*/ 14768 h 29535"/>
                <a:gd name="connsiteX9" fmla="*/ 18628 w 37255"/>
                <a:gd name="connsiteY9" fmla="*/ 6846 h 2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55" h="29535">
                  <a:moveTo>
                    <a:pt x="18628" y="29536"/>
                  </a:moveTo>
                  <a:cubicBezTo>
                    <a:pt x="8340" y="29536"/>
                    <a:pt x="0" y="22924"/>
                    <a:pt x="0" y="14768"/>
                  </a:cubicBezTo>
                  <a:cubicBezTo>
                    <a:pt x="0" y="6612"/>
                    <a:pt x="8340" y="0"/>
                    <a:pt x="18628" y="0"/>
                  </a:cubicBezTo>
                  <a:cubicBezTo>
                    <a:pt x="28915" y="0"/>
                    <a:pt x="37255" y="6612"/>
                    <a:pt x="37255" y="14768"/>
                  </a:cubicBezTo>
                  <a:cubicBezTo>
                    <a:pt x="37225" y="22914"/>
                    <a:pt x="28903" y="29512"/>
                    <a:pt x="18628" y="29536"/>
                  </a:cubicBezTo>
                  <a:close/>
                  <a:moveTo>
                    <a:pt x="18628" y="6846"/>
                  </a:moveTo>
                  <a:cubicBezTo>
                    <a:pt x="13109" y="6846"/>
                    <a:pt x="8635" y="10393"/>
                    <a:pt x="8635" y="14768"/>
                  </a:cubicBezTo>
                  <a:cubicBezTo>
                    <a:pt x="8635" y="19143"/>
                    <a:pt x="13109" y="22690"/>
                    <a:pt x="18628" y="22690"/>
                  </a:cubicBezTo>
                  <a:cubicBezTo>
                    <a:pt x="24146" y="22690"/>
                    <a:pt x="28620" y="19143"/>
                    <a:pt x="28620" y="14768"/>
                  </a:cubicBezTo>
                  <a:cubicBezTo>
                    <a:pt x="28590" y="10403"/>
                    <a:pt x="24134" y="6869"/>
                    <a:pt x="18628" y="684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5" name="Freeform: Shape 1354">
              <a:extLst>
                <a:ext uri="{FF2B5EF4-FFF2-40B4-BE49-F238E27FC236}">
                  <a16:creationId xmlns:a16="http://schemas.microsoft.com/office/drawing/2014/main" id="{A704CFEA-C87C-7613-11E3-8A77970375E5}"/>
                </a:ext>
              </a:extLst>
            </p:cNvPr>
            <p:cNvSpPr/>
            <p:nvPr/>
          </p:nvSpPr>
          <p:spPr>
            <a:xfrm>
              <a:off x="9919387" y="3507776"/>
              <a:ext cx="87876" cy="69490"/>
            </a:xfrm>
            <a:custGeom>
              <a:avLst/>
              <a:gdLst>
                <a:gd name="connsiteX0" fmla="*/ 49586 w 87876"/>
                <a:gd name="connsiteY0" fmla="*/ 69491 h 69490"/>
                <a:gd name="connsiteX1" fmla="*/ 38290 w 87876"/>
                <a:gd name="connsiteY1" fmla="*/ 69491 h 69490"/>
                <a:gd name="connsiteX2" fmla="*/ 30089 w 87876"/>
                <a:gd name="connsiteY2" fmla="*/ 62989 h 69490"/>
                <a:gd name="connsiteX3" fmla="*/ 30089 w 87876"/>
                <a:gd name="connsiteY3" fmla="*/ 61138 h 69490"/>
                <a:gd name="connsiteX4" fmla="*/ 28460 w 87876"/>
                <a:gd name="connsiteY4" fmla="*/ 62430 h 69490"/>
                <a:gd name="connsiteX5" fmla="*/ 16838 w 87876"/>
                <a:gd name="connsiteY5" fmla="*/ 62430 h 69490"/>
                <a:gd name="connsiteX6" fmla="*/ 8909 w 87876"/>
                <a:gd name="connsiteY6" fmla="*/ 56187 h 69490"/>
                <a:gd name="connsiteX7" fmla="*/ 8909 w 87876"/>
                <a:gd name="connsiteY7" fmla="*/ 46973 h 69490"/>
                <a:gd name="connsiteX8" fmla="*/ 10538 w 87876"/>
                <a:gd name="connsiteY8" fmla="*/ 45681 h 69490"/>
                <a:gd name="connsiteX9" fmla="*/ 8258 w 87876"/>
                <a:gd name="connsiteY9" fmla="*/ 45681 h 69490"/>
                <a:gd name="connsiteX10" fmla="*/ 0 w 87876"/>
                <a:gd name="connsiteY10" fmla="*/ 39139 h 69490"/>
                <a:gd name="connsiteX11" fmla="*/ 3 w 87876"/>
                <a:gd name="connsiteY11" fmla="*/ 38965 h 69490"/>
                <a:gd name="connsiteX12" fmla="*/ 3 w 87876"/>
                <a:gd name="connsiteY12" fmla="*/ 30354 h 69490"/>
                <a:gd name="connsiteX13" fmla="*/ 8203 w 87876"/>
                <a:gd name="connsiteY13" fmla="*/ 23852 h 69490"/>
                <a:gd name="connsiteX14" fmla="*/ 10484 w 87876"/>
                <a:gd name="connsiteY14" fmla="*/ 23852 h 69490"/>
                <a:gd name="connsiteX15" fmla="*/ 8909 w 87876"/>
                <a:gd name="connsiteY15" fmla="*/ 22561 h 69490"/>
                <a:gd name="connsiteX16" fmla="*/ 8909 w 87876"/>
                <a:gd name="connsiteY16" fmla="*/ 13347 h 69490"/>
                <a:gd name="connsiteX17" fmla="*/ 16893 w 87876"/>
                <a:gd name="connsiteY17" fmla="*/ 7061 h 69490"/>
                <a:gd name="connsiteX18" fmla="*/ 28514 w 87876"/>
                <a:gd name="connsiteY18" fmla="*/ 7061 h 69490"/>
                <a:gd name="connsiteX19" fmla="*/ 30144 w 87876"/>
                <a:gd name="connsiteY19" fmla="*/ 8353 h 69490"/>
                <a:gd name="connsiteX20" fmla="*/ 30144 w 87876"/>
                <a:gd name="connsiteY20" fmla="*/ 6501 h 69490"/>
                <a:gd name="connsiteX21" fmla="*/ 38344 w 87876"/>
                <a:gd name="connsiteY21" fmla="*/ 0 h 69490"/>
                <a:gd name="connsiteX22" fmla="*/ 49640 w 87876"/>
                <a:gd name="connsiteY22" fmla="*/ 0 h 69490"/>
                <a:gd name="connsiteX23" fmla="*/ 57841 w 87876"/>
                <a:gd name="connsiteY23" fmla="*/ 6501 h 69490"/>
                <a:gd name="connsiteX24" fmla="*/ 57841 w 87876"/>
                <a:gd name="connsiteY24" fmla="*/ 8353 h 69490"/>
                <a:gd name="connsiteX25" fmla="*/ 59470 w 87876"/>
                <a:gd name="connsiteY25" fmla="*/ 7061 h 69490"/>
                <a:gd name="connsiteX26" fmla="*/ 71092 w 87876"/>
                <a:gd name="connsiteY26" fmla="*/ 7061 h 69490"/>
                <a:gd name="connsiteX27" fmla="*/ 78967 w 87876"/>
                <a:gd name="connsiteY27" fmla="*/ 13132 h 69490"/>
                <a:gd name="connsiteX28" fmla="*/ 78991 w 87876"/>
                <a:gd name="connsiteY28" fmla="*/ 22326 h 69490"/>
                <a:gd name="connsiteX29" fmla="*/ 78967 w 87876"/>
                <a:gd name="connsiteY29" fmla="*/ 22346 h 69490"/>
                <a:gd name="connsiteX30" fmla="*/ 77337 w 87876"/>
                <a:gd name="connsiteY30" fmla="*/ 23637 h 69490"/>
                <a:gd name="connsiteX31" fmla="*/ 79673 w 87876"/>
                <a:gd name="connsiteY31" fmla="*/ 23637 h 69490"/>
                <a:gd name="connsiteX32" fmla="*/ 87876 w 87876"/>
                <a:gd name="connsiteY32" fmla="*/ 30222 h 69490"/>
                <a:gd name="connsiteX33" fmla="*/ 87873 w 87876"/>
                <a:gd name="connsiteY33" fmla="*/ 30354 h 69490"/>
                <a:gd name="connsiteX34" fmla="*/ 87873 w 87876"/>
                <a:gd name="connsiteY34" fmla="*/ 38965 h 69490"/>
                <a:gd name="connsiteX35" fmla="*/ 79673 w 87876"/>
                <a:gd name="connsiteY35" fmla="*/ 45466 h 69490"/>
                <a:gd name="connsiteX36" fmla="*/ 77337 w 87876"/>
                <a:gd name="connsiteY36" fmla="*/ 45466 h 69490"/>
                <a:gd name="connsiteX37" fmla="*/ 78967 w 87876"/>
                <a:gd name="connsiteY37" fmla="*/ 46758 h 69490"/>
                <a:gd name="connsiteX38" fmla="*/ 78991 w 87876"/>
                <a:gd name="connsiteY38" fmla="*/ 55952 h 69490"/>
                <a:gd name="connsiteX39" fmla="*/ 78967 w 87876"/>
                <a:gd name="connsiteY39" fmla="*/ 55972 h 69490"/>
                <a:gd name="connsiteX40" fmla="*/ 71038 w 87876"/>
                <a:gd name="connsiteY40" fmla="*/ 62258 h 69490"/>
                <a:gd name="connsiteX41" fmla="*/ 59416 w 87876"/>
                <a:gd name="connsiteY41" fmla="*/ 62258 h 69490"/>
                <a:gd name="connsiteX42" fmla="*/ 57786 w 87876"/>
                <a:gd name="connsiteY42" fmla="*/ 60966 h 69490"/>
                <a:gd name="connsiteX43" fmla="*/ 57786 w 87876"/>
                <a:gd name="connsiteY43" fmla="*/ 62817 h 69490"/>
                <a:gd name="connsiteX44" fmla="*/ 49696 w 87876"/>
                <a:gd name="connsiteY44" fmla="*/ 69489 h 69490"/>
                <a:gd name="connsiteX45" fmla="*/ 49586 w 87876"/>
                <a:gd name="connsiteY45" fmla="*/ 69491 h 69490"/>
                <a:gd name="connsiteX46" fmla="*/ 38724 w 87876"/>
                <a:gd name="connsiteY46" fmla="*/ 62645 h 69490"/>
                <a:gd name="connsiteX47" fmla="*/ 49152 w 87876"/>
                <a:gd name="connsiteY47" fmla="*/ 62645 h 69490"/>
                <a:gd name="connsiteX48" fmla="*/ 49152 w 87876"/>
                <a:gd name="connsiteY48" fmla="*/ 54508 h 69490"/>
                <a:gd name="connsiteX49" fmla="*/ 51921 w 87876"/>
                <a:gd name="connsiteY49" fmla="*/ 51279 h 69490"/>
                <a:gd name="connsiteX50" fmla="*/ 53116 w 87876"/>
                <a:gd name="connsiteY50" fmla="*/ 50891 h 69490"/>
                <a:gd name="connsiteX51" fmla="*/ 57949 w 87876"/>
                <a:gd name="connsiteY51" fmla="*/ 51623 h 69490"/>
                <a:gd name="connsiteX52" fmla="*/ 65227 w 87876"/>
                <a:gd name="connsiteY52" fmla="*/ 57349 h 69490"/>
                <a:gd name="connsiteX53" fmla="*/ 72558 w 87876"/>
                <a:gd name="connsiteY53" fmla="*/ 51537 h 69490"/>
                <a:gd name="connsiteX54" fmla="*/ 65335 w 87876"/>
                <a:gd name="connsiteY54" fmla="*/ 45767 h 69490"/>
                <a:gd name="connsiteX55" fmla="*/ 64412 w 87876"/>
                <a:gd name="connsiteY55" fmla="*/ 41936 h 69490"/>
                <a:gd name="connsiteX56" fmla="*/ 64901 w 87876"/>
                <a:gd name="connsiteY56" fmla="*/ 40988 h 69490"/>
                <a:gd name="connsiteX57" fmla="*/ 68974 w 87876"/>
                <a:gd name="connsiteY57" fmla="*/ 38793 h 69490"/>
                <a:gd name="connsiteX58" fmla="*/ 79238 w 87876"/>
                <a:gd name="connsiteY58" fmla="*/ 38793 h 69490"/>
                <a:gd name="connsiteX59" fmla="*/ 79238 w 87876"/>
                <a:gd name="connsiteY59" fmla="*/ 30354 h 69490"/>
                <a:gd name="connsiteX60" fmla="*/ 68974 w 87876"/>
                <a:gd name="connsiteY60" fmla="*/ 30354 h 69490"/>
                <a:gd name="connsiteX61" fmla="*/ 64901 w 87876"/>
                <a:gd name="connsiteY61" fmla="*/ 28158 h 69490"/>
                <a:gd name="connsiteX62" fmla="*/ 64412 w 87876"/>
                <a:gd name="connsiteY62" fmla="*/ 27211 h 69490"/>
                <a:gd name="connsiteX63" fmla="*/ 65335 w 87876"/>
                <a:gd name="connsiteY63" fmla="*/ 23379 h 69490"/>
                <a:gd name="connsiteX64" fmla="*/ 72558 w 87876"/>
                <a:gd name="connsiteY64" fmla="*/ 17609 h 69490"/>
                <a:gd name="connsiteX65" fmla="*/ 65227 w 87876"/>
                <a:gd name="connsiteY65" fmla="*/ 11797 h 69490"/>
                <a:gd name="connsiteX66" fmla="*/ 57949 w 87876"/>
                <a:gd name="connsiteY66" fmla="*/ 17523 h 69490"/>
                <a:gd name="connsiteX67" fmla="*/ 53116 w 87876"/>
                <a:gd name="connsiteY67" fmla="*/ 18255 h 69490"/>
                <a:gd name="connsiteX68" fmla="*/ 51921 w 87876"/>
                <a:gd name="connsiteY68" fmla="*/ 17868 h 69490"/>
                <a:gd name="connsiteX69" fmla="*/ 49152 w 87876"/>
                <a:gd name="connsiteY69" fmla="*/ 14639 h 69490"/>
                <a:gd name="connsiteX70" fmla="*/ 49152 w 87876"/>
                <a:gd name="connsiteY70" fmla="*/ 6674 h 69490"/>
                <a:gd name="connsiteX71" fmla="*/ 38724 w 87876"/>
                <a:gd name="connsiteY71" fmla="*/ 6674 h 69490"/>
                <a:gd name="connsiteX72" fmla="*/ 38724 w 87876"/>
                <a:gd name="connsiteY72" fmla="*/ 14811 h 69490"/>
                <a:gd name="connsiteX73" fmla="*/ 35955 w 87876"/>
                <a:gd name="connsiteY73" fmla="*/ 18040 h 69490"/>
                <a:gd name="connsiteX74" fmla="*/ 34706 w 87876"/>
                <a:gd name="connsiteY74" fmla="*/ 18428 h 69490"/>
                <a:gd name="connsiteX75" fmla="*/ 29926 w 87876"/>
                <a:gd name="connsiteY75" fmla="*/ 17696 h 69490"/>
                <a:gd name="connsiteX76" fmla="*/ 22649 w 87876"/>
                <a:gd name="connsiteY76" fmla="*/ 11969 h 69490"/>
                <a:gd name="connsiteX77" fmla="*/ 15318 w 87876"/>
                <a:gd name="connsiteY77" fmla="*/ 17782 h 69490"/>
                <a:gd name="connsiteX78" fmla="*/ 22541 w 87876"/>
                <a:gd name="connsiteY78" fmla="*/ 23551 h 69490"/>
                <a:gd name="connsiteX79" fmla="*/ 23409 w 87876"/>
                <a:gd name="connsiteY79" fmla="*/ 27383 h 69490"/>
                <a:gd name="connsiteX80" fmla="*/ 22921 w 87876"/>
                <a:gd name="connsiteY80" fmla="*/ 28330 h 69490"/>
                <a:gd name="connsiteX81" fmla="*/ 18685 w 87876"/>
                <a:gd name="connsiteY81" fmla="*/ 30354 h 69490"/>
                <a:gd name="connsiteX82" fmla="*/ 8638 w 87876"/>
                <a:gd name="connsiteY82" fmla="*/ 30354 h 69490"/>
                <a:gd name="connsiteX83" fmla="*/ 8638 w 87876"/>
                <a:gd name="connsiteY83" fmla="*/ 38965 h 69490"/>
                <a:gd name="connsiteX84" fmla="*/ 18685 w 87876"/>
                <a:gd name="connsiteY84" fmla="*/ 38965 h 69490"/>
                <a:gd name="connsiteX85" fmla="*/ 22703 w 87876"/>
                <a:gd name="connsiteY85" fmla="*/ 41161 h 69490"/>
                <a:gd name="connsiteX86" fmla="*/ 23192 w 87876"/>
                <a:gd name="connsiteY86" fmla="*/ 42108 h 69490"/>
                <a:gd name="connsiteX87" fmla="*/ 22323 w 87876"/>
                <a:gd name="connsiteY87" fmla="*/ 45940 h 69490"/>
                <a:gd name="connsiteX88" fmla="*/ 15100 w 87876"/>
                <a:gd name="connsiteY88" fmla="*/ 51709 h 69490"/>
                <a:gd name="connsiteX89" fmla="*/ 22432 w 87876"/>
                <a:gd name="connsiteY89" fmla="*/ 57521 h 69490"/>
                <a:gd name="connsiteX90" fmla="*/ 29709 w 87876"/>
                <a:gd name="connsiteY90" fmla="*/ 51795 h 69490"/>
                <a:gd name="connsiteX91" fmla="*/ 34488 w 87876"/>
                <a:gd name="connsiteY91" fmla="*/ 51063 h 69490"/>
                <a:gd name="connsiteX92" fmla="*/ 35737 w 87876"/>
                <a:gd name="connsiteY92" fmla="*/ 51451 h 69490"/>
                <a:gd name="connsiteX93" fmla="*/ 38507 w 87876"/>
                <a:gd name="connsiteY93" fmla="*/ 54680 h 6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87876" h="69490">
                  <a:moveTo>
                    <a:pt x="49586" y="69491"/>
                  </a:moveTo>
                  <a:lnTo>
                    <a:pt x="38290" y="69491"/>
                  </a:lnTo>
                  <a:cubicBezTo>
                    <a:pt x="33773" y="69467"/>
                    <a:pt x="30119" y="66570"/>
                    <a:pt x="30089" y="62989"/>
                  </a:cubicBezTo>
                  <a:lnTo>
                    <a:pt x="30089" y="61138"/>
                  </a:lnTo>
                  <a:lnTo>
                    <a:pt x="28460" y="62430"/>
                  </a:lnTo>
                  <a:cubicBezTo>
                    <a:pt x="25208" y="64890"/>
                    <a:pt x="20091" y="64890"/>
                    <a:pt x="16838" y="62430"/>
                  </a:cubicBezTo>
                  <a:lnTo>
                    <a:pt x="8909" y="56187"/>
                  </a:lnTo>
                  <a:cubicBezTo>
                    <a:pt x="5720" y="53636"/>
                    <a:pt x="5720" y="49524"/>
                    <a:pt x="8909" y="46973"/>
                  </a:cubicBezTo>
                  <a:lnTo>
                    <a:pt x="10538" y="45681"/>
                  </a:lnTo>
                  <a:lnTo>
                    <a:pt x="8258" y="45681"/>
                  </a:lnTo>
                  <a:cubicBezTo>
                    <a:pt x="3698" y="45683"/>
                    <a:pt x="2" y="42754"/>
                    <a:pt x="0" y="39139"/>
                  </a:cubicBezTo>
                  <a:cubicBezTo>
                    <a:pt x="0" y="39081"/>
                    <a:pt x="1" y="39023"/>
                    <a:pt x="3" y="38965"/>
                  </a:cubicBezTo>
                  <a:lnTo>
                    <a:pt x="3" y="30354"/>
                  </a:lnTo>
                  <a:cubicBezTo>
                    <a:pt x="33" y="26773"/>
                    <a:pt x="3686" y="23876"/>
                    <a:pt x="8203" y="23852"/>
                  </a:cubicBezTo>
                  <a:lnTo>
                    <a:pt x="10484" y="23852"/>
                  </a:lnTo>
                  <a:lnTo>
                    <a:pt x="8909" y="22561"/>
                  </a:lnTo>
                  <a:cubicBezTo>
                    <a:pt x="5720" y="20010"/>
                    <a:pt x="5720" y="15898"/>
                    <a:pt x="8909" y="13347"/>
                  </a:cubicBezTo>
                  <a:lnTo>
                    <a:pt x="16893" y="7061"/>
                  </a:lnTo>
                  <a:cubicBezTo>
                    <a:pt x="20122" y="4556"/>
                    <a:pt x="25285" y="4556"/>
                    <a:pt x="28514" y="7061"/>
                  </a:cubicBezTo>
                  <a:lnTo>
                    <a:pt x="30144" y="8353"/>
                  </a:lnTo>
                  <a:lnTo>
                    <a:pt x="30144" y="6501"/>
                  </a:lnTo>
                  <a:cubicBezTo>
                    <a:pt x="30174" y="2920"/>
                    <a:pt x="33827" y="24"/>
                    <a:pt x="38344" y="0"/>
                  </a:cubicBezTo>
                  <a:lnTo>
                    <a:pt x="49640" y="0"/>
                  </a:lnTo>
                  <a:cubicBezTo>
                    <a:pt x="54157" y="24"/>
                    <a:pt x="57811" y="2920"/>
                    <a:pt x="57841" y="6501"/>
                  </a:cubicBezTo>
                  <a:lnTo>
                    <a:pt x="57841" y="8353"/>
                  </a:lnTo>
                  <a:lnTo>
                    <a:pt x="59470" y="7061"/>
                  </a:lnTo>
                  <a:cubicBezTo>
                    <a:pt x="62700" y="4556"/>
                    <a:pt x="67862" y="4556"/>
                    <a:pt x="71092" y="7061"/>
                  </a:cubicBezTo>
                  <a:lnTo>
                    <a:pt x="78967" y="13132"/>
                  </a:lnTo>
                  <a:cubicBezTo>
                    <a:pt x="82176" y="15665"/>
                    <a:pt x="82187" y="19782"/>
                    <a:pt x="78991" y="22326"/>
                  </a:cubicBezTo>
                  <a:cubicBezTo>
                    <a:pt x="78983" y="22333"/>
                    <a:pt x="78975" y="22339"/>
                    <a:pt x="78967" y="22346"/>
                  </a:cubicBezTo>
                  <a:lnTo>
                    <a:pt x="77337" y="23637"/>
                  </a:lnTo>
                  <a:lnTo>
                    <a:pt x="79673" y="23637"/>
                  </a:lnTo>
                  <a:cubicBezTo>
                    <a:pt x="84232" y="23660"/>
                    <a:pt x="87904" y="26608"/>
                    <a:pt x="87876" y="30222"/>
                  </a:cubicBezTo>
                  <a:cubicBezTo>
                    <a:pt x="87875" y="30266"/>
                    <a:pt x="87875" y="30310"/>
                    <a:pt x="87873" y="30354"/>
                  </a:cubicBezTo>
                  <a:lnTo>
                    <a:pt x="87873" y="38965"/>
                  </a:lnTo>
                  <a:cubicBezTo>
                    <a:pt x="87843" y="42546"/>
                    <a:pt x="84189" y="45442"/>
                    <a:pt x="79673" y="45466"/>
                  </a:cubicBezTo>
                  <a:lnTo>
                    <a:pt x="77337" y="45466"/>
                  </a:lnTo>
                  <a:lnTo>
                    <a:pt x="78967" y="46758"/>
                  </a:lnTo>
                  <a:cubicBezTo>
                    <a:pt x="82176" y="49291"/>
                    <a:pt x="82187" y="53408"/>
                    <a:pt x="78991" y="55952"/>
                  </a:cubicBezTo>
                  <a:cubicBezTo>
                    <a:pt x="78983" y="55959"/>
                    <a:pt x="78975" y="55965"/>
                    <a:pt x="78967" y="55972"/>
                  </a:cubicBezTo>
                  <a:lnTo>
                    <a:pt x="71038" y="62258"/>
                  </a:lnTo>
                  <a:cubicBezTo>
                    <a:pt x="67797" y="64740"/>
                    <a:pt x="62657" y="64740"/>
                    <a:pt x="59416" y="62258"/>
                  </a:cubicBezTo>
                  <a:lnTo>
                    <a:pt x="57786" y="60966"/>
                  </a:lnTo>
                  <a:lnTo>
                    <a:pt x="57786" y="62817"/>
                  </a:lnTo>
                  <a:cubicBezTo>
                    <a:pt x="57877" y="66431"/>
                    <a:pt x="54254" y="69418"/>
                    <a:pt x="49696" y="69489"/>
                  </a:cubicBezTo>
                  <a:cubicBezTo>
                    <a:pt x="49660" y="69490"/>
                    <a:pt x="49623" y="69491"/>
                    <a:pt x="49586" y="69491"/>
                  </a:cubicBezTo>
                  <a:close/>
                  <a:moveTo>
                    <a:pt x="38724" y="62645"/>
                  </a:moveTo>
                  <a:lnTo>
                    <a:pt x="49152" y="62645"/>
                  </a:lnTo>
                  <a:lnTo>
                    <a:pt x="49152" y="54508"/>
                  </a:lnTo>
                  <a:cubicBezTo>
                    <a:pt x="49142" y="53080"/>
                    <a:pt x="50243" y="51796"/>
                    <a:pt x="51921" y="51279"/>
                  </a:cubicBezTo>
                  <a:cubicBezTo>
                    <a:pt x="52340" y="51195"/>
                    <a:pt x="52742" y="51064"/>
                    <a:pt x="53116" y="50891"/>
                  </a:cubicBezTo>
                  <a:cubicBezTo>
                    <a:pt x="54761" y="50305"/>
                    <a:pt x="56692" y="50598"/>
                    <a:pt x="57949" y="51623"/>
                  </a:cubicBezTo>
                  <a:lnTo>
                    <a:pt x="65227" y="57349"/>
                  </a:lnTo>
                  <a:lnTo>
                    <a:pt x="72558" y="51537"/>
                  </a:lnTo>
                  <a:lnTo>
                    <a:pt x="65335" y="45767"/>
                  </a:lnTo>
                  <a:cubicBezTo>
                    <a:pt x="64042" y="44771"/>
                    <a:pt x="63673" y="43240"/>
                    <a:pt x="64412" y="41936"/>
                  </a:cubicBezTo>
                  <a:cubicBezTo>
                    <a:pt x="64622" y="41636"/>
                    <a:pt x="64786" y="41319"/>
                    <a:pt x="64901" y="40988"/>
                  </a:cubicBezTo>
                  <a:cubicBezTo>
                    <a:pt x="65554" y="39658"/>
                    <a:pt x="67174" y="38785"/>
                    <a:pt x="68974" y="38793"/>
                  </a:cubicBezTo>
                  <a:lnTo>
                    <a:pt x="79238" y="38793"/>
                  </a:lnTo>
                  <a:lnTo>
                    <a:pt x="79238" y="30354"/>
                  </a:lnTo>
                  <a:lnTo>
                    <a:pt x="68974" y="30354"/>
                  </a:lnTo>
                  <a:cubicBezTo>
                    <a:pt x="67174" y="30362"/>
                    <a:pt x="65554" y="29488"/>
                    <a:pt x="64901" y="28158"/>
                  </a:cubicBezTo>
                  <a:cubicBezTo>
                    <a:pt x="64786" y="27828"/>
                    <a:pt x="64622" y="27510"/>
                    <a:pt x="64412" y="27211"/>
                  </a:cubicBezTo>
                  <a:cubicBezTo>
                    <a:pt x="63673" y="25907"/>
                    <a:pt x="64042" y="24376"/>
                    <a:pt x="65335" y="23379"/>
                  </a:cubicBezTo>
                  <a:lnTo>
                    <a:pt x="72558" y="17609"/>
                  </a:lnTo>
                  <a:lnTo>
                    <a:pt x="65227" y="11797"/>
                  </a:lnTo>
                  <a:lnTo>
                    <a:pt x="57949" y="17523"/>
                  </a:lnTo>
                  <a:cubicBezTo>
                    <a:pt x="56692" y="18549"/>
                    <a:pt x="54761" y="18841"/>
                    <a:pt x="53116" y="18255"/>
                  </a:cubicBezTo>
                  <a:cubicBezTo>
                    <a:pt x="52742" y="18082"/>
                    <a:pt x="52340" y="17952"/>
                    <a:pt x="51921" y="17868"/>
                  </a:cubicBezTo>
                  <a:cubicBezTo>
                    <a:pt x="50243" y="17350"/>
                    <a:pt x="49142" y="16066"/>
                    <a:pt x="49152" y="14639"/>
                  </a:cubicBezTo>
                  <a:lnTo>
                    <a:pt x="49152" y="6674"/>
                  </a:lnTo>
                  <a:lnTo>
                    <a:pt x="38724" y="6674"/>
                  </a:lnTo>
                  <a:lnTo>
                    <a:pt x="38724" y="14811"/>
                  </a:lnTo>
                  <a:cubicBezTo>
                    <a:pt x="38734" y="16238"/>
                    <a:pt x="37633" y="17523"/>
                    <a:pt x="35955" y="18040"/>
                  </a:cubicBezTo>
                  <a:cubicBezTo>
                    <a:pt x="35521" y="18131"/>
                    <a:pt x="35102" y="18261"/>
                    <a:pt x="34706" y="18428"/>
                  </a:cubicBezTo>
                  <a:cubicBezTo>
                    <a:pt x="33077" y="19006"/>
                    <a:pt x="31166" y="18713"/>
                    <a:pt x="29926" y="17696"/>
                  </a:cubicBezTo>
                  <a:lnTo>
                    <a:pt x="22649" y="11969"/>
                  </a:lnTo>
                  <a:lnTo>
                    <a:pt x="15318" y="17782"/>
                  </a:lnTo>
                  <a:lnTo>
                    <a:pt x="22541" y="23551"/>
                  </a:lnTo>
                  <a:cubicBezTo>
                    <a:pt x="23830" y="24551"/>
                    <a:pt x="24178" y="26089"/>
                    <a:pt x="23409" y="27383"/>
                  </a:cubicBezTo>
                  <a:lnTo>
                    <a:pt x="22921" y="28330"/>
                  </a:lnTo>
                  <a:cubicBezTo>
                    <a:pt x="22203" y="29656"/>
                    <a:pt x="20499" y="30470"/>
                    <a:pt x="18685" y="30354"/>
                  </a:cubicBezTo>
                  <a:lnTo>
                    <a:pt x="8638" y="30354"/>
                  </a:lnTo>
                  <a:lnTo>
                    <a:pt x="8638" y="38965"/>
                  </a:lnTo>
                  <a:lnTo>
                    <a:pt x="18685" y="38965"/>
                  </a:lnTo>
                  <a:cubicBezTo>
                    <a:pt x="20475" y="38950"/>
                    <a:pt x="22084" y="39829"/>
                    <a:pt x="22703" y="41161"/>
                  </a:cubicBezTo>
                  <a:lnTo>
                    <a:pt x="23192" y="42108"/>
                  </a:lnTo>
                  <a:cubicBezTo>
                    <a:pt x="23961" y="43402"/>
                    <a:pt x="23613" y="44940"/>
                    <a:pt x="22323" y="45940"/>
                  </a:cubicBezTo>
                  <a:lnTo>
                    <a:pt x="15100" y="51709"/>
                  </a:lnTo>
                  <a:lnTo>
                    <a:pt x="22432" y="57521"/>
                  </a:lnTo>
                  <a:lnTo>
                    <a:pt x="29709" y="51795"/>
                  </a:lnTo>
                  <a:cubicBezTo>
                    <a:pt x="30949" y="50777"/>
                    <a:pt x="32860" y="50485"/>
                    <a:pt x="34488" y="51063"/>
                  </a:cubicBezTo>
                  <a:cubicBezTo>
                    <a:pt x="34885" y="51229"/>
                    <a:pt x="35304" y="51359"/>
                    <a:pt x="35737" y="51451"/>
                  </a:cubicBezTo>
                  <a:cubicBezTo>
                    <a:pt x="37416" y="51968"/>
                    <a:pt x="38517" y="53253"/>
                    <a:pt x="38507" y="54680"/>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6" name="Freeform: Shape 1355">
              <a:extLst>
                <a:ext uri="{FF2B5EF4-FFF2-40B4-BE49-F238E27FC236}">
                  <a16:creationId xmlns:a16="http://schemas.microsoft.com/office/drawing/2014/main" id="{77317D9A-087B-907E-9B11-C54C068EB833}"/>
                </a:ext>
              </a:extLst>
            </p:cNvPr>
            <p:cNvSpPr/>
            <p:nvPr/>
          </p:nvSpPr>
          <p:spPr>
            <a:xfrm>
              <a:off x="9944697" y="3527668"/>
              <a:ext cx="37255" cy="29535"/>
            </a:xfrm>
            <a:custGeom>
              <a:avLst/>
              <a:gdLst>
                <a:gd name="connsiteX0" fmla="*/ 18628 w 37255"/>
                <a:gd name="connsiteY0" fmla="*/ 29536 h 29535"/>
                <a:gd name="connsiteX1" fmla="*/ 0 w 37255"/>
                <a:gd name="connsiteY1" fmla="*/ 14768 h 29535"/>
                <a:gd name="connsiteX2" fmla="*/ 18628 w 37255"/>
                <a:gd name="connsiteY2" fmla="*/ 0 h 29535"/>
                <a:gd name="connsiteX3" fmla="*/ 37255 w 37255"/>
                <a:gd name="connsiteY3" fmla="*/ 14768 h 29535"/>
                <a:gd name="connsiteX4" fmla="*/ 18628 w 37255"/>
                <a:gd name="connsiteY4" fmla="*/ 29536 h 29535"/>
                <a:gd name="connsiteX5" fmla="*/ 18628 w 37255"/>
                <a:gd name="connsiteY5" fmla="*/ 6846 h 29535"/>
                <a:gd name="connsiteX6" fmla="*/ 8635 w 37255"/>
                <a:gd name="connsiteY6" fmla="*/ 14768 h 29535"/>
                <a:gd name="connsiteX7" fmla="*/ 18628 w 37255"/>
                <a:gd name="connsiteY7" fmla="*/ 22690 h 29535"/>
                <a:gd name="connsiteX8" fmla="*/ 28620 w 37255"/>
                <a:gd name="connsiteY8" fmla="*/ 14768 h 29535"/>
                <a:gd name="connsiteX9" fmla="*/ 18628 w 37255"/>
                <a:gd name="connsiteY9" fmla="*/ 6846 h 2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55" h="29535">
                  <a:moveTo>
                    <a:pt x="18628" y="29536"/>
                  </a:moveTo>
                  <a:cubicBezTo>
                    <a:pt x="8340" y="29536"/>
                    <a:pt x="0" y="22924"/>
                    <a:pt x="0" y="14768"/>
                  </a:cubicBezTo>
                  <a:cubicBezTo>
                    <a:pt x="0" y="6612"/>
                    <a:pt x="8340" y="0"/>
                    <a:pt x="18628" y="0"/>
                  </a:cubicBezTo>
                  <a:cubicBezTo>
                    <a:pt x="28915" y="0"/>
                    <a:pt x="37255" y="6612"/>
                    <a:pt x="37255" y="14768"/>
                  </a:cubicBezTo>
                  <a:cubicBezTo>
                    <a:pt x="37225" y="22914"/>
                    <a:pt x="28903" y="29512"/>
                    <a:pt x="18628" y="29536"/>
                  </a:cubicBezTo>
                  <a:close/>
                  <a:moveTo>
                    <a:pt x="18628" y="6846"/>
                  </a:moveTo>
                  <a:cubicBezTo>
                    <a:pt x="13109" y="6846"/>
                    <a:pt x="8635" y="10393"/>
                    <a:pt x="8635" y="14768"/>
                  </a:cubicBezTo>
                  <a:cubicBezTo>
                    <a:pt x="8635" y="19143"/>
                    <a:pt x="13109" y="22690"/>
                    <a:pt x="18628" y="22690"/>
                  </a:cubicBezTo>
                  <a:cubicBezTo>
                    <a:pt x="24146" y="22690"/>
                    <a:pt x="28620" y="19143"/>
                    <a:pt x="28620" y="14768"/>
                  </a:cubicBezTo>
                  <a:cubicBezTo>
                    <a:pt x="28620" y="10393"/>
                    <a:pt x="24146" y="6846"/>
                    <a:pt x="18628" y="684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7" name="Freeform: Shape 1356">
              <a:extLst>
                <a:ext uri="{FF2B5EF4-FFF2-40B4-BE49-F238E27FC236}">
                  <a16:creationId xmlns:a16="http://schemas.microsoft.com/office/drawing/2014/main" id="{36F5F6C5-D334-85C6-5481-B1CCA922F046}"/>
                </a:ext>
              </a:extLst>
            </p:cNvPr>
            <p:cNvSpPr/>
            <p:nvPr/>
          </p:nvSpPr>
          <p:spPr>
            <a:xfrm>
              <a:off x="10021760" y="3488617"/>
              <a:ext cx="71578" cy="36898"/>
            </a:xfrm>
            <a:custGeom>
              <a:avLst/>
              <a:gdLst>
                <a:gd name="connsiteX0" fmla="*/ 35789 w 71578"/>
                <a:gd name="connsiteY0" fmla="*/ 36898 h 36898"/>
                <a:gd name="connsiteX1" fmla="*/ 1466 w 71578"/>
                <a:gd name="connsiteY1" fmla="*/ 26780 h 36898"/>
                <a:gd name="connsiteX2" fmla="*/ 0 w 71578"/>
                <a:gd name="connsiteY2" fmla="*/ 24154 h 36898"/>
                <a:gd name="connsiteX3" fmla="*/ 0 w 71578"/>
                <a:gd name="connsiteY3" fmla="*/ 16921 h 36898"/>
                <a:gd name="connsiteX4" fmla="*/ 21397 w 71578"/>
                <a:gd name="connsiteY4" fmla="*/ 0 h 36898"/>
                <a:gd name="connsiteX5" fmla="*/ 50181 w 71578"/>
                <a:gd name="connsiteY5" fmla="*/ 0 h 36898"/>
                <a:gd name="connsiteX6" fmla="*/ 71578 w 71578"/>
                <a:gd name="connsiteY6" fmla="*/ 16921 h 36898"/>
                <a:gd name="connsiteX7" fmla="*/ 71578 w 71578"/>
                <a:gd name="connsiteY7" fmla="*/ 24154 h 36898"/>
                <a:gd name="connsiteX8" fmla="*/ 70057 w 71578"/>
                <a:gd name="connsiteY8" fmla="*/ 26780 h 36898"/>
                <a:gd name="connsiteX9" fmla="*/ 35789 w 71578"/>
                <a:gd name="connsiteY9" fmla="*/ 36898 h 36898"/>
                <a:gd name="connsiteX10" fmla="*/ 8635 w 71578"/>
                <a:gd name="connsiteY10" fmla="*/ 22561 h 36898"/>
                <a:gd name="connsiteX11" fmla="*/ 62943 w 71578"/>
                <a:gd name="connsiteY11" fmla="*/ 22561 h 36898"/>
                <a:gd name="connsiteX12" fmla="*/ 62943 w 71578"/>
                <a:gd name="connsiteY12" fmla="*/ 16921 h 36898"/>
                <a:gd name="connsiteX13" fmla="*/ 50181 w 71578"/>
                <a:gd name="connsiteY13" fmla="*/ 6846 h 36898"/>
                <a:gd name="connsiteX14" fmla="*/ 21397 w 71578"/>
                <a:gd name="connsiteY14" fmla="*/ 6846 h 36898"/>
                <a:gd name="connsiteX15" fmla="*/ 8635 w 71578"/>
                <a:gd name="connsiteY15" fmla="*/ 16921 h 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578" h="36898">
                  <a:moveTo>
                    <a:pt x="35789" y="36898"/>
                  </a:moveTo>
                  <a:cubicBezTo>
                    <a:pt x="23193" y="36877"/>
                    <a:pt x="11020" y="33288"/>
                    <a:pt x="1466" y="26780"/>
                  </a:cubicBezTo>
                  <a:cubicBezTo>
                    <a:pt x="541" y="26103"/>
                    <a:pt x="10" y="25152"/>
                    <a:pt x="0" y="24154"/>
                  </a:cubicBezTo>
                  <a:lnTo>
                    <a:pt x="0" y="16921"/>
                  </a:lnTo>
                  <a:cubicBezTo>
                    <a:pt x="30" y="7569"/>
                    <a:pt x="9601" y="0"/>
                    <a:pt x="21397" y="0"/>
                  </a:cubicBezTo>
                  <a:lnTo>
                    <a:pt x="50181" y="0"/>
                  </a:lnTo>
                  <a:cubicBezTo>
                    <a:pt x="61977" y="0"/>
                    <a:pt x="71548" y="7569"/>
                    <a:pt x="71578" y="16921"/>
                  </a:cubicBezTo>
                  <a:lnTo>
                    <a:pt x="71578" y="24154"/>
                  </a:lnTo>
                  <a:cubicBezTo>
                    <a:pt x="71581" y="25163"/>
                    <a:pt x="71025" y="26124"/>
                    <a:pt x="70057" y="26780"/>
                  </a:cubicBezTo>
                  <a:cubicBezTo>
                    <a:pt x="60527" y="33292"/>
                    <a:pt x="48370" y="36881"/>
                    <a:pt x="35789" y="36898"/>
                  </a:cubicBezTo>
                  <a:close/>
                  <a:moveTo>
                    <a:pt x="8635" y="22561"/>
                  </a:moveTo>
                  <a:cubicBezTo>
                    <a:pt x="24570" y="32493"/>
                    <a:pt x="47008" y="32493"/>
                    <a:pt x="62943" y="22561"/>
                  </a:cubicBezTo>
                  <a:lnTo>
                    <a:pt x="62943" y="16921"/>
                  </a:lnTo>
                  <a:cubicBezTo>
                    <a:pt x="62913" y="11349"/>
                    <a:pt x="57208" y="6846"/>
                    <a:pt x="50181" y="6846"/>
                  </a:cubicBezTo>
                  <a:lnTo>
                    <a:pt x="21397" y="6846"/>
                  </a:lnTo>
                  <a:cubicBezTo>
                    <a:pt x="14370" y="6846"/>
                    <a:pt x="8665" y="11349"/>
                    <a:pt x="8635" y="16921"/>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8" name="Freeform: Shape 1357">
              <a:extLst>
                <a:ext uri="{FF2B5EF4-FFF2-40B4-BE49-F238E27FC236}">
                  <a16:creationId xmlns:a16="http://schemas.microsoft.com/office/drawing/2014/main" id="{0C32E22E-8A77-C132-5D4E-547B8F451D48}"/>
                </a:ext>
              </a:extLst>
            </p:cNvPr>
            <p:cNvSpPr/>
            <p:nvPr/>
          </p:nvSpPr>
          <p:spPr>
            <a:xfrm>
              <a:off x="10035012" y="3505922"/>
              <a:ext cx="8634" cy="16105"/>
            </a:xfrm>
            <a:custGeom>
              <a:avLst/>
              <a:gdLst>
                <a:gd name="connsiteX0" fmla="*/ 4290 w 8634"/>
                <a:gd name="connsiteY0" fmla="*/ 16106 h 16105"/>
                <a:gd name="connsiteX1" fmla="*/ 0 w 8634"/>
                <a:gd name="connsiteY1" fmla="*/ 12661 h 16105"/>
                <a:gd name="connsiteX2" fmla="*/ 0 w 8634"/>
                <a:gd name="connsiteY2" fmla="*/ 3060 h 16105"/>
                <a:gd name="connsiteX3" fmla="*/ 4802 w 8634"/>
                <a:gd name="connsiteY3" fmla="*/ 22 h 16105"/>
                <a:gd name="connsiteX4" fmla="*/ 8635 w 8634"/>
                <a:gd name="connsiteY4" fmla="*/ 3060 h 16105"/>
                <a:gd name="connsiteX5" fmla="*/ 8635 w 8634"/>
                <a:gd name="connsiteY5" fmla="*/ 12661 h 16105"/>
                <a:gd name="connsiteX6" fmla="*/ 4290 w 8634"/>
                <a:gd name="connsiteY6" fmla="*/ 16106 h 1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34" h="16105">
                  <a:moveTo>
                    <a:pt x="4290" y="16106"/>
                  </a:moveTo>
                  <a:cubicBezTo>
                    <a:pt x="1912" y="16082"/>
                    <a:pt x="0" y="14547"/>
                    <a:pt x="0" y="12661"/>
                  </a:cubicBezTo>
                  <a:lnTo>
                    <a:pt x="0" y="3060"/>
                  </a:lnTo>
                  <a:cubicBezTo>
                    <a:pt x="268" y="1170"/>
                    <a:pt x="2418" y="-190"/>
                    <a:pt x="4802" y="22"/>
                  </a:cubicBezTo>
                  <a:cubicBezTo>
                    <a:pt x="6818" y="201"/>
                    <a:pt x="8409" y="1462"/>
                    <a:pt x="8635" y="3060"/>
                  </a:cubicBezTo>
                  <a:lnTo>
                    <a:pt x="8635" y="12661"/>
                  </a:lnTo>
                  <a:cubicBezTo>
                    <a:pt x="8635" y="14564"/>
                    <a:pt x="6690" y="16106"/>
                    <a:pt x="4290" y="1610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59" name="Freeform: Shape 1358">
              <a:extLst>
                <a:ext uri="{FF2B5EF4-FFF2-40B4-BE49-F238E27FC236}">
                  <a16:creationId xmlns:a16="http://schemas.microsoft.com/office/drawing/2014/main" id="{924B0B49-DC93-7F88-F570-62DB422E782F}"/>
                </a:ext>
              </a:extLst>
            </p:cNvPr>
            <p:cNvSpPr/>
            <p:nvPr/>
          </p:nvSpPr>
          <p:spPr>
            <a:xfrm>
              <a:off x="10071452" y="3505580"/>
              <a:ext cx="8635" cy="16447"/>
            </a:xfrm>
            <a:custGeom>
              <a:avLst/>
              <a:gdLst>
                <a:gd name="connsiteX0" fmla="*/ 4345 w 8635"/>
                <a:gd name="connsiteY0" fmla="*/ 16447 h 16447"/>
                <a:gd name="connsiteX1" fmla="*/ 0 w 8635"/>
                <a:gd name="connsiteY1" fmla="*/ 13003 h 16447"/>
                <a:gd name="connsiteX2" fmla="*/ 0 w 8635"/>
                <a:gd name="connsiteY2" fmla="*/ 3402 h 16447"/>
                <a:gd name="connsiteX3" fmla="*/ 4290 w 8635"/>
                <a:gd name="connsiteY3" fmla="*/ 0 h 16447"/>
                <a:gd name="connsiteX4" fmla="*/ 4345 w 8635"/>
                <a:gd name="connsiteY4" fmla="*/ 0 h 16447"/>
                <a:gd name="connsiteX5" fmla="*/ 8635 w 8635"/>
                <a:gd name="connsiteY5" fmla="*/ 3402 h 16447"/>
                <a:gd name="connsiteX6" fmla="*/ 8635 w 8635"/>
                <a:gd name="connsiteY6" fmla="*/ 13003 h 16447"/>
                <a:gd name="connsiteX7" fmla="*/ 4399 w 8635"/>
                <a:gd name="connsiteY7" fmla="*/ 16447 h 16447"/>
                <a:gd name="connsiteX8" fmla="*/ 4345 w 8635"/>
                <a:gd name="connsiteY8" fmla="*/ 16447 h 16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5" h="16447">
                  <a:moveTo>
                    <a:pt x="4345" y="16447"/>
                  </a:moveTo>
                  <a:cubicBezTo>
                    <a:pt x="1945" y="16447"/>
                    <a:pt x="0" y="14905"/>
                    <a:pt x="0" y="13003"/>
                  </a:cubicBezTo>
                  <a:lnTo>
                    <a:pt x="0" y="3402"/>
                  </a:lnTo>
                  <a:cubicBezTo>
                    <a:pt x="0" y="1523"/>
                    <a:pt x="1920" y="0"/>
                    <a:pt x="4290" y="0"/>
                  </a:cubicBezTo>
                  <a:cubicBezTo>
                    <a:pt x="4308" y="0"/>
                    <a:pt x="4326" y="0"/>
                    <a:pt x="4345" y="0"/>
                  </a:cubicBezTo>
                  <a:cubicBezTo>
                    <a:pt x="6714" y="0"/>
                    <a:pt x="8635" y="1523"/>
                    <a:pt x="8635" y="3402"/>
                  </a:cubicBezTo>
                  <a:lnTo>
                    <a:pt x="8635" y="13003"/>
                  </a:lnTo>
                  <a:cubicBezTo>
                    <a:pt x="8665" y="14882"/>
                    <a:pt x="6768" y="16423"/>
                    <a:pt x="4399" y="16447"/>
                  </a:cubicBezTo>
                  <a:cubicBezTo>
                    <a:pt x="4381" y="16447"/>
                    <a:pt x="4363" y="16447"/>
                    <a:pt x="4345" y="16447"/>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0" name="Freeform: Shape 1359">
              <a:extLst>
                <a:ext uri="{FF2B5EF4-FFF2-40B4-BE49-F238E27FC236}">
                  <a16:creationId xmlns:a16="http://schemas.microsoft.com/office/drawing/2014/main" id="{F83496B6-E1F8-64FF-5A2F-9B5DD9D51C7E}"/>
                </a:ext>
              </a:extLst>
            </p:cNvPr>
            <p:cNvSpPr/>
            <p:nvPr/>
          </p:nvSpPr>
          <p:spPr>
            <a:xfrm>
              <a:off x="10038813" y="3454819"/>
              <a:ext cx="37472" cy="29707"/>
            </a:xfrm>
            <a:custGeom>
              <a:avLst/>
              <a:gdLst>
                <a:gd name="connsiteX0" fmla="*/ 18736 w 37472"/>
                <a:gd name="connsiteY0" fmla="*/ 29708 h 29707"/>
                <a:gd name="connsiteX1" fmla="*/ 0 w 37472"/>
                <a:gd name="connsiteY1" fmla="*/ 14854 h 29707"/>
                <a:gd name="connsiteX2" fmla="*/ 18736 w 37472"/>
                <a:gd name="connsiteY2" fmla="*/ 0 h 29707"/>
                <a:gd name="connsiteX3" fmla="*/ 37473 w 37472"/>
                <a:gd name="connsiteY3" fmla="*/ 14854 h 29707"/>
                <a:gd name="connsiteX4" fmla="*/ 18736 w 37472"/>
                <a:gd name="connsiteY4" fmla="*/ 29708 h 29707"/>
                <a:gd name="connsiteX5" fmla="*/ 18736 w 37472"/>
                <a:gd name="connsiteY5" fmla="*/ 6846 h 29707"/>
                <a:gd name="connsiteX6" fmla="*/ 8635 w 37472"/>
                <a:gd name="connsiteY6" fmla="*/ 14854 h 29707"/>
                <a:gd name="connsiteX7" fmla="*/ 18736 w 37472"/>
                <a:gd name="connsiteY7" fmla="*/ 22862 h 29707"/>
                <a:gd name="connsiteX8" fmla="*/ 28838 w 37472"/>
                <a:gd name="connsiteY8" fmla="*/ 14854 h 29707"/>
                <a:gd name="connsiteX9" fmla="*/ 18736 w 37472"/>
                <a:gd name="connsiteY9" fmla="*/ 6846 h 2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2" h="29707">
                  <a:moveTo>
                    <a:pt x="18736" y="29708"/>
                  </a:moveTo>
                  <a:cubicBezTo>
                    <a:pt x="8388" y="29708"/>
                    <a:pt x="0" y="23058"/>
                    <a:pt x="0" y="14854"/>
                  </a:cubicBezTo>
                  <a:cubicBezTo>
                    <a:pt x="0" y="6650"/>
                    <a:pt x="8388" y="0"/>
                    <a:pt x="18736" y="0"/>
                  </a:cubicBezTo>
                  <a:cubicBezTo>
                    <a:pt x="29084" y="0"/>
                    <a:pt x="37473" y="6650"/>
                    <a:pt x="37473" y="14854"/>
                  </a:cubicBezTo>
                  <a:cubicBezTo>
                    <a:pt x="37443" y="23048"/>
                    <a:pt x="29072" y="29684"/>
                    <a:pt x="18736" y="29708"/>
                  </a:cubicBezTo>
                  <a:close/>
                  <a:moveTo>
                    <a:pt x="18736" y="6846"/>
                  </a:moveTo>
                  <a:cubicBezTo>
                    <a:pt x="13158" y="6846"/>
                    <a:pt x="8635" y="10431"/>
                    <a:pt x="8635" y="14854"/>
                  </a:cubicBezTo>
                  <a:cubicBezTo>
                    <a:pt x="8635" y="19277"/>
                    <a:pt x="13158" y="22862"/>
                    <a:pt x="18736" y="22862"/>
                  </a:cubicBezTo>
                  <a:cubicBezTo>
                    <a:pt x="24315" y="22862"/>
                    <a:pt x="28838" y="19277"/>
                    <a:pt x="28838" y="14854"/>
                  </a:cubicBezTo>
                  <a:cubicBezTo>
                    <a:pt x="28838" y="10431"/>
                    <a:pt x="24315" y="6846"/>
                    <a:pt x="18736" y="684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1" name="Freeform: Shape 1360">
              <a:extLst>
                <a:ext uri="{FF2B5EF4-FFF2-40B4-BE49-F238E27FC236}">
                  <a16:creationId xmlns:a16="http://schemas.microsoft.com/office/drawing/2014/main" id="{2D00F54C-D0EF-7312-EA31-CDAF8EE2C591}"/>
                </a:ext>
              </a:extLst>
            </p:cNvPr>
            <p:cNvSpPr/>
            <p:nvPr/>
          </p:nvSpPr>
          <p:spPr>
            <a:xfrm>
              <a:off x="10021760" y="3605899"/>
              <a:ext cx="71578" cy="36898"/>
            </a:xfrm>
            <a:custGeom>
              <a:avLst/>
              <a:gdLst>
                <a:gd name="connsiteX0" fmla="*/ 35789 w 71578"/>
                <a:gd name="connsiteY0" fmla="*/ 36898 h 36898"/>
                <a:gd name="connsiteX1" fmla="*/ 1521 w 71578"/>
                <a:gd name="connsiteY1" fmla="*/ 26952 h 36898"/>
                <a:gd name="connsiteX2" fmla="*/ 0 w 71578"/>
                <a:gd name="connsiteY2" fmla="*/ 24369 h 36898"/>
                <a:gd name="connsiteX3" fmla="*/ 0 w 71578"/>
                <a:gd name="connsiteY3" fmla="*/ 16964 h 36898"/>
                <a:gd name="connsiteX4" fmla="*/ 21397 w 71578"/>
                <a:gd name="connsiteY4" fmla="*/ 0 h 36898"/>
                <a:gd name="connsiteX5" fmla="*/ 50181 w 71578"/>
                <a:gd name="connsiteY5" fmla="*/ 0 h 36898"/>
                <a:gd name="connsiteX6" fmla="*/ 71578 w 71578"/>
                <a:gd name="connsiteY6" fmla="*/ 16964 h 36898"/>
                <a:gd name="connsiteX7" fmla="*/ 71578 w 71578"/>
                <a:gd name="connsiteY7" fmla="*/ 24197 h 36898"/>
                <a:gd name="connsiteX8" fmla="*/ 70057 w 71578"/>
                <a:gd name="connsiteY8" fmla="*/ 26780 h 36898"/>
                <a:gd name="connsiteX9" fmla="*/ 35789 w 71578"/>
                <a:gd name="connsiteY9" fmla="*/ 36898 h 36898"/>
                <a:gd name="connsiteX10" fmla="*/ 8635 w 71578"/>
                <a:gd name="connsiteY10" fmla="*/ 22647 h 36898"/>
                <a:gd name="connsiteX11" fmla="*/ 62943 w 71578"/>
                <a:gd name="connsiteY11" fmla="*/ 22647 h 36898"/>
                <a:gd name="connsiteX12" fmla="*/ 62943 w 71578"/>
                <a:gd name="connsiteY12" fmla="*/ 17050 h 36898"/>
                <a:gd name="connsiteX13" fmla="*/ 50181 w 71578"/>
                <a:gd name="connsiteY13" fmla="*/ 6932 h 36898"/>
                <a:gd name="connsiteX14" fmla="*/ 21397 w 71578"/>
                <a:gd name="connsiteY14" fmla="*/ 6932 h 36898"/>
                <a:gd name="connsiteX15" fmla="*/ 8635 w 71578"/>
                <a:gd name="connsiteY15" fmla="*/ 16964 h 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578" h="36898">
                  <a:moveTo>
                    <a:pt x="35789" y="36898"/>
                  </a:moveTo>
                  <a:cubicBezTo>
                    <a:pt x="23230" y="36952"/>
                    <a:pt x="11067" y="33422"/>
                    <a:pt x="1521" y="26952"/>
                  </a:cubicBezTo>
                  <a:cubicBezTo>
                    <a:pt x="555" y="26313"/>
                    <a:pt x="-2" y="25367"/>
                    <a:pt x="0" y="24369"/>
                  </a:cubicBezTo>
                  <a:lnTo>
                    <a:pt x="0" y="16964"/>
                  </a:lnTo>
                  <a:cubicBezTo>
                    <a:pt x="175" y="7653"/>
                    <a:pt x="9653" y="139"/>
                    <a:pt x="21397" y="0"/>
                  </a:cubicBezTo>
                  <a:lnTo>
                    <a:pt x="50181" y="0"/>
                  </a:lnTo>
                  <a:cubicBezTo>
                    <a:pt x="61925" y="139"/>
                    <a:pt x="71403" y="7653"/>
                    <a:pt x="71578" y="16964"/>
                  </a:cubicBezTo>
                  <a:lnTo>
                    <a:pt x="71578" y="24197"/>
                  </a:lnTo>
                  <a:cubicBezTo>
                    <a:pt x="71580" y="25194"/>
                    <a:pt x="71023" y="26141"/>
                    <a:pt x="70057" y="26780"/>
                  </a:cubicBezTo>
                  <a:cubicBezTo>
                    <a:pt x="60543" y="33312"/>
                    <a:pt x="48375" y="36905"/>
                    <a:pt x="35789" y="36898"/>
                  </a:cubicBezTo>
                  <a:close/>
                  <a:moveTo>
                    <a:pt x="8635" y="22647"/>
                  </a:moveTo>
                  <a:cubicBezTo>
                    <a:pt x="24543" y="32642"/>
                    <a:pt x="47035" y="32642"/>
                    <a:pt x="62943" y="22647"/>
                  </a:cubicBezTo>
                  <a:lnTo>
                    <a:pt x="62943" y="17050"/>
                  </a:lnTo>
                  <a:cubicBezTo>
                    <a:pt x="62943" y="11462"/>
                    <a:pt x="57229" y="6932"/>
                    <a:pt x="50181" y="6932"/>
                  </a:cubicBezTo>
                  <a:lnTo>
                    <a:pt x="21397" y="6932"/>
                  </a:lnTo>
                  <a:cubicBezTo>
                    <a:pt x="14391" y="6932"/>
                    <a:pt x="8695" y="11409"/>
                    <a:pt x="8635" y="16964"/>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2" name="Freeform: Shape 1361">
              <a:extLst>
                <a:ext uri="{FF2B5EF4-FFF2-40B4-BE49-F238E27FC236}">
                  <a16:creationId xmlns:a16="http://schemas.microsoft.com/office/drawing/2014/main" id="{06BDA1B9-9E8F-89C5-B4F7-BD320D4A28C4}"/>
                </a:ext>
              </a:extLst>
            </p:cNvPr>
            <p:cNvSpPr/>
            <p:nvPr/>
          </p:nvSpPr>
          <p:spPr>
            <a:xfrm>
              <a:off x="10034984" y="3622477"/>
              <a:ext cx="8689" cy="16832"/>
            </a:xfrm>
            <a:custGeom>
              <a:avLst/>
              <a:gdLst>
                <a:gd name="connsiteX0" fmla="*/ 4318 w 8689"/>
                <a:gd name="connsiteY0" fmla="*/ 16832 h 16832"/>
                <a:gd name="connsiteX1" fmla="*/ 28 w 8689"/>
                <a:gd name="connsiteY1" fmla="*/ 13430 h 16832"/>
                <a:gd name="connsiteX2" fmla="*/ 28 w 8689"/>
                <a:gd name="connsiteY2" fmla="*/ 3829 h 16832"/>
                <a:gd name="connsiteX3" fmla="*/ 3860 w 8689"/>
                <a:gd name="connsiteY3" fmla="*/ 22 h 16832"/>
                <a:gd name="connsiteX4" fmla="*/ 8662 w 8689"/>
                <a:gd name="connsiteY4" fmla="*/ 3060 h 16832"/>
                <a:gd name="connsiteX5" fmla="*/ 8662 w 8689"/>
                <a:gd name="connsiteY5" fmla="*/ 3829 h 16832"/>
                <a:gd name="connsiteX6" fmla="*/ 8662 w 8689"/>
                <a:gd name="connsiteY6" fmla="*/ 13430 h 16832"/>
                <a:gd name="connsiteX7" fmla="*/ 4373 w 8689"/>
                <a:gd name="connsiteY7" fmla="*/ 16832 h 16832"/>
                <a:gd name="connsiteX8" fmla="*/ 4318 w 8689"/>
                <a:gd name="connsiteY8" fmla="*/ 16832 h 1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89" h="16832">
                  <a:moveTo>
                    <a:pt x="4318" y="16832"/>
                  </a:moveTo>
                  <a:cubicBezTo>
                    <a:pt x="1948" y="16832"/>
                    <a:pt x="28" y="15309"/>
                    <a:pt x="28" y="13430"/>
                  </a:cubicBezTo>
                  <a:lnTo>
                    <a:pt x="28" y="3829"/>
                  </a:lnTo>
                  <a:cubicBezTo>
                    <a:pt x="-240" y="1939"/>
                    <a:pt x="1475" y="234"/>
                    <a:pt x="3860" y="22"/>
                  </a:cubicBezTo>
                  <a:cubicBezTo>
                    <a:pt x="6245" y="-190"/>
                    <a:pt x="8395" y="1170"/>
                    <a:pt x="8662" y="3060"/>
                  </a:cubicBezTo>
                  <a:cubicBezTo>
                    <a:pt x="8699" y="3316"/>
                    <a:pt x="8699" y="3574"/>
                    <a:pt x="8662" y="3829"/>
                  </a:cubicBezTo>
                  <a:lnTo>
                    <a:pt x="8662" y="13430"/>
                  </a:lnTo>
                  <a:cubicBezTo>
                    <a:pt x="8662" y="15309"/>
                    <a:pt x="6742" y="16832"/>
                    <a:pt x="4373" y="16832"/>
                  </a:cubicBezTo>
                  <a:cubicBezTo>
                    <a:pt x="4354" y="16832"/>
                    <a:pt x="4336" y="16832"/>
                    <a:pt x="4318" y="16832"/>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3" name="Freeform: Shape 1362">
              <a:extLst>
                <a:ext uri="{FF2B5EF4-FFF2-40B4-BE49-F238E27FC236}">
                  <a16:creationId xmlns:a16="http://schemas.microsoft.com/office/drawing/2014/main" id="{4B809C0F-4738-CE92-5863-299063F4AADB}"/>
                </a:ext>
              </a:extLst>
            </p:cNvPr>
            <p:cNvSpPr/>
            <p:nvPr/>
          </p:nvSpPr>
          <p:spPr>
            <a:xfrm>
              <a:off x="10071452" y="3622862"/>
              <a:ext cx="8635" cy="16447"/>
            </a:xfrm>
            <a:custGeom>
              <a:avLst/>
              <a:gdLst>
                <a:gd name="connsiteX0" fmla="*/ 4345 w 8635"/>
                <a:gd name="connsiteY0" fmla="*/ 16447 h 16447"/>
                <a:gd name="connsiteX1" fmla="*/ 1 w 8635"/>
                <a:gd name="connsiteY1" fmla="*/ 13089 h 16447"/>
                <a:gd name="connsiteX2" fmla="*/ 0 w 8635"/>
                <a:gd name="connsiteY2" fmla="*/ 13046 h 16447"/>
                <a:gd name="connsiteX3" fmla="*/ 0 w 8635"/>
                <a:gd name="connsiteY3" fmla="*/ 3444 h 16447"/>
                <a:gd name="connsiteX4" fmla="*/ 4345 w 8635"/>
                <a:gd name="connsiteY4" fmla="*/ 0 h 16447"/>
                <a:gd name="connsiteX5" fmla="*/ 8636 w 8635"/>
                <a:gd name="connsiteY5" fmla="*/ 3401 h 16447"/>
                <a:gd name="connsiteX6" fmla="*/ 8635 w 8635"/>
                <a:gd name="connsiteY6" fmla="*/ 3444 h 16447"/>
                <a:gd name="connsiteX7" fmla="*/ 8635 w 8635"/>
                <a:gd name="connsiteY7" fmla="*/ 13046 h 16447"/>
                <a:gd name="connsiteX8" fmla="*/ 4345 w 8635"/>
                <a:gd name="connsiteY8" fmla="*/ 16447 h 16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5" h="16447">
                  <a:moveTo>
                    <a:pt x="4345" y="16447"/>
                  </a:moveTo>
                  <a:cubicBezTo>
                    <a:pt x="1975" y="16471"/>
                    <a:pt x="30" y="14967"/>
                    <a:pt x="1" y="13089"/>
                  </a:cubicBezTo>
                  <a:cubicBezTo>
                    <a:pt x="0" y="13075"/>
                    <a:pt x="0" y="13060"/>
                    <a:pt x="0" y="13046"/>
                  </a:cubicBezTo>
                  <a:lnTo>
                    <a:pt x="0" y="3444"/>
                  </a:lnTo>
                  <a:cubicBezTo>
                    <a:pt x="0" y="1542"/>
                    <a:pt x="1945" y="0"/>
                    <a:pt x="4345" y="0"/>
                  </a:cubicBezTo>
                  <a:cubicBezTo>
                    <a:pt x="6714" y="0"/>
                    <a:pt x="8635" y="1522"/>
                    <a:pt x="8636" y="3401"/>
                  </a:cubicBezTo>
                  <a:cubicBezTo>
                    <a:pt x="8636" y="3416"/>
                    <a:pt x="8635" y="3430"/>
                    <a:pt x="8635" y="3444"/>
                  </a:cubicBezTo>
                  <a:lnTo>
                    <a:pt x="8635" y="13046"/>
                  </a:lnTo>
                  <a:cubicBezTo>
                    <a:pt x="8635" y="14924"/>
                    <a:pt x="6714" y="16447"/>
                    <a:pt x="4345" y="16447"/>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4" name="Freeform: Shape 1363">
              <a:extLst>
                <a:ext uri="{FF2B5EF4-FFF2-40B4-BE49-F238E27FC236}">
                  <a16:creationId xmlns:a16="http://schemas.microsoft.com/office/drawing/2014/main" id="{DE31D259-36E8-5913-848F-438C8CDD91A9}"/>
                </a:ext>
              </a:extLst>
            </p:cNvPr>
            <p:cNvSpPr/>
            <p:nvPr/>
          </p:nvSpPr>
          <p:spPr>
            <a:xfrm>
              <a:off x="10038813" y="3572143"/>
              <a:ext cx="37472" cy="29707"/>
            </a:xfrm>
            <a:custGeom>
              <a:avLst/>
              <a:gdLst>
                <a:gd name="connsiteX0" fmla="*/ 18736 w 37472"/>
                <a:gd name="connsiteY0" fmla="*/ 29708 h 29707"/>
                <a:gd name="connsiteX1" fmla="*/ 0 w 37472"/>
                <a:gd name="connsiteY1" fmla="*/ 14854 h 29707"/>
                <a:gd name="connsiteX2" fmla="*/ 18736 w 37472"/>
                <a:gd name="connsiteY2" fmla="*/ 0 h 29707"/>
                <a:gd name="connsiteX3" fmla="*/ 37473 w 37472"/>
                <a:gd name="connsiteY3" fmla="*/ 14854 h 29707"/>
                <a:gd name="connsiteX4" fmla="*/ 18736 w 37472"/>
                <a:gd name="connsiteY4" fmla="*/ 29708 h 29707"/>
                <a:gd name="connsiteX5" fmla="*/ 18736 w 37472"/>
                <a:gd name="connsiteY5" fmla="*/ 6846 h 29707"/>
                <a:gd name="connsiteX6" fmla="*/ 8635 w 37472"/>
                <a:gd name="connsiteY6" fmla="*/ 14854 h 29707"/>
                <a:gd name="connsiteX7" fmla="*/ 18736 w 37472"/>
                <a:gd name="connsiteY7" fmla="*/ 22862 h 29707"/>
                <a:gd name="connsiteX8" fmla="*/ 28838 w 37472"/>
                <a:gd name="connsiteY8" fmla="*/ 14854 h 29707"/>
                <a:gd name="connsiteX9" fmla="*/ 18736 w 37472"/>
                <a:gd name="connsiteY9" fmla="*/ 6846 h 2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2" h="29707">
                  <a:moveTo>
                    <a:pt x="18736" y="29708"/>
                  </a:moveTo>
                  <a:cubicBezTo>
                    <a:pt x="8388" y="29708"/>
                    <a:pt x="0" y="23058"/>
                    <a:pt x="0" y="14854"/>
                  </a:cubicBezTo>
                  <a:cubicBezTo>
                    <a:pt x="0" y="6650"/>
                    <a:pt x="8388" y="0"/>
                    <a:pt x="18736" y="0"/>
                  </a:cubicBezTo>
                  <a:cubicBezTo>
                    <a:pt x="29084" y="0"/>
                    <a:pt x="37473" y="6650"/>
                    <a:pt x="37473" y="14854"/>
                  </a:cubicBezTo>
                  <a:cubicBezTo>
                    <a:pt x="37443" y="23048"/>
                    <a:pt x="29072" y="29684"/>
                    <a:pt x="18736" y="29708"/>
                  </a:cubicBezTo>
                  <a:close/>
                  <a:moveTo>
                    <a:pt x="18736" y="6846"/>
                  </a:moveTo>
                  <a:cubicBezTo>
                    <a:pt x="13158" y="6846"/>
                    <a:pt x="8635" y="10431"/>
                    <a:pt x="8635" y="14854"/>
                  </a:cubicBezTo>
                  <a:cubicBezTo>
                    <a:pt x="8635" y="19277"/>
                    <a:pt x="13158" y="22862"/>
                    <a:pt x="18736" y="22862"/>
                  </a:cubicBezTo>
                  <a:cubicBezTo>
                    <a:pt x="24315" y="22862"/>
                    <a:pt x="28838" y="19277"/>
                    <a:pt x="28838" y="14854"/>
                  </a:cubicBezTo>
                  <a:cubicBezTo>
                    <a:pt x="28838" y="10431"/>
                    <a:pt x="24315" y="6846"/>
                    <a:pt x="18736" y="6846"/>
                  </a:cubicBezTo>
                  <a:close/>
                </a:path>
              </a:pathLst>
            </a:custGeom>
            <a:grpFill/>
            <a:ln w="54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grpSp>
      <p:grpSp>
        <p:nvGrpSpPr>
          <p:cNvPr id="1365" name="Graphic 315">
            <a:extLst>
              <a:ext uri="{FF2B5EF4-FFF2-40B4-BE49-F238E27FC236}">
                <a16:creationId xmlns:a16="http://schemas.microsoft.com/office/drawing/2014/main" id="{C2B3E972-19F5-EB9A-826F-B7AEB1C1E563}"/>
              </a:ext>
            </a:extLst>
          </p:cNvPr>
          <p:cNvGrpSpPr/>
          <p:nvPr/>
        </p:nvGrpSpPr>
        <p:grpSpPr>
          <a:xfrm>
            <a:off x="2375031" y="2936153"/>
            <a:ext cx="234819" cy="229576"/>
            <a:chOff x="9930272" y="2582411"/>
            <a:chExt cx="242004" cy="236500"/>
          </a:xfrm>
          <a:solidFill>
            <a:srgbClr val="FF0000"/>
          </a:solidFill>
        </p:grpSpPr>
        <p:sp>
          <p:nvSpPr>
            <p:cNvPr id="1366" name="Freeform: Shape 1365">
              <a:extLst>
                <a:ext uri="{FF2B5EF4-FFF2-40B4-BE49-F238E27FC236}">
                  <a16:creationId xmlns:a16="http://schemas.microsoft.com/office/drawing/2014/main" id="{D6EAD1DB-AC3F-A3E5-8048-BB8BDF704D99}"/>
                </a:ext>
              </a:extLst>
            </p:cNvPr>
            <p:cNvSpPr/>
            <p:nvPr/>
          </p:nvSpPr>
          <p:spPr>
            <a:xfrm rot="-115800">
              <a:off x="9953880" y="2655655"/>
              <a:ext cx="47186" cy="6191"/>
            </a:xfrm>
            <a:custGeom>
              <a:avLst/>
              <a:gdLst>
                <a:gd name="connsiteX0" fmla="*/ 0 w 47186"/>
                <a:gd name="connsiteY0" fmla="*/ 0 h 6191"/>
                <a:gd name="connsiteX1" fmla="*/ 47187 w 47186"/>
                <a:gd name="connsiteY1" fmla="*/ 0 h 6191"/>
                <a:gd name="connsiteX2" fmla="*/ 47187 w 47186"/>
                <a:gd name="connsiteY2" fmla="*/ 6191 h 6191"/>
                <a:gd name="connsiteX3" fmla="*/ 0 w 47186"/>
                <a:gd name="connsiteY3" fmla="*/ 6191 h 6191"/>
              </a:gdLst>
              <a:ahLst/>
              <a:cxnLst>
                <a:cxn ang="0">
                  <a:pos x="connsiteX0" y="connsiteY0"/>
                </a:cxn>
                <a:cxn ang="0">
                  <a:pos x="connsiteX1" y="connsiteY1"/>
                </a:cxn>
                <a:cxn ang="0">
                  <a:pos x="connsiteX2" y="connsiteY2"/>
                </a:cxn>
                <a:cxn ang="0">
                  <a:pos x="connsiteX3" y="connsiteY3"/>
                </a:cxn>
              </a:cxnLst>
              <a:rect l="l" t="t" r="r" b="b"/>
              <a:pathLst>
                <a:path w="47186" h="6191">
                  <a:moveTo>
                    <a:pt x="0" y="0"/>
                  </a:moveTo>
                  <a:lnTo>
                    <a:pt x="47187" y="0"/>
                  </a:lnTo>
                  <a:lnTo>
                    <a:pt x="47187"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7" name="Freeform: Shape 1366">
              <a:extLst>
                <a:ext uri="{FF2B5EF4-FFF2-40B4-BE49-F238E27FC236}">
                  <a16:creationId xmlns:a16="http://schemas.microsoft.com/office/drawing/2014/main" id="{DB0AA912-2C90-ACFE-F276-FE247200190F}"/>
                </a:ext>
              </a:extLst>
            </p:cNvPr>
            <p:cNvSpPr/>
            <p:nvPr/>
          </p:nvSpPr>
          <p:spPr>
            <a:xfrm rot="-2290200">
              <a:off x="10031667" y="2707640"/>
              <a:ext cx="6191" cy="34747"/>
            </a:xfrm>
            <a:custGeom>
              <a:avLst/>
              <a:gdLst>
                <a:gd name="connsiteX0" fmla="*/ 0 w 6191"/>
                <a:gd name="connsiteY0" fmla="*/ 0 h 34747"/>
                <a:gd name="connsiteX1" fmla="*/ 6191 w 6191"/>
                <a:gd name="connsiteY1" fmla="*/ 0 h 34747"/>
                <a:gd name="connsiteX2" fmla="*/ 6191 w 6191"/>
                <a:gd name="connsiteY2" fmla="*/ 34747 h 34747"/>
                <a:gd name="connsiteX3" fmla="*/ 0 w 6191"/>
                <a:gd name="connsiteY3" fmla="*/ 34747 h 34747"/>
              </a:gdLst>
              <a:ahLst/>
              <a:cxnLst>
                <a:cxn ang="0">
                  <a:pos x="connsiteX0" y="connsiteY0"/>
                </a:cxn>
                <a:cxn ang="0">
                  <a:pos x="connsiteX1" y="connsiteY1"/>
                </a:cxn>
                <a:cxn ang="0">
                  <a:pos x="connsiteX2" y="connsiteY2"/>
                </a:cxn>
                <a:cxn ang="0">
                  <a:pos x="connsiteX3" y="connsiteY3"/>
                </a:cxn>
              </a:cxnLst>
              <a:rect l="l" t="t" r="r" b="b"/>
              <a:pathLst>
                <a:path w="6191" h="34747">
                  <a:moveTo>
                    <a:pt x="0" y="0"/>
                  </a:moveTo>
                  <a:lnTo>
                    <a:pt x="6191" y="0"/>
                  </a:lnTo>
                  <a:lnTo>
                    <a:pt x="6191" y="34747"/>
                  </a:lnTo>
                  <a:lnTo>
                    <a:pt x="0" y="34747"/>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8" name="Freeform: Shape 1367">
              <a:extLst>
                <a:ext uri="{FF2B5EF4-FFF2-40B4-BE49-F238E27FC236}">
                  <a16:creationId xmlns:a16="http://schemas.microsoft.com/office/drawing/2014/main" id="{F0ECE83B-196A-2C0E-0F5A-9B4C983ABDC0}"/>
                </a:ext>
              </a:extLst>
            </p:cNvPr>
            <p:cNvSpPr/>
            <p:nvPr/>
          </p:nvSpPr>
          <p:spPr>
            <a:xfrm rot="-389999">
              <a:off x="10010175" y="2666861"/>
              <a:ext cx="6191" cy="27260"/>
            </a:xfrm>
            <a:custGeom>
              <a:avLst/>
              <a:gdLst>
                <a:gd name="connsiteX0" fmla="*/ 0 w 6191"/>
                <a:gd name="connsiteY0" fmla="*/ 0 h 27260"/>
                <a:gd name="connsiteX1" fmla="*/ 6191 w 6191"/>
                <a:gd name="connsiteY1" fmla="*/ 0 h 27260"/>
                <a:gd name="connsiteX2" fmla="*/ 6191 w 6191"/>
                <a:gd name="connsiteY2" fmla="*/ 27261 h 27260"/>
                <a:gd name="connsiteX3" fmla="*/ 0 w 6191"/>
                <a:gd name="connsiteY3" fmla="*/ 27261 h 27260"/>
              </a:gdLst>
              <a:ahLst/>
              <a:cxnLst>
                <a:cxn ang="0">
                  <a:pos x="connsiteX0" y="connsiteY0"/>
                </a:cxn>
                <a:cxn ang="0">
                  <a:pos x="connsiteX1" y="connsiteY1"/>
                </a:cxn>
                <a:cxn ang="0">
                  <a:pos x="connsiteX2" y="connsiteY2"/>
                </a:cxn>
                <a:cxn ang="0">
                  <a:pos x="connsiteX3" y="connsiteY3"/>
                </a:cxn>
              </a:cxnLst>
              <a:rect l="l" t="t" r="r" b="b"/>
              <a:pathLst>
                <a:path w="6191" h="27260">
                  <a:moveTo>
                    <a:pt x="0" y="0"/>
                  </a:moveTo>
                  <a:lnTo>
                    <a:pt x="6191" y="0"/>
                  </a:lnTo>
                  <a:lnTo>
                    <a:pt x="6191" y="27261"/>
                  </a:lnTo>
                  <a:lnTo>
                    <a:pt x="0" y="2726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69" name="Freeform: Shape 1368">
              <a:extLst>
                <a:ext uri="{FF2B5EF4-FFF2-40B4-BE49-F238E27FC236}">
                  <a16:creationId xmlns:a16="http://schemas.microsoft.com/office/drawing/2014/main" id="{B2BBFFE6-1BCB-ACE3-58A4-1723EFE2D707}"/>
                </a:ext>
              </a:extLst>
            </p:cNvPr>
            <p:cNvSpPr/>
            <p:nvPr/>
          </p:nvSpPr>
          <p:spPr>
            <a:xfrm rot="-3105600">
              <a:off x="10122274" y="2589982"/>
              <a:ext cx="6191" cy="64674"/>
            </a:xfrm>
            <a:custGeom>
              <a:avLst/>
              <a:gdLst>
                <a:gd name="connsiteX0" fmla="*/ 0 w 6191"/>
                <a:gd name="connsiteY0" fmla="*/ 0 h 64674"/>
                <a:gd name="connsiteX1" fmla="*/ 6191 w 6191"/>
                <a:gd name="connsiteY1" fmla="*/ 0 h 64674"/>
                <a:gd name="connsiteX2" fmla="*/ 6191 w 6191"/>
                <a:gd name="connsiteY2" fmla="*/ 64675 h 64674"/>
                <a:gd name="connsiteX3" fmla="*/ 0 w 6191"/>
                <a:gd name="connsiteY3" fmla="*/ 64675 h 64674"/>
              </a:gdLst>
              <a:ahLst/>
              <a:cxnLst>
                <a:cxn ang="0">
                  <a:pos x="connsiteX0" y="connsiteY0"/>
                </a:cxn>
                <a:cxn ang="0">
                  <a:pos x="connsiteX1" y="connsiteY1"/>
                </a:cxn>
                <a:cxn ang="0">
                  <a:pos x="connsiteX2" y="connsiteY2"/>
                </a:cxn>
                <a:cxn ang="0">
                  <a:pos x="connsiteX3" y="connsiteY3"/>
                </a:cxn>
              </a:cxnLst>
              <a:rect l="l" t="t" r="r" b="b"/>
              <a:pathLst>
                <a:path w="6191" h="64674">
                  <a:moveTo>
                    <a:pt x="0" y="0"/>
                  </a:moveTo>
                  <a:lnTo>
                    <a:pt x="6191" y="0"/>
                  </a:lnTo>
                  <a:lnTo>
                    <a:pt x="6191" y="64675"/>
                  </a:lnTo>
                  <a:lnTo>
                    <a:pt x="0" y="64675"/>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0" name="Freeform: Shape 1369">
              <a:extLst>
                <a:ext uri="{FF2B5EF4-FFF2-40B4-BE49-F238E27FC236}">
                  <a16:creationId xmlns:a16="http://schemas.microsoft.com/office/drawing/2014/main" id="{22D8CDEC-1F7E-B5E1-DF7F-D5A810D35322}"/>
                </a:ext>
              </a:extLst>
            </p:cNvPr>
            <p:cNvSpPr/>
            <p:nvPr/>
          </p:nvSpPr>
          <p:spPr>
            <a:xfrm rot="-5369400">
              <a:off x="10049275" y="2567840"/>
              <a:ext cx="6191" cy="58292"/>
            </a:xfrm>
            <a:custGeom>
              <a:avLst/>
              <a:gdLst>
                <a:gd name="connsiteX0" fmla="*/ 0 w 6191"/>
                <a:gd name="connsiteY0" fmla="*/ 0 h 58292"/>
                <a:gd name="connsiteX1" fmla="*/ 6191 w 6191"/>
                <a:gd name="connsiteY1" fmla="*/ 0 h 58292"/>
                <a:gd name="connsiteX2" fmla="*/ 6191 w 6191"/>
                <a:gd name="connsiteY2" fmla="*/ 58293 h 58292"/>
                <a:gd name="connsiteX3" fmla="*/ 0 w 6191"/>
                <a:gd name="connsiteY3" fmla="*/ 58293 h 58292"/>
              </a:gdLst>
              <a:ahLst/>
              <a:cxnLst>
                <a:cxn ang="0">
                  <a:pos x="connsiteX0" y="connsiteY0"/>
                </a:cxn>
                <a:cxn ang="0">
                  <a:pos x="connsiteX1" y="connsiteY1"/>
                </a:cxn>
                <a:cxn ang="0">
                  <a:pos x="connsiteX2" y="connsiteY2"/>
                </a:cxn>
                <a:cxn ang="0">
                  <a:pos x="connsiteX3" y="connsiteY3"/>
                </a:cxn>
              </a:cxnLst>
              <a:rect l="l" t="t" r="r" b="b"/>
              <a:pathLst>
                <a:path w="6191" h="58292">
                  <a:moveTo>
                    <a:pt x="0" y="0"/>
                  </a:moveTo>
                  <a:lnTo>
                    <a:pt x="6191" y="0"/>
                  </a:lnTo>
                  <a:lnTo>
                    <a:pt x="6191" y="58293"/>
                  </a:lnTo>
                  <a:lnTo>
                    <a:pt x="0" y="58293"/>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1" name="Freeform: Shape 1370">
              <a:extLst>
                <a:ext uri="{FF2B5EF4-FFF2-40B4-BE49-F238E27FC236}">
                  <a16:creationId xmlns:a16="http://schemas.microsoft.com/office/drawing/2014/main" id="{0BA00043-33D2-3858-2B4C-4A79AB13CF35}"/>
                </a:ext>
              </a:extLst>
            </p:cNvPr>
            <p:cNvSpPr/>
            <p:nvPr/>
          </p:nvSpPr>
          <p:spPr>
            <a:xfrm rot="-2740200">
              <a:off x="9967035" y="2720595"/>
              <a:ext cx="6191" cy="31718"/>
            </a:xfrm>
            <a:custGeom>
              <a:avLst/>
              <a:gdLst>
                <a:gd name="connsiteX0" fmla="*/ 0 w 6191"/>
                <a:gd name="connsiteY0" fmla="*/ 0 h 31718"/>
                <a:gd name="connsiteX1" fmla="*/ 6191 w 6191"/>
                <a:gd name="connsiteY1" fmla="*/ 0 h 31718"/>
                <a:gd name="connsiteX2" fmla="*/ 6191 w 6191"/>
                <a:gd name="connsiteY2" fmla="*/ 31718 h 31718"/>
                <a:gd name="connsiteX3" fmla="*/ 0 w 6191"/>
                <a:gd name="connsiteY3" fmla="*/ 31718 h 31718"/>
              </a:gdLst>
              <a:ahLst/>
              <a:cxnLst>
                <a:cxn ang="0">
                  <a:pos x="connsiteX0" y="connsiteY0"/>
                </a:cxn>
                <a:cxn ang="0">
                  <a:pos x="connsiteX1" y="connsiteY1"/>
                </a:cxn>
                <a:cxn ang="0">
                  <a:pos x="connsiteX2" y="connsiteY2"/>
                </a:cxn>
                <a:cxn ang="0">
                  <a:pos x="connsiteX3" y="connsiteY3"/>
                </a:cxn>
              </a:cxnLst>
              <a:rect l="l" t="t" r="r" b="b"/>
              <a:pathLst>
                <a:path w="6191" h="31718">
                  <a:moveTo>
                    <a:pt x="0" y="0"/>
                  </a:moveTo>
                  <a:lnTo>
                    <a:pt x="6191" y="0"/>
                  </a:lnTo>
                  <a:lnTo>
                    <a:pt x="6191" y="31718"/>
                  </a:lnTo>
                  <a:lnTo>
                    <a:pt x="0" y="31718"/>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2" name="Freeform: Shape 1371">
              <a:extLst>
                <a:ext uri="{FF2B5EF4-FFF2-40B4-BE49-F238E27FC236}">
                  <a16:creationId xmlns:a16="http://schemas.microsoft.com/office/drawing/2014/main" id="{1A4D0BD7-40D9-C695-2F22-133F71F2777C}"/>
                </a:ext>
              </a:extLst>
            </p:cNvPr>
            <p:cNvSpPr/>
            <p:nvPr/>
          </p:nvSpPr>
          <p:spPr>
            <a:xfrm>
              <a:off x="10008374" y="2608370"/>
              <a:ext cx="6896" cy="37757"/>
            </a:xfrm>
            <a:custGeom>
              <a:avLst/>
              <a:gdLst>
                <a:gd name="connsiteX0" fmla="*/ 6172 w 6896"/>
                <a:gd name="connsiteY0" fmla="*/ 37757 h 37757"/>
                <a:gd name="connsiteX1" fmla="*/ 0 w 6896"/>
                <a:gd name="connsiteY1" fmla="*/ 37643 h 37757"/>
                <a:gd name="connsiteX2" fmla="*/ 705 w 6896"/>
                <a:gd name="connsiteY2" fmla="*/ 0 h 37757"/>
                <a:gd name="connsiteX3" fmla="*/ 6896 w 6896"/>
                <a:gd name="connsiteY3" fmla="*/ 57 h 37757"/>
                <a:gd name="connsiteX4" fmla="*/ 6172 w 6896"/>
                <a:gd name="connsiteY4" fmla="*/ 37757 h 37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6" h="37757">
                  <a:moveTo>
                    <a:pt x="6172" y="37757"/>
                  </a:moveTo>
                  <a:lnTo>
                    <a:pt x="0" y="37643"/>
                  </a:lnTo>
                  <a:lnTo>
                    <a:pt x="705" y="0"/>
                  </a:lnTo>
                  <a:lnTo>
                    <a:pt x="6896" y="57"/>
                  </a:lnTo>
                  <a:lnTo>
                    <a:pt x="6172" y="37757"/>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3" name="Freeform: Shape 1372">
              <a:extLst>
                <a:ext uri="{FF2B5EF4-FFF2-40B4-BE49-F238E27FC236}">
                  <a16:creationId xmlns:a16="http://schemas.microsoft.com/office/drawing/2014/main" id="{5E349873-DF07-819C-3F60-24140A41892A}"/>
                </a:ext>
              </a:extLst>
            </p:cNvPr>
            <p:cNvSpPr/>
            <p:nvPr/>
          </p:nvSpPr>
          <p:spPr>
            <a:xfrm rot="-2247599">
              <a:off x="10011804" y="2623600"/>
              <a:ext cx="80029" cy="6191"/>
            </a:xfrm>
            <a:custGeom>
              <a:avLst/>
              <a:gdLst>
                <a:gd name="connsiteX0" fmla="*/ 0 w 80029"/>
                <a:gd name="connsiteY0" fmla="*/ 0 h 6191"/>
                <a:gd name="connsiteX1" fmla="*/ 80029 w 80029"/>
                <a:gd name="connsiteY1" fmla="*/ 0 h 6191"/>
                <a:gd name="connsiteX2" fmla="*/ 80029 w 80029"/>
                <a:gd name="connsiteY2" fmla="*/ 6191 h 6191"/>
                <a:gd name="connsiteX3" fmla="*/ 0 w 80029"/>
                <a:gd name="connsiteY3" fmla="*/ 6191 h 6191"/>
              </a:gdLst>
              <a:ahLst/>
              <a:cxnLst>
                <a:cxn ang="0">
                  <a:pos x="connsiteX0" y="connsiteY0"/>
                </a:cxn>
                <a:cxn ang="0">
                  <a:pos x="connsiteX1" y="connsiteY1"/>
                </a:cxn>
                <a:cxn ang="0">
                  <a:pos x="connsiteX2" y="connsiteY2"/>
                </a:cxn>
                <a:cxn ang="0">
                  <a:pos x="connsiteX3" y="connsiteY3"/>
                </a:cxn>
              </a:cxnLst>
              <a:rect l="l" t="t" r="r" b="b"/>
              <a:pathLst>
                <a:path w="80029" h="6191">
                  <a:moveTo>
                    <a:pt x="0" y="0"/>
                  </a:moveTo>
                  <a:lnTo>
                    <a:pt x="80029" y="0"/>
                  </a:lnTo>
                  <a:lnTo>
                    <a:pt x="80029"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4" name="Freeform: Shape 1373">
              <a:extLst>
                <a:ext uri="{FF2B5EF4-FFF2-40B4-BE49-F238E27FC236}">
                  <a16:creationId xmlns:a16="http://schemas.microsoft.com/office/drawing/2014/main" id="{2E4ABC1D-D03C-7CBF-DEDC-50E88B56452C}"/>
                </a:ext>
              </a:extLst>
            </p:cNvPr>
            <p:cNvSpPr/>
            <p:nvPr/>
          </p:nvSpPr>
          <p:spPr>
            <a:xfrm rot="-3507599">
              <a:off x="9976592" y="2651302"/>
              <a:ext cx="6191" cy="64046"/>
            </a:xfrm>
            <a:custGeom>
              <a:avLst/>
              <a:gdLst>
                <a:gd name="connsiteX0" fmla="*/ 0 w 6191"/>
                <a:gd name="connsiteY0" fmla="*/ 0 h 64046"/>
                <a:gd name="connsiteX1" fmla="*/ 6191 w 6191"/>
                <a:gd name="connsiteY1" fmla="*/ 0 h 64046"/>
                <a:gd name="connsiteX2" fmla="*/ 6191 w 6191"/>
                <a:gd name="connsiteY2" fmla="*/ 64046 h 64046"/>
                <a:gd name="connsiteX3" fmla="*/ 0 w 6191"/>
                <a:gd name="connsiteY3" fmla="*/ 64046 h 64046"/>
              </a:gdLst>
              <a:ahLst/>
              <a:cxnLst>
                <a:cxn ang="0">
                  <a:pos x="connsiteX0" y="connsiteY0"/>
                </a:cxn>
                <a:cxn ang="0">
                  <a:pos x="connsiteX1" y="connsiteY1"/>
                </a:cxn>
                <a:cxn ang="0">
                  <a:pos x="connsiteX2" y="connsiteY2"/>
                </a:cxn>
                <a:cxn ang="0">
                  <a:pos x="connsiteX3" y="connsiteY3"/>
                </a:cxn>
              </a:cxnLst>
              <a:rect l="l" t="t" r="r" b="b"/>
              <a:pathLst>
                <a:path w="6191" h="64046">
                  <a:moveTo>
                    <a:pt x="0" y="0"/>
                  </a:moveTo>
                  <a:lnTo>
                    <a:pt x="6191" y="0"/>
                  </a:lnTo>
                  <a:lnTo>
                    <a:pt x="6191" y="64046"/>
                  </a:lnTo>
                  <a:lnTo>
                    <a:pt x="0" y="64046"/>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5" name="Freeform: Shape 1374">
              <a:extLst>
                <a:ext uri="{FF2B5EF4-FFF2-40B4-BE49-F238E27FC236}">
                  <a16:creationId xmlns:a16="http://schemas.microsoft.com/office/drawing/2014/main" id="{C8B28D1F-6565-68E1-0BF1-46CD475DDCF3}"/>
                </a:ext>
              </a:extLst>
            </p:cNvPr>
            <p:cNvSpPr/>
            <p:nvPr/>
          </p:nvSpPr>
          <p:spPr>
            <a:xfrm rot="-763201">
              <a:off x="9960384" y="2709113"/>
              <a:ext cx="46634" cy="6191"/>
            </a:xfrm>
            <a:custGeom>
              <a:avLst/>
              <a:gdLst>
                <a:gd name="connsiteX0" fmla="*/ 0 w 46634"/>
                <a:gd name="connsiteY0" fmla="*/ 0 h 6191"/>
                <a:gd name="connsiteX1" fmla="*/ 46634 w 46634"/>
                <a:gd name="connsiteY1" fmla="*/ 0 h 6191"/>
                <a:gd name="connsiteX2" fmla="*/ 46634 w 46634"/>
                <a:gd name="connsiteY2" fmla="*/ 6191 h 6191"/>
                <a:gd name="connsiteX3" fmla="*/ 0 w 46634"/>
                <a:gd name="connsiteY3" fmla="*/ 6191 h 6191"/>
              </a:gdLst>
              <a:ahLst/>
              <a:cxnLst>
                <a:cxn ang="0">
                  <a:pos x="connsiteX0" y="connsiteY0"/>
                </a:cxn>
                <a:cxn ang="0">
                  <a:pos x="connsiteX1" y="connsiteY1"/>
                </a:cxn>
                <a:cxn ang="0">
                  <a:pos x="connsiteX2" y="connsiteY2"/>
                </a:cxn>
                <a:cxn ang="0">
                  <a:pos x="connsiteX3" y="connsiteY3"/>
                </a:cxn>
              </a:cxnLst>
              <a:rect l="l" t="t" r="r" b="b"/>
              <a:pathLst>
                <a:path w="46634" h="6191">
                  <a:moveTo>
                    <a:pt x="0" y="0"/>
                  </a:moveTo>
                  <a:lnTo>
                    <a:pt x="46634" y="0"/>
                  </a:lnTo>
                  <a:lnTo>
                    <a:pt x="46634"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6" name="Freeform: Shape 1375">
              <a:extLst>
                <a:ext uri="{FF2B5EF4-FFF2-40B4-BE49-F238E27FC236}">
                  <a16:creationId xmlns:a16="http://schemas.microsoft.com/office/drawing/2014/main" id="{C0200C50-FF25-FD0A-91CF-8B9792179710}"/>
                </a:ext>
              </a:extLst>
            </p:cNvPr>
            <p:cNvSpPr/>
            <p:nvPr/>
          </p:nvSpPr>
          <p:spPr>
            <a:xfrm rot="-3659999">
              <a:off x="9984334" y="2726109"/>
              <a:ext cx="36271" cy="6191"/>
            </a:xfrm>
            <a:custGeom>
              <a:avLst/>
              <a:gdLst>
                <a:gd name="connsiteX0" fmla="*/ 0 w 36271"/>
                <a:gd name="connsiteY0" fmla="*/ 0 h 6191"/>
                <a:gd name="connsiteX1" fmla="*/ 36271 w 36271"/>
                <a:gd name="connsiteY1" fmla="*/ 0 h 6191"/>
                <a:gd name="connsiteX2" fmla="*/ 36271 w 36271"/>
                <a:gd name="connsiteY2" fmla="*/ 6191 h 6191"/>
                <a:gd name="connsiteX3" fmla="*/ 0 w 36271"/>
                <a:gd name="connsiteY3" fmla="*/ 6191 h 6191"/>
              </a:gdLst>
              <a:ahLst/>
              <a:cxnLst>
                <a:cxn ang="0">
                  <a:pos x="connsiteX0" y="connsiteY0"/>
                </a:cxn>
                <a:cxn ang="0">
                  <a:pos x="connsiteX1" y="connsiteY1"/>
                </a:cxn>
                <a:cxn ang="0">
                  <a:pos x="connsiteX2" y="connsiteY2"/>
                </a:cxn>
                <a:cxn ang="0">
                  <a:pos x="connsiteX3" y="connsiteY3"/>
                </a:cxn>
              </a:cxnLst>
              <a:rect l="l" t="t" r="r" b="b"/>
              <a:pathLst>
                <a:path w="36271" h="6191">
                  <a:moveTo>
                    <a:pt x="0" y="0"/>
                  </a:moveTo>
                  <a:lnTo>
                    <a:pt x="36271" y="0"/>
                  </a:lnTo>
                  <a:lnTo>
                    <a:pt x="36271"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7" name="Freeform: Shape 1376">
              <a:extLst>
                <a:ext uri="{FF2B5EF4-FFF2-40B4-BE49-F238E27FC236}">
                  <a16:creationId xmlns:a16="http://schemas.microsoft.com/office/drawing/2014/main" id="{3C7F48A0-6A44-2129-448D-1CF50A41E2DF}"/>
                </a:ext>
              </a:extLst>
            </p:cNvPr>
            <p:cNvSpPr/>
            <p:nvPr/>
          </p:nvSpPr>
          <p:spPr>
            <a:xfrm>
              <a:off x="10081983" y="2605989"/>
              <a:ext cx="11399" cy="51796"/>
            </a:xfrm>
            <a:custGeom>
              <a:avLst/>
              <a:gdLst>
                <a:gd name="connsiteX0" fmla="*/ 6153 w 11399"/>
                <a:gd name="connsiteY0" fmla="*/ 51797 h 51796"/>
                <a:gd name="connsiteX1" fmla="*/ 0 w 11399"/>
                <a:gd name="connsiteY1" fmla="*/ 51168 h 51796"/>
                <a:gd name="connsiteX2" fmla="*/ 5220 w 11399"/>
                <a:gd name="connsiteY2" fmla="*/ 0 h 51796"/>
                <a:gd name="connsiteX3" fmla="*/ 8268 w 11399"/>
                <a:gd name="connsiteY3" fmla="*/ 324 h 51796"/>
                <a:gd name="connsiteX4" fmla="*/ 11392 w 11399"/>
                <a:gd name="connsiteY4" fmla="*/ 324 h 51796"/>
                <a:gd name="connsiteX5" fmla="*/ 11392 w 11399"/>
                <a:gd name="connsiteY5" fmla="*/ 648 h 5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99" h="51796">
                  <a:moveTo>
                    <a:pt x="6153" y="51797"/>
                  </a:moveTo>
                  <a:lnTo>
                    <a:pt x="0" y="51168"/>
                  </a:lnTo>
                  <a:lnTo>
                    <a:pt x="5220" y="0"/>
                  </a:lnTo>
                  <a:lnTo>
                    <a:pt x="8268" y="324"/>
                  </a:lnTo>
                  <a:lnTo>
                    <a:pt x="11392" y="324"/>
                  </a:lnTo>
                  <a:cubicBezTo>
                    <a:pt x="11402" y="431"/>
                    <a:pt x="11402" y="540"/>
                    <a:pt x="11392" y="64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8" name="Freeform: Shape 1377">
              <a:extLst>
                <a:ext uri="{FF2B5EF4-FFF2-40B4-BE49-F238E27FC236}">
                  <a16:creationId xmlns:a16="http://schemas.microsoft.com/office/drawing/2014/main" id="{B66696ED-7954-3606-9A26-84E0AF87E2FB}"/>
                </a:ext>
              </a:extLst>
            </p:cNvPr>
            <p:cNvSpPr/>
            <p:nvPr/>
          </p:nvSpPr>
          <p:spPr>
            <a:xfrm>
              <a:off x="10021042" y="2652932"/>
              <a:ext cx="53625" cy="15711"/>
            </a:xfrm>
            <a:custGeom>
              <a:avLst/>
              <a:gdLst>
                <a:gd name="connsiteX0" fmla="*/ 52521 w 53625"/>
                <a:gd name="connsiteY0" fmla="*/ 15712 h 15711"/>
                <a:gd name="connsiteX1" fmla="*/ 0 w 53625"/>
                <a:gd name="connsiteY1" fmla="*/ 6187 h 15711"/>
                <a:gd name="connsiteX2" fmla="*/ 552 w 53625"/>
                <a:gd name="connsiteY2" fmla="*/ 3196 h 15711"/>
                <a:gd name="connsiteX3" fmla="*/ 552 w 53625"/>
                <a:gd name="connsiteY3" fmla="*/ 15 h 15711"/>
                <a:gd name="connsiteX4" fmla="*/ 552 w 53625"/>
                <a:gd name="connsiteY4" fmla="*/ 15 h 15711"/>
                <a:gd name="connsiteX5" fmla="*/ 1105 w 53625"/>
                <a:gd name="connsiteY5" fmla="*/ 15 h 15711"/>
                <a:gd name="connsiteX6" fmla="*/ 53626 w 53625"/>
                <a:gd name="connsiteY6" fmla="*/ 9540 h 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625" h="15711">
                  <a:moveTo>
                    <a:pt x="52521" y="15712"/>
                  </a:moveTo>
                  <a:lnTo>
                    <a:pt x="0" y="6187"/>
                  </a:lnTo>
                  <a:lnTo>
                    <a:pt x="552" y="3196"/>
                  </a:lnTo>
                  <a:lnTo>
                    <a:pt x="552" y="15"/>
                  </a:lnTo>
                  <a:lnTo>
                    <a:pt x="552" y="15"/>
                  </a:lnTo>
                  <a:cubicBezTo>
                    <a:pt x="736" y="-5"/>
                    <a:pt x="921" y="-5"/>
                    <a:pt x="1105" y="15"/>
                  </a:cubicBezTo>
                  <a:lnTo>
                    <a:pt x="53626" y="9540"/>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79" name="Freeform: Shape 1378">
              <a:extLst>
                <a:ext uri="{FF2B5EF4-FFF2-40B4-BE49-F238E27FC236}">
                  <a16:creationId xmlns:a16="http://schemas.microsoft.com/office/drawing/2014/main" id="{98A3E090-C5B7-7B05-83CC-F1396AD5FBC6}"/>
                </a:ext>
              </a:extLst>
            </p:cNvPr>
            <p:cNvSpPr/>
            <p:nvPr/>
          </p:nvSpPr>
          <p:spPr>
            <a:xfrm>
              <a:off x="10081145" y="2677445"/>
              <a:ext cx="15506" cy="33889"/>
            </a:xfrm>
            <a:custGeom>
              <a:avLst/>
              <a:gdLst>
                <a:gd name="connsiteX0" fmla="*/ 9525 w 15506"/>
                <a:gd name="connsiteY0" fmla="*/ 33890 h 33889"/>
                <a:gd name="connsiteX1" fmla="*/ 0 w 15506"/>
                <a:gd name="connsiteY1" fmla="*/ 1753 h 33889"/>
                <a:gd name="connsiteX2" fmla="*/ 0 w 15506"/>
                <a:gd name="connsiteY2" fmla="*/ 1543 h 33889"/>
                <a:gd name="connsiteX3" fmla="*/ 3086 w 15506"/>
                <a:gd name="connsiteY3" fmla="*/ 857 h 33889"/>
                <a:gd name="connsiteX4" fmla="*/ 5982 w 15506"/>
                <a:gd name="connsiteY4" fmla="*/ 0 h 33889"/>
                <a:gd name="connsiteX5" fmla="*/ 15507 w 15506"/>
                <a:gd name="connsiteY5" fmla="*/ 32137 h 3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6" h="33889">
                  <a:moveTo>
                    <a:pt x="9525" y="33890"/>
                  </a:moveTo>
                  <a:lnTo>
                    <a:pt x="0" y="1753"/>
                  </a:lnTo>
                  <a:lnTo>
                    <a:pt x="0" y="1543"/>
                  </a:lnTo>
                  <a:lnTo>
                    <a:pt x="3086" y="857"/>
                  </a:lnTo>
                  <a:lnTo>
                    <a:pt x="5982" y="0"/>
                  </a:lnTo>
                  <a:lnTo>
                    <a:pt x="15507" y="32137"/>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0" name="Freeform: Shape 1379">
              <a:extLst>
                <a:ext uri="{FF2B5EF4-FFF2-40B4-BE49-F238E27FC236}">
                  <a16:creationId xmlns:a16="http://schemas.microsoft.com/office/drawing/2014/main" id="{C512B9D8-6898-75E4-7DFD-E7C6ED578140}"/>
                </a:ext>
              </a:extLst>
            </p:cNvPr>
            <p:cNvSpPr/>
            <p:nvPr/>
          </p:nvSpPr>
          <p:spPr>
            <a:xfrm rot="-4799400">
              <a:off x="10123373" y="2705747"/>
              <a:ext cx="6191" cy="39985"/>
            </a:xfrm>
            <a:custGeom>
              <a:avLst/>
              <a:gdLst>
                <a:gd name="connsiteX0" fmla="*/ 0 w 6191"/>
                <a:gd name="connsiteY0" fmla="*/ 0 h 39985"/>
                <a:gd name="connsiteX1" fmla="*/ 6191 w 6191"/>
                <a:gd name="connsiteY1" fmla="*/ 0 h 39985"/>
                <a:gd name="connsiteX2" fmla="*/ 6191 w 6191"/>
                <a:gd name="connsiteY2" fmla="*/ 39986 h 39985"/>
                <a:gd name="connsiteX3" fmla="*/ 0 w 6191"/>
                <a:gd name="connsiteY3" fmla="*/ 39986 h 39985"/>
              </a:gdLst>
              <a:ahLst/>
              <a:cxnLst>
                <a:cxn ang="0">
                  <a:pos x="connsiteX0" y="connsiteY0"/>
                </a:cxn>
                <a:cxn ang="0">
                  <a:pos x="connsiteX1" y="connsiteY1"/>
                </a:cxn>
                <a:cxn ang="0">
                  <a:pos x="connsiteX2" y="connsiteY2"/>
                </a:cxn>
                <a:cxn ang="0">
                  <a:pos x="connsiteX3" y="connsiteY3"/>
                </a:cxn>
              </a:cxnLst>
              <a:rect l="l" t="t" r="r" b="b"/>
              <a:pathLst>
                <a:path w="6191" h="39985">
                  <a:moveTo>
                    <a:pt x="0" y="0"/>
                  </a:moveTo>
                  <a:lnTo>
                    <a:pt x="6191" y="0"/>
                  </a:lnTo>
                  <a:lnTo>
                    <a:pt x="6191" y="39986"/>
                  </a:lnTo>
                  <a:lnTo>
                    <a:pt x="0" y="39986"/>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1" name="Freeform: Shape 1380">
              <a:extLst>
                <a:ext uri="{FF2B5EF4-FFF2-40B4-BE49-F238E27FC236}">
                  <a16:creationId xmlns:a16="http://schemas.microsoft.com/office/drawing/2014/main" id="{6F008929-FEDE-135A-2526-7B649224D387}"/>
                </a:ext>
              </a:extLst>
            </p:cNvPr>
            <p:cNvSpPr/>
            <p:nvPr/>
          </p:nvSpPr>
          <p:spPr>
            <a:xfrm rot="-998399">
              <a:off x="10092900" y="2653677"/>
              <a:ext cx="56883" cy="6191"/>
            </a:xfrm>
            <a:custGeom>
              <a:avLst/>
              <a:gdLst>
                <a:gd name="connsiteX0" fmla="*/ 0 w 56883"/>
                <a:gd name="connsiteY0" fmla="*/ 0 h 6191"/>
                <a:gd name="connsiteX1" fmla="*/ 56883 w 56883"/>
                <a:gd name="connsiteY1" fmla="*/ 0 h 6191"/>
                <a:gd name="connsiteX2" fmla="*/ 56883 w 56883"/>
                <a:gd name="connsiteY2" fmla="*/ 6191 h 6191"/>
                <a:gd name="connsiteX3" fmla="*/ 0 w 56883"/>
                <a:gd name="connsiteY3" fmla="*/ 6191 h 6191"/>
              </a:gdLst>
              <a:ahLst/>
              <a:cxnLst>
                <a:cxn ang="0">
                  <a:pos x="connsiteX0" y="connsiteY0"/>
                </a:cxn>
                <a:cxn ang="0">
                  <a:pos x="connsiteX1" y="connsiteY1"/>
                </a:cxn>
                <a:cxn ang="0">
                  <a:pos x="connsiteX2" y="connsiteY2"/>
                </a:cxn>
                <a:cxn ang="0">
                  <a:pos x="connsiteX3" y="connsiteY3"/>
                </a:cxn>
              </a:cxnLst>
              <a:rect l="l" t="t" r="r" b="b"/>
              <a:pathLst>
                <a:path w="56883" h="6191">
                  <a:moveTo>
                    <a:pt x="0" y="0"/>
                  </a:moveTo>
                  <a:lnTo>
                    <a:pt x="56883" y="0"/>
                  </a:lnTo>
                  <a:lnTo>
                    <a:pt x="56883"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2" name="Freeform: Shape 1381">
              <a:extLst>
                <a:ext uri="{FF2B5EF4-FFF2-40B4-BE49-F238E27FC236}">
                  <a16:creationId xmlns:a16="http://schemas.microsoft.com/office/drawing/2014/main" id="{87B17532-1ED0-7825-2FB8-ABB4929FAA59}"/>
                </a:ext>
              </a:extLst>
            </p:cNvPr>
            <p:cNvSpPr/>
            <p:nvPr/>
          </p:nvSpPr>
          <p:spPr>
            <a:xfrm>
              <a:off x="9999559" y="2584502"/>
              <a:ext cx="26840" cy="27049"/>
            </a:xfrm>
            <a:custGeom>
              <a:avLst/>
              <a:gdLst>
                <a:gd name="connsiteX0" fmla="*/ 13406 w 26840"/>
                <a:gd name="connsiteY0" fmla="*/ 27049 h 27049"/>
                <a:gd name="connsiteX1" fmla="*/ 5214 w 26840"/>
                <a:gd name="connsiteY1" fmla="*/ 24211 h 27049"/>
                <a:gd name="connsiteX2" fmla="*/ 109 w 26840"/>
                <a:gd name="connsiteY2" fmla="*/ 15219 h 27049"/>
                <a:gd name="connsiteX3" fmla="*/ 11729 w 26840"/>
                <a:gd name="connsiteY3" fmla="*/ 113 h 27049"/>
                <a:gd name="connsiteX4" fmla="*/ 21635 w 26840"/>
                <a:gd name="connsiteY4" fmla="*/ 2837 h 27049"/>
                <a:gd name="connsiteX5" fmla="*/ 23967 w 26840"/>
                <a:gd name="connsiteY5" fmla="*/ 21849 h 27049"/>
                <a:gd name="connsiteX6" fmla="*/ 15082 w 26840"/>
                <a:gd name="connsiteY6" fmla="*/ 26935 h 27049"/>
                <a:gd name="connsiteX7" fmla="*/ 13406 w 26840"/>
                <a:gd name="connsiteY7" fmla="*/ 27049 h 27049"/>
                <a:gd name="connsiteX8" fmla="*/ 13406 w 26840"/>
                <a:gd name="connsiteY8" fmla="*/ 6094 h 27049"/>
                <a:gd name="connsiteX9" fmla="*/ 12510 w 26840"/>
                <a:gd name="connsiteY9" fmla="*/ 6094 h 27049"/>
                <a:gd name="connsiteX10" fmla="*/ 6218 w 26840"/>
                <a:gd name="connsiteY10" fmla="*/ 14374 h 27049"/>
                <a:gd name="connsiteX11" fmla="*/ 8986 w 26840"/>
                <a:gd name="connsiteY11" fmla="*/ 19182 h 27049"/>
                <a:gd name="connsiteX12" fmla="*/ 14263 w 26840"/>
                <a:gd name="connsiteY12" fmla="*/ 20649 h 27049"/>
                <a:gd name="connsiteX13" fmla="*/ 20555 w 26840"/>
                <a:gd name="connsiteY13" fmla="*/ 12369 h 27049"/>
                <a:gd name="connsiteX14" fmla="*/ 17787 w 26840"/>
                <a:gd name="connsiteY14" fmla="*/ 7561 h 27049"/>
                <a:gd name="connsiteX15" fmla="*/ 13444 w 26840"/>
                <a:gd name="connsiteY15" fmla="*/ 6190 h 2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40" h="27049">
                  <a:moveTo>
                    <a:pt x="13406" y="27049"/>
                  </a:moveTo>
                  <a:cubicBezTo>
                    <a:pt x="10434" y="27052"/>
                    <a:pt x="7547" y="26052"/>
                    <a:pt x="5214" y="24211"/>
                  </a:cubicBezTo>
                  <a:cubicBezTo>
                    <a:pt x="2372" y="22022"/>
                    <a:pt x="532" y="18781"/>
                    <a:pt x="109" y="15219"/>
                  </a:cubicBezTo>
                  <a:cubicBezTo>
                    <a:pt x="-826" y="7846"/>
                    <a:pt x="4363" y="1101"/>
                    <a:pt x="11729" y="113"/>
                  </a:cubicBezTo>
                  <a:cubicBezTo>
                    <a:pt x="15263" y="-352"/>
                    <a:pt x="18836" y="631"/>
                    <a:pt x="21635" y="2837"/>
                  </a:cubicBezTo>
                  <a:cubicBezTo>
                    <a:pt x="27529" y="7443"/>
                    <a:pt x="28573" y="15955"/>
                    <a:pt x="23967" y="21849"/>
                  </a:cubicBezTo>
                  <a:cubicBezTo>
                    <a:pt x="21785" y="24642"/>
                    <a:pt x="18595" y="26467"/>
                    <a:pt x="15082" y="26935"/>
                  </a:cubicBezTo>
                  <a:cubicBezTo>
                    <a:pt x="14526" y="27010"/>
                    <a:pt x="13966" y="27049"/>
                    <a:pt x="13406" y="27049"/>
                  </a:cubicBezTo>
                  <a:close/>
                  <a:moveTo>
                    <a:pt x="13406" y="6094"/>
                  </a:moveTo>
                  <a:cubicBezTo>
                    <a:pt x="13108" y="6076"/>
                    <a:pt x="12809" y="6076"/>
                    <a:pt x="12510" y="6094"/>
                  </a:cubicBezTo>
                  <a:cubicBezTo>
                    <a:pt x="8486" y="6643"/>
                    <a:pt x="5670" y="10350"/>
                    <a:pt x="6218" y="14374"/>
                  </a:cubicBezTo>
                  <a:cubicBezTo>
                    <a:pt x="6478" y="16277"/>
                    <a:pt x="7471" y="18002"/>
                    <a:pt x="8986" y="19182"/>
                  </a:cubicBezTo>
                  <a:cubicBezTo>
                    <a:pt x="10470" y="20372"/>
                    <a:pt x="12377" y="20902"/>
                    <a:pt x="14263" y="20649"/>
                  </a:cubicBezTo>
                  <a:cubicBezTo>
                    <a:pt x="18287" y="20100"/>
                    <a:pt x="21104" y="16393"/>
                    <a:pt x="20555" y="12369"/>
                  </a:cubicBezTo>
                  <a:cubicBezTo>
                    <a:pt x="20295" y="10467"/>
                    <a:pt x="19302" y="8741"/>
                    <a:pt x="17787" y="7561"/>
                  </a:cubicBezTo>
                  <a:cubicBezTo>
                    <a:pt x="16534" y="6631"/>
                    <a:pt x="15004" y="6148"/>
                    <a:pt x="13444" y="6190"/>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3" name="Freeform: Shape 1382">
              <a:extLst>
                <a:ext uri="{FF2B5EF4-FFF2-40B4-BE49-F238E27FC236}">
                  <a16:creationId xmlns:a16="http://schemas.microsoft.com/office/drawing/2014/main" id="{148A1E1F-DD5F-FB91-488A-71C31238B0C3}"/>
                </a:ext>
              </a:extLst>
            </p:cNvPr>
            <p:cNvSpPr/>
            <p:nvPr/>
          </p:nvSpPr>
          <p:spPr>
            <a:xfrm>
              <a:off x="10078188" y="2582411"/>
              <a:ext cx="26989" cy="27102"/>
            </a:xfrm>
            <a:custGeom>
              <a:avLst/>
              <a:gdLst>
                <a:gd name="connsiteX0" fmla="*/ 13549 w 26989"/>
                <a:gd name="connsiteY0" fmla="*/ 27102 h 27102"/>
                <a:gd name="connsiteX1" fmla="*/ 5377 w 26989"/>
                <a:gd name="connsiteY1" fmla="*/ 24264 h 27102"/>
                <a:gd name="connsiteX2" fmla="*/ 2713 w 26989"/>
                <a:gd name="connsiteY2" fmla="*/ 5377 h 27102"/>
                <a:gd name="connsiteX3" fmla="*/ 21600 w 26989"/>
                <a:gd name="connsiteY3" fmla="*/ 2713 h 27102"/>
                <a:gd name="connsiteX4" fmla="*/ 26884 w 26989"/>
                <a:gd name="connsiteY4" fmla="*/ 11919 h 27102"/>
                <a:gd name="connsiteX5" fmla="*/ 26884 w 26989"/>
                <a:gd name="connsiteY5" fmla="*/ 11919 h 27102"/>
                <a:gd name="connsiteX6" fmla="*/ 15225 w 26989"/>
                <a:gd name="connsiteY6" fmla="*/ 26988 h 27102"/>
                <a:gd name="connsiteX7" fmla="*/ 13549 w 26989"/>
                <a:gd name="connsiteY7" fmla="*/ 27102 h 27102"/>
                <a:gd name="connsiteX8" fmla="*/ 13549 w 26989"/>
                <a:gd name="connsiteY8" fmla="*/ 6147 h 27102"/>
                <a:gd name="connsiteX9" fmla="*/ 12654 w 26989"/>
                <a:gd name="connsiteY9" fmla="*/ 6147 h 27102"/>
                <a:gd name="connsiteX10" fmla="*/ 6396 w 26989"/>
                <a:gd name="connsiteY10" fmla="*/ 14486 h 27102"/>
                <a:gd name="connsiteX11" fmla="*/ 9129 w 26989"/>
                <a:gd name="connsiteY11" fmla="*/ 19235 h 27102"/>
                <a:gd name="connsiteX12" fmla="*/ 14425 w 26989"/>
                <a:gd name="connsiteY12" fmla="*/ 20701 h 27102"/>
                <a:gd name="connsiteX13" fmla="*/ 20516 w 26989"/>
                <a:gd name="connsiteY13" fmla="*/ 12239 h 27102"/>
                <a:gd name="connsiteX14" fmla="*/ 17988 w 26989"/>
                <a:gd name="connsiteY14" fmla="*/ 7785 h 27102"/>
                <a:gd name="connsiteX15" fmla="*/ 13587 w 26989"/>
                <a:gd name="connsiteY15" fmla="*/ 6242 h 2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89" h="27102">
                  <a:moveTo>
                    <a:pt x="13549" y="27102"/>
                  </a:moveTo>
                  <a:cubicBezTo>
                    <a:pt x="10584" y="27099"/>
                    <a:pt x="7705" y="26100"/>
                    <a:pt x="5377" y="24264"/>
                  </a:cubicBezTo>
                  <a:cubicBezTo>
                    <a:pt x="-575" y="19784"/>
                    <a:pt x="-1767" y="11328"/>
                    <a:pt x="2713" y="5377"/>
                  </a:cubicBezTo>
                  <a:cubicBezTo>
                    <a:pt x="7193" y="-575"/>
                    <a:pt x="15649" y="-1767"/>
                    <a:pt x="21600" y="2713"/>
                  </a:cubicBezTo>
                  <a:cubicBezTo>
                    <a:pt x="24546" y="4930"/>
                    <a:pt x="26455" y="8257"/>
                    <a:pt x="26884" y="11919"/>
                  </a:cubicBezTo>
                  <a:lnTo>
                    <a:pt x="26884" y="11919"/>
                  </a:lnTo>
                  <a:cubicBezTo>
                    <a:pt x="27806" y="19294"/>
                    <a:pt x="22596" y="26028"/>
                    <a:pt x="15225" y="26988"/>
                  </a:cubicBezTo>
                  <a:cubicBezTo>
                    <a:pt x="14670" y="27064"/>
                    <a:pt x="14110" y="27102"/>
                    <a:pt x="13549" y="27102"/>
                  </a:cubicBezTo>
                  <a:close/>
                  <a:moveTo>
                    <a:pt x="13549" y="6147"/>
                  </a:moveTo>
                  <a:lnTo>
                    <a:pt x="12654" y="6147"/>
                  </a:lnTo>
                  <a:cubicBezTo>
                    <a:pt x="8623" y="6722"/>
                    <a:pt x="5821" y="10456"/>
                    <a:pt x="6396" y="14486"/>
                  </a:cubicBezTo>
                  <a:cubicBezTo>
                    <a:pt x="6664" y="16362"/>
                    <a:pt x="7642" y="18062"/>
                    <a:pt x="9129" y="19235"/>
                  </a:cubicBezTo>
                  <a:cubicBezTo>
                    <a:pt x="10629" y="20408"/>
                    <a:pt x="12535" y="20936"/>
                    <a:pt x="14425" y="20701"/>
                  </a:cubicBezTo>
                  <a:cubicBezTo>
                    <a:pt x="18444" y="20046"/>
                    <a:pt x="21171" y="16258"/>
                    <a:pt x="20516" y="12239"/>
                  </a:cubicBezTo>
                  <a:cubicBezTo>
                    <a:pt x="20232" y="10500"/>
                    <a:pt x="19335" y="8920"/>
                    <a:pt x="17988" y="7785"/>
                  </a:cubicBezTo>
                  <a:cubicBezTo>
                    <a:pt x="16734" y="6795"/>
                    <a:pt x="15185" y="6252"/>
                    <a:pt x="13587" y="624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4" name="Freeform: Shape 1383">
              <a:extLst>
                <a:ext uri="{FF2B5EF4-FFF2-40B4-BE49-F238E27FC236}">
                  <a16:creationId xmlns:a16="http://schemas.microsoft.com/office/drawing/2014/main" id="{FA69CD85-EC75-3B41-8B71-BFA930B986C1}"/>
                </a:ext>
              </a:extLst>
            </p:cNvPr>
            <p:cNvSpPr/>
            <p:nvPr/>
          </p:nvSpPr>
          <p:spPr>
            <a:xfrm>
              <a:off x="10145447" y="2635225"/>
              <a:ext cx="26829" cy="27057"/>
            </a:xfrm>
            <a:custGeom>
              <a:avLst/>
              <a:gdLst>
                <a:gd name="connsiteX0" fmla="*/ 13441 w 26829"/>
                <a:gd name="connsiteY0" fmla="*/ 27057 h 27057"/>
                <a:gd name="connsiteX1" fmla="*/ 106 w 26829"/>
                <a:gd name="connsiteY1" fmla="*/ 15189 h 27057"/>
                <a:gd name="connsiteX2" fmla="*/ 11783 w 26829"/>
                <a:gd name="connsiteY2" fmla="*/ 101 h 27057"/>
                <a:gd name="connsiteX3" fmla="*/ 21632 w 26829"/>
                <a:gd name="connsiteY3" fmla="*/ 2826 h 27057"/>
                <a:gd name="connsiteX4" fmla="*/ 23941 w 26829"/>
                <a:gd name="connsiteY4" fmla="*/ 21868 h 27057"/>
                <a:gd name="connsiteX5" fmla="*/ 15079 w 26829"/>
                <a:gd name="connsiteY5" fmla="*/ 26943 h 27057"/>
                <a:gd name="connsiteX6" fmla="*/ 13441 w 26829"/>
                <a:gd name="connsiteY6" fmla="*/ 27057 h 27057"/>
                <a:gd name="connsiteX7" fmla="*/ 13441 w 26829"/>
                <a:gd name="connsiteY7" fmla="*/ 6102 h 27057"/>
                <a:gd name="connsiteX8" fmla="*/ 12545 w 26829"/>
                <a:gd name="connsiteY8" fmla="*/ 6102 h 27057"/>
                <a:gd name="connsiteX9" fmla="*/ 6264 w 26829"/>
                <a:gd name="connsiteY9" fmla="*/ 14424 h 27057"/>
                <a:gd name="connsiteX10" fmla="*/ 9021 w 26829"/>
                <a:gd name="connsiteY10" fmla="*/ 19209 h 27057"/>
                <a:gd name="connsiteX11" fmla="*/ 14298 w 26829"/>
                <a:gd name="connsiteY11" fmla="*/ 20675 h 27057"/>
                <a:gd name="connsiteX12" fmla="*/ 20603 w 26829"/>
                <a:gd name="connsiteY12" fmla="*/ 12484 h 27057"/>
                <a:gd name="connsiteX13" fmla="*/ 20603 w 26829"/>
                <a:gd name="connsiteY13" fmla="*/ 12484 h 27057"/>
                <a:gd name="connsiteX14" fmla="*/ 17822 w 26829"/>
                <a:gd name="connsiteY14" fmla="*/ 7569 h 27057"/>
                <a:gd name="connsiteX15" fmla="*/ 13479 w 26829"/>
                <a:gd name="connsiteY15" fmla="*/ 6178 h 2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29" h="27057">
                  <a:moveTo>
                    <a:pt x="13441" y="27057"/>
                  </a:moveTo>
                  <a:cubicBezTo>
                    <a:pt x="6636" y="27038"/>
                    <a:pt x="913" y="21946"/>
                    <a:pt x="106" y="15189"/>
                  </a:cubicBezTo>
                  <a:cubicBezTo>
                    <a:pt x="-816" y="7803"/>
                    <a:pt x="4403" y="1061"/>
                    <a:pt x="11783" y="101"/>
                  </a:cubicBezTo>
                  <a:cubicBezTo>
                    <a:pt x="15298" y="-334"/>
                    <a:pt x="18841" y="646"/>
                    <a:pt x="21632" y="2826"/>
                  </a:cubicBezTo>
                  <a:cubicBezTo>
                    <a:pt x="27528" y="7446"/>
                    <a:pt x="28562" y="15972"/>
                    <a:pt x="23941" y="21868"/>
                  </a:cubicBezTo>
                  <a:cubicBezTo>
                    <a:pt x="21762" y="24649"/>
                    <a:pt x="18580" y="26470"/>
                    <a:pt x="15079" y="26943"/>
                  </a:cubicBezTo>
                  <a:cubicBezTo>
                    <a:pt x="14536" y="27017"/>
                    <a:pt x="13989" y="27055"/>
                    <a:pt x="13441" y="27057"/>
                  </a:cubicBezTo>
                  <a:close/>
                  <a:moveTo>
                    <a:pt x="13441" y="6102"/>
                  </a:moveTo>
                  <a:cubicBezTo>
                    <a:pt x="13141" y="6083"/>
                    <a:pt x="12844" y="6083"/>
                    <a:pt x="12545" y="6102"/>
                  </a:cubicBezTo>
                  <a:cubicBezTo>
                    <a:pt x="8512" y="6666"/>
                    <a:pt x="5701" y="10391"/>
                    <a:pt x="6264" y="14424"/>
                  </a:cubicBezTo>
                  <a:cubicBezTo>
                    <a:pt x="6529" y="16316"/>
                    <a:pt x="7516" y="18031"/>
                    <a:pt x="9021" y="19209"/>
                  </a:cubicBezTo>
                  <a:cubicBezTo>
                    <a:pt x="10513" y="20383"/>
                    <a:pt x="12414" y="20911"/>
                    <a:pt x="14298" y="20675"/>
                  </a:cubicBezTo>
                  <a:cubicBezTo>
                    <a:pt x="18294" y="20142"/>
                    <a:pt x="21110" y="16483"/>
                    <a:pt x="20603" y="12484"/>
                  </a:cubicBezTo>
                  <a:lnTo>
                    <a:pt x="20603" y="12484"/>
                  </a:lnTo>
                  <a:cubicBezTo>
                    <a:pt x="20371" y="10539"/>
                    <a:pt x="19369" y="8769"/>
                    <a:pt x="17822" y="7569"/>
                  </a:cubicBezTo>
                  <a:cubicBezTo>
                    <a:pt x="16567" y="6640"/>
                    <a:pt x="15041" y="6151"/>
                    <a:pt x="13479" y="617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5" name="Freeform: Shape 1384">
              <a:extLst>
                <a:ext uri="{FF2B5EF4-FFF2-40B4-BE49-F238E27FC236}">
                  <a16:creationId xmlns:a16="http://schemas.microsoft.com/office/drawing/2014/main" id="{8014FDC5-12A4-322E-0B02-7B8B6032A9D4}"/>
                </a:ext>
              </a:extLst>
            </p:cNvPr>
            <p:cNvSpPr/>
            <p:nvPr/>
          </p:nvSpPr>
          <p:spPr>
            <a:xfrm>
              <a:off x="10142903" y="2715320"/>
              <a:ext cx="26985" cy="27086"/>
            </a:xfrm>
            <a:custGeom>
              <a:avLst/>
              <a:gdLst>
                <a:gd name="connsiteX0" fmla="*/ 13528 w 26985"/>
                <a:gd name="connsiteY0" fmla="*/ 27086 h 27086"/>
                <a:gd name="connsiteX1" fmla="*/ 5355 w 26985"/>
                <a:gd name="connsiteY1" fmla="*/ 24248 h 27086"/>
                <a:gd name="connsiteX2" fmla="*/ 2729 w 26985"/>
                <a:gd name="connsiteY2" fmla="*/ 5356 h 27086"/>
                <a:gd name="connsiteX3" fmla="*/ 21620 w 26985"/>
                <a:gd name="connsiteY3" fmla="*/ 2728 h 27086"/>
                <a:gd name="connsiteX4" fmla="*/ 26882 w 26985"/>
                <a:gd name="connsiteY4" fmla="*/ 11903 h 27086"/>
                <a:gd name="connsiteX5" fmla="*/ 26882 w 26985"/>
                <a:gd name="connsiteY5" fmla="*/ 11903 h 27086"/>
                <a:gd name="connsiteX6" fmla="*/ 15204 w 26985"/>
                <a:gd name="connsiteY6" fmla="*/ 26972 h 27086"/>
                <a:gd name="connsiteX7" fmla="*/ 13528 w 26985"/>
                <a:gd name="connsiteY7" fmla="*/ 27086 h 27086"/>
                <a:gd name="connsiteX8" fmla="*/ 13528 w 26985"/>
                <a:gd name="connsiteY8" fmla="*/ 6131 h 27086"/>
                <a:gd name="connsiteX9" fmla="*/ 12633 w 26985"/>
                <a:gd name="connsiteY9" fmla="*/ 6131 h 27086"/>
                <a:gd name="connsiteX10" fmla="*/ 6352 w 26985"/>
                <a:gd name="connsiteY10" fmla="*/ 14453 h 27086"/>
                <a:gd name="connsiteX11" fmla="*/ 9108 w 26985"/>
                <a:gd name="connsiteY11" fmla="*/ 19238 h 27086"/>
                <a:gd name="connsiteX12" fmla="*/ 14404 w 26985"/>
                <a:gd name="connsiteY12" fmla="*/ 20705 h 27086"/>
                <a:gd name="connsiteX13" fmla="*/ 20710 w 26985"/>
                <a:gd name="connsiteY13" fmla="*/ 12513 h 27086"/>
                <a:gd name="connsiteX14" fmla="*/ 20710 w 26985"/>
                <a:gd name="connsiteY14" fmla="*/ 12513 h 27086"/>
                <a:gd name="connsiteX15" fmla="*/ 17928 w 26985"/>
                <a:gd name="connsiteY15" fmla="*/ 7598 h 27086"/>
                <a:gd name="connsiteX16" fmla="*/ 13566 w 26985"/>
                <a:gd name="connsiteY16" fmla="*/ 6208 h 2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85" h="27086">
                  <a:moveTo>
                    <a:pt x="13528" y="27086"/>
                  </a:moveTo>
                  <a:cubicBezTo>
                    <a:pt x="10562" y="27083"/>
                    <a:pt x="7683" y="26084"/>
                    <a:pt x="5355" y="24248"/>
                  </a:cubicBezTo>
                  <a:cubicBezTo>
                    <a:pt x="-586" y="19756"/>
                    <a:pt x="-1763" y="11298"/>
                    <a:pt x="2729" y="5356"/>
                  </a:cubicBezTo>
                  <a:cubicBezTo>
                    <a:pt x="7220" y="-587"/>
                    <a:pt x="15679" y="-1763"/>
                    <a:pt x="21620" y="2728"/>
                  </a:cubicBezTo>
                  <a:cubicBezTo>
                    <a:pt x="24550" y="4943"/>
                    <a:pt x="26450" y="8256"/>
                    <a:pt x="26882" y="11903"/>
                  </a:cubicBezTo>
                  <a:lnTo>
                    <a:pt x="26882" y="11903"/>
                  </a:lnTo>
                  <a:cubicBezTo>
                    <a:pt x="27793" y="19282"/>
                    <a:pt x="22577" y="26012"/>
                    <a:pt x="15204" y="26972"/>
                  </a:cubicBezTo>
                  <a:cubicBezTo>
                    <a:pt x="14648" y="27049"/>
                    <a:pt x="14088" y="27087"/>
                    <a:pt x="13528" y="27086"/>
                  </a:cubicBezTo>
                  <a:close/>
                  <a:moveTo>
                    <a:pt x="13528" y="6131"/>
                  </a:moveTo>
                  <a:lnTo>
                    <a:pt x="12633" y="6131"/>
                  </a:lnTo>
                  <a:cubicBezTo>
                    <a:pt x="8600" y="6695"/>
                    <a:pt x="5788" y="10421"/>
                    <a:pt x="6352" y="14453"/>
                  </a:cubicBezTo>
                  <a:cubicBezTo>
                    <a:pt x="6617" y="16345"/>
                    <a:pt x="7603" y="18060"/>
                    <a:pt x="9108" y="19238"/>
                  </a:cubicBezTo>
                  <a:cubicBezTo>
                    <a:pt x="10608" y="20411"/>
                    <a:pt x="12514" y="20939"/>
                    <a:pt x="14404" y="20705"/>
                  </a:cubicBezTo>
                  <a:cubicBezTo>
                    <a:pt x="18395" y="20161"/>
                    <a:pt x="21205" y="16510"/>
                    <a:pt x="20710" y="12513"/>
                  </a:cubicBezTo>
                  <a:lnTo>
                    <a:pt x="20710" y="12513"/>
                  </a:lnTo>
                  <a:cubicBezTo>
                    <a:pt x="20470" y="10571"/>
                    <a:pt x="19470" y="8804"/>
                    <a:pt x="17928" y="7598"/>
                  </a:cubicBezTo>
                  <a:cubicBezTo>
                    <a:pt x="16667" y="6667"/>
                    <a:pt x="15134" y="6178"/>
                    <a:pt x="13566" y="620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6" name="Freeform: Shape 1385">
              <a:extLst>
                <a:ext uri="{FF2B5EF4-FFF2-40B4-BE49-F238E27FC236}">
                  <a16:creationId xmlns:a16="http://schemas.microsoft.com/office/drawing/2014/main" id="{8F1B4248-9D7B-EECC-5791-48A787B51881}"/>
                </a:ext>
              </a:extLst>
            </p:cNvPr>
            <p:cNvSpPr/>
            <p:nvPr/>
          </p:nvSpPr>
          <p:spPr>
            <a:xfrm>
              <a:off x="9930272" y="2647464"/>
              <a:ext cx="26829" cy="27047"/>
            </a:xfrm>
            <a:custGeom>
              <a:avLst/>
              <a:gdLst>
                <a:gd name="connsiteX0" fmla="*/ 13370 w 26829"/>
                <a:gd name="connsiteY0" fmla="*/ 27048 h 27047"/>
                <a:gd name="connsiteX1" fmla="*/ 5197 w 26829"/>
                <a:gd name="connsiteY1" fmla="*/ 24228 h 27047"/>
                <a:gd name="connsiteX2" fmla="*/ 2889 w 26829"/>
                <a:gd name="connsiteY2" fmla="*/ 5186 h 27047"/>
                <a:gd name="connsiteX3" fmla="*/ 11751 w 26829"/>
                <a:gd name="connsiteY3" fmla="*/ 111 h 27047"/>
                <a:gd name="connsiteX4" fmla="*/ 21618 w 26829"/>
                <a:gd name="connsiteY4" fmla="*/ 2835 h 27047"/>
                <a:gd name="connsiteX5" fmla="*/ 26724 w 26829"/>
                <a:gd name="connsiteY5" fmla="*/ 11865 h 27047"/>
                <a:gd name="connsiteX6" fmla="*/ 26724 w 26829"/>
                <a:gd name="connsiteY6" fmla="*/ 11865 h 27047"/>
                <a:gd name="connsiteX7" fmla="*/ 15046 w 26829"/>
                <a:gd name="connsiteY7" fmla="*/ 26953 h 27047"/>
                <a:gd name="connsiteX8" fmla="*/ 13370 w 26829"/>
                <a:gd name="connsiteY8" fmla="*/ 27048 h 27047"/>
                <a:gd name="connsiteX9" fmla="*/ 13370 w 26829"/>
                <a:gd name="connsiteY9" fmla="*/ 6188 h 27047"/>
                <a:gd name="connsiteX10" fmla="*/ 12474 w 26829"/>
                <a:gd name="connsiteY10" fmla="*/ 6188 h 27047"/>
                <a:gd name="connsiteX11" fmla="*/ 6193 w 26829"/>
                <a:gd name="connsiteY11" fmla="*/ 14510 h 27047"/>
                <a:gd name="connsiteX12" fmla="*/ 8950 w 26829"/>
                <a:gd name="connsiteY12" fmla="*/ 19295 h 27047"/>
                <a:gd name="connsiteX13" fmla="*/ 14341 w 26829"/>
                <a:gd name="connsiteY13" fmla="*/ 20838 h 27047"/>
                <a:gd name="connsiteX14" fmla="*/ 20622 w 26829"/>
                <a:gd name="connsiteY14" fmla="*/ 12516 h 27047"/>
                <a:gd name="connsiteX15" fmla="*/ 17866 w 26829"/>
                <a:gd name="connsiteY15" fmla="*/ 7731 h 27047"/>
                <a:gd name="connsiteX16" fmla="*/ 13427 w 26829"/>
                <a:gd name="connsiteY16" fmla="*/ 6188 h 2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29" h="27047">
                  <a:moveTo>
                    <a:pt x="13370" y="27048"/>
                  </a:moveTo>
                  <a:cubicBezTo>
                    <a:pt x="10406" y="27052"/>
                    <a:pt x="7528" y="26059"/>
                    <a:pt x="5197" y="24228"/>
                  </a:cubicBezTo>
                  <a:cubicBezTo>
                    <a:pt x="-699" y="19608"/>
                    <a:pt x="-1732" y="11082"/>
                    <a:pt x="2889" y="5186"/>
                  </a:cubicBezTo>
                  <a:cubicBezTo>
                    <a:pt x="5069" y="2405"/>
                    <a:pt x="8248" y="584"/>
                    <a:pt x="11751" y="111"/>
                  </a:cubicBezTo>
                  <a:cubicBezTo>
                    <a:pt x="15273" y="-349"/>
                    <a:pt x="18831" y="633"/>
                    <a:pt x="21618" y="2835"/>
                  </a:cubicBezTo>
                  <a:cubicBezTo>
                    <a:pt x="24469" y="5033"/>
                    <a:pt x="26310" y="8290"/>
                    <a:pt x="26724" y="11865"/>
                  </a:cubicBezTo>
                  <a:lnTo>
                    <a:pt x="26724" y="11865"/>
                  </a:lnTo>
                  <a:cubicBezTo>
                    <a:pt x="27645" y="19251"/>
                    <a:pt x="22427" y="25993"/>
                    <a:pt x="15046" y="26953"/>
                  </a:cubicBezTo>
                  <a:cubicBezTo>
                    <a:pt x="14489" y="27013"/>
                    <a:pt x="13930" y="27045"/>
                    <a:pt x="13370" y="27048"/>
                  </a:cubicBezTo>
                  <a:close/>
                  <a:moveTo>
                    <a:pt x="13370" y="6188"/>
                  </a:moveTo>
                  <a:cubicBezTo>
                    <a:pt x="13072" y="6169"/>
                    <a:pt x="12773" y="6169"/>
                    <a:pt x="12474" y="6188"/>
                  </a:cubicBezTo>
                  <a:cubicBezTo>
                    <a:pt x="8442" y="6752"/>
                    <a:pt x="5630" y="10477"/>
                    <a:pt x="6193" y="14510"/>
                  </a:cubicBezTo>
                  <a:cubicBezTo>
                    <a:pt x="6458" y="16402"/>
                    <a:pt x="7446" y="18117"/>
                    <a:pt x="8950" y="19295"/>
                  </a:cubicBezTo>
                  <a:cubicBezTo>
                    <a:pt x="10461" y="20524"/>
                    <a:pt x="12409" y="21082"/>
                    <a:pt x="14341" y="20838"/>
                  </a:cubicBezTo>
                  <a:cubicBezTo>
                    <a:pt x="18374" y="20274"/>
                    <a:pt x="21186" y="16548"/>
                    <a:pt x="20622" y="12516"/>
                  </a:cubicBezTo>
                  <a:cubicBezTo>
                    <a:pt x="20358" y="10624"/>
                    <a:pt x="19370" y="8909"/>
                    <a:pt x="17866" y="7731"/>
                  </a:cubicBezTo>
                  <a:cubicBezTo>
                    <a:pt x="16603" y="6730"/>
                    <a:pt x="15038" y="6186"/>
                    <a:pt x="13427" y="618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7" name="Freeform: Shape 1386">
              <a:extLst>
                <a:ext uri="{FF2B5EF4-FFF2-40B4-BE49-F238E27FC236}">
                  <a16:creationId xmlns:a16="http://schemas.microsoft.com/office/drawing/2014/main" id="{40D2A5B4-16CC-92C2-BA0A-ED524BA22201}"/>
                </a:ext>
              </a:extLst>
            </p:cNvPr>
            <p:cNvSpPr/>
            <p:nvPr/>
          </p:nvSpPr>
          <p:spPr>
            <a:xfrm>
              <a:off x="10070850" y="2654360"/>
              <a:ext cx="26748" cy="27047"/>
            </a:xfrm>
            <a:custGeom>
              <a:avLst/>
              <a:gdLst>
                <a:gd name="connsiteX0" fmla="*/ 13305 w 26748"/>
                <a:gd name="connsiteY0" fmla="*/ 27048 h 27047"/>
                <a:gd name="connsiteX1" fmla="*/ 5209 w 26748"/>
                <a:gd name="connsiteY1" fmla="*/ 24228 h 27047"/>
                <a:gd name="connsiteX2" fmla="*/ 2880 w 26748"/>
                <a:gd name="connsiteY2" fmla="*/ 5189 h 27047"/>
                <a:gd name="connsiteX3" fmla="*/ 11686 w 26748"/>
                <a:gd name="connsiteY3" fmla="*/ 111 h 27047"/>
                <a:gd name="connsiteX4" fmla="*/ 21554 w 26748"/>
                <a:gd name="connsiteY4" fmla="*/ 2835 h 27047"/>
                <a:gd name="connsiteX5" fmla="*/ 23857 w 26748"/>
                <a:gd name="connsiteY5" fmla="*/ 21878 h 27047"/>
                <a:gd name="connsiteX6" fmla="*/ 14981 w 26748"/>
                <a:gd name="connsiteY6" fmla="*/ 26953 h 27047"/>
                <a:gd name="connsiteX7" fmla="*/ 13305 w 26748"/>
                <a:gd name="connsiteY7" fmla="*/ 27048 h 27047"/>
                <a:gd name="connsiteX8" fmla="*/ 13305 w 26748"/>
                <a:gd name="connsiteY8" fmla="*/ 6093 h 27047"/>
                <a:gd name="connsiteX9" fmla="*/ 12410 w 26748"/>
                <a:gd name="connsiteY9" fmla="*/ 6093 h 27047"/>
                <a:gd name="connsiteX10" fmla="*/ 6063 w 26748"/>
                <a:gd name="connsiteY10" fmla="*/ 14365 h 27047"/>
                <a:gd name="connsiteX11" fmla="*/ 9019 w 26748"/>
                <a:gd name="connsiteY11" fmla="*/ 19352 h 27047"/>
                <a:gd name="connsiteX12" fmla="*/ 14315 w 26748"/>
                <a:gd name="connsiteY12" fmla="*/ 20819 h 27047"/>
                <a:gd name="connsiteX13" fmla="*/ 20596 w 26748"/>
                <a:gd name="connsiteY13" fmla="*/ 12497 h 27047"/>
                <a:gd name="connsiteX14" fmla="*/ 17839 w 26748"/>
                <a:gd name="connsiteY14" fmla="*/ 7712 h 27047"/>
                <a:gd name="connsiteX15" fmla="*/ 13343 w 26748"/>
                <a:gd name="connsiteY15" fmla="*/ 6188 h 2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748" h="27047">
                  <a:moveTo>
                    <a:pt x="13305" y="27048"/>
                  </a:moveTo>
                  <a:cubicBezTo>
                    <a:pt x="10368" y="27035"/>
                    <a:pt x="7519" y="26043"/>
                    <a:pt x="5209" y="24228"/>
                  </a:cubicBezTo>
                  <a:cubicBezTo>
                    <a:pt x="-692" y="19614"/>
                    <a:pt x="-1735" y="11089"/>
                    <a:pt x="2880" y="5189"/>
                  </a:cubicBezTo>
                  <a:cubicBezTo>
                    <a:pt x="5046" y="2419"/>
                    <a:pt x="8203" y="598"/>
                    <a:pt x="11686" y="111"/>
                  </a:cubicBezTo>
                  <a:cubicBezTo>
                    <a:pt x="15208" y="-349"/>
                    <a:pt x="18767" y="633"/>
                    <a:pt x="21554" y="2835"/>
                  </a:cubicBezTo>
                  <a:cubicBezTo>
                    <a:pt x="27448" y="7458"/>
                    <a:pt x="28480" y="15984"/>
                    <a:pt x="23857" y="21878"/>
                  </a:cubicBezTo>
                  <a:cubicBezTo>
                    <a:pt x="21674" y="24663"/>
                    <a:pt x="18489" y="26484"/>
                    <a:pt x="14981" y="26953"/>
                  </a:cubicBezTo>
                  <a:cubicBezTo>
                    <a:pt x="14424" y="27013"/>
                    <a:pt x="13865" y="27045"/>
                    <a:pt x="13305" y="27048"/>
                  </a:cubicBezTo>
                  <a:close/>
                  <a:moveTo>
                    <a:pt x="13305" y="6093"/>
                  </a:moveTo>
                  <a:lnTo>
                    <a:pt x="12410" y="6093"/>
                  </a:lnTo>
                  <a:cubicBezTo>
                    <a:pt x="8373" y="6625"/>
                    <a:pt x="5531" y="10328"/>
                    <a:pt x="6063" y="14365"/>
                  </a:cubicBezTo>
                  <a:cubicBezTo>
                    <a:pt x="6326" y="16361"/>
                    <a:pt x="7394" y="18163"/>
                    <a:pt x="9019" y="19352"/>
                  </a:cubicBezTo>
                  <a:cubicBezTo>
                    <a:pt x="10519" y="20525"/>
                    <a:pt x="12424" y="21053"/>
                    <a:pt x="14315" y="20819"/>
                  </a:cubicBezTo>
                  <a:cubicBezTo>
                    <a:pt x="18347" y="20255"/>
                    <a:pt x="21159" y="16529"/>
                    <a:pt x="20596" y="12497"/>
                  </a:cubicBezTo>
                  <a:cubicBezTo>
                    <a:pt x="20331" y="10605"/>
                    <a:pt x="19343" y="8890"/>
                    <a:pt x="17839" y="7712"/>
                  </a:cubicBezTo>
                  <a:cubicBezTo>
                    <a:pt x="16563" y="6697"/>
                    <a:pt x="14973" y="6158"/>
                    <a:pt x="13343" y="618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8" name="Freeform: Shape 1387">
              <a:extLst>
                <a:ext uri="{FF2B5EF4-FFF2-40B4-BE49-F238E27FC236}">
                  <a16:creationId xmlns:a16="http://schemas.microsoft.com/office/drawing/2014/main" id="{DB63805A-D7C6-2080-5CD4-EE9EDA50B5C1}"/>
                </a:ext>
              </a:extLst>
            </p:cNvPr>
            <p:cNvSpPr/>
            <p:nvPr/>
          </p:nvSpPr>
          <p:spPr>
            <a:xfrm>
              <a:off x="10002991" y="2690778"/>
              <a:ext cx="26862" cy="27081"/>
            </a:xfrm>
            <a:custGeom>
              <a:avLst/>
              <a:gdLst>
                <a:gd name="connsiteX0" fmla="*/ 13403 w 26862"/>
                <a:gd name="connsiteY0" fmla="*/ 27053 h 27081"/>
                <a:gd name="connsiteX1" fmla="*/ 5211 w 26862"/>
                <a:gd name="connsiteY1" fmla="*/ 24215 h 27081"/>
                <a:gd name="connsiteX2" fmla="*/ 106 w 26862"/>
                <a:gd name="connsiteY2" fmla="*/ 15185 h 27081"/>
                <a:gd name="connsiteX3" fmla="*/ 11764 w 26862"/>
                <a:gd name="connsiteY3" fmla="*/ 98 h 27081"/>
                <a:gd name="connsiteX4" fmla="*/ 26738 w 26862"/>
                <a:gd name="connsiteY4" fmla="*/ 11813 h 27081"/>
                <a:gd name="connsiteX5" fmla="*/ 15161 w 26862"/>
                <a:gd name="connsiteY5" fmla="*/ 27040 h 27081"/>
                <a:gd name="connsiteX6" fmla="*/ 15060 w 26862"/>
                <a:gd name="connsiteY6" fmla="*/ 27053 h 27081"/>
                <a:gd name="connsiteX7" fmla="*/ 13403 w 26862"/>
                <a:gd name="connsiteY7" fmla="*/ 27053 h 27081"/>
                <a:gd name="connsiteX8" fmla="*/ 13403 w 26862"/>
                <a:gd name="connsiteY8" fmla="*/ 6098 h 27081"/>
                <a:gd name="connsiteX9" fmla="*/ 12526 w 26862"/>
                <a:gd name="connsiteY9" fmla="*/ 6098 h 27081"/>
                <a:gd name="connsiteX10" fmla="*/ 5930 w 26862"/>
                <a:gd name="connsiteY10" fmla="*/ 14138 h 27081"/>
                <a:gd name="connsiteX11" fmla="*/ 9021 w 26862"/>
                <a:gd name="connsiteY11" fmla="*/ 19433 h 27081"/>
                <a:gd name="connsiteX12" fmla="*/ 14298 w 26862"/>
                <a:gd name="connsiteY12" fmla="*/ 20900 h 27081"/>
                <a:gd name="connsiteX13" fmla="*/ 20604 w 26862"/>
                <a:gd name="connsiteY13" fmla="*/ 12728 h 27081"/>
                <a:gd name="connsiteX14" fmla="*/ 20604 w 26862"/>
                <a:gd name="connsiteY14" fmla="*/ 12728 h 27081"/>
                <a:gd name="connsiteX15" fmla="*/ 17822 w 26862"/>
                <a:gd name="connsiteY15" fmla="*/ 7737 h 27081"/>
                <a:gd name="connsiteX16" fmla="*/ 13422 w 26862"/>
                <a:gd name="connsiteY16" fmla="*/ 6213 h 2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62" h="27081">
                  <a:moveTo>
                    <a:pt x="13403" y="27053"/>
                  </a:moveTo>
                  <a:cubicBezTo>
                    <a:pt x="10432" y="27046"/>
                    <a:pt x="7549" y="26047"/>
                    <a:pt x="5211" y="24215"/>
                  </a:cubicBezTo>
                  <a:cubicBezTo>
                    <a:pt x="2361" y="22017"/>
                    <a:pt x="519" y="18761"/>
                    <a:pt x="106" y="15185"/>
                  </a:cubicBezTo>
                  <a:cubicBezTo>
                    <a:pt x="-816" y="7806"/>
                    <a:pt x="4391" y="1067"/>
                    <a:pt x="11764" y="98"/>
                  </a:cubicBezTo>
                  <a:cubicBezTo>
                    <a:pt x="19130" y="-788"/>
                    <a:pt x="25825" y="4451"/>
                    <a:pt x="26738" y="11813"/>
                  </a:cubicBezTo>
                  <a:cubicBezTo>
                    <a:pt x="27745" y="19215"/>
                    <a:pt x="22562" y="26032"/>
                    <a:pt x="15161" y="27040"/>
                  </a:cubicBezTo>
                  <a:cubicBezTo>
                    <a:pt x="15127" y="27045"/>
                    <a:pt x="15094" y="27049"/>
                    <a:pt x="15060" y="27053"/>
                  </a:cubicBezTo>
                  <a:cubicBezTo>
                    <a:pt x="14508" y="27091"/>
                    <a:pt x="13955" y="27091"/>
                    <a:pt x="13403" y="27053"/>
                  </a:cubicBezTo>
                  <a:close/>
                  <a:moveTo>
                    <a:pt x="13403" y="6098"/>
                  </a:moveTo>
                  <a:cubicBezTo>
                    <a:pt x="13111" y="6079"/>
                    <a:pt x="12818" y="6079"/>
                    <a:pt x="12526" y="6098"/>
                  </a:cubicBezTo>
                  <a:cubicBezTo>
                    <a:pt x="8485" y="6497"/>
                    <a:pt x="5532" y="10096"/>
                    <a:pt x="5930" y="14138"/>
                  </a:cubicBezTo>
                  <a:cubicBezTo>
                    <a:pt x="6140" y="16269"/>
                    <a:pt x="7269" y="18202"/>
                    <a:pt x="9021" y="19433"/>
                  </a:cubicBezTo>
                  <a:cubicBezTo>
                    <a:pt x="10511" y="20614"/>
                    <a:pt x="12413" y="21142"/>
                    <a:pt x="14298" y="20900"/>
                  </a:cubicBezTo>
                  <a:cubicBezTo>
                    <a:pt x="18286" y="20367"/>
                    <a:pt x="21099" y="16720"/>
                    <a:pt x="20604" y="12728"/>
                  </a:cubicBezTo>
                  <a:lnTo>
                    <a:pt x="20604" y="12728"/>
                  </a:lnTo>
                  <a:cubicBezTo>
                    <a:pt x="20391" y="10756"/>
                    <a:pt x="19388" y="8954"/>
                    <a:pt x="17822" y="7737"/>
                  </a:cubicBezTo>
                  <a:cubicBezTo>
                    <a:pt x="16572" y="6742"/>
                    <a:pt x="15019" y="6204"/>
                    <a:pt x="13422" y="6213"/>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89" name="Freeform: Shape 1388">
              <a:extLst>
                <a:ext uri="{FF2B5EF4-FFF2-40B4-BE49-F238E27FC236}">
                  <a16:creationId xmlns:a16="http://schemas.microsoft.com/office/drawing/2014/main" id="{CB5BC68B-D253-70E0-9C9A-131888C88A96}"/>
                </a:ext>
              </a:extLst>
            </p:cNvPr>
            <p:cNvSpPr/>
            <p:nvPr/>
          </p:nvSpPr>
          <p:spPr>
            <a:xfrm>
              <a:off x="9997923" y="2642987"/>
              <a:ext cx="26803" cy="27047"/>
            </a:xfrm>
            <a:custGeom>
              <a:avLst/>
              <a:gdLst>
                <a:gd name="connsiteX0" fmla="*/ 13365 w 26803"/>
                <a:gd name="connsiteY0" fmla="*/ 27048 h 27047"/>
                <a:gd name="connsiteX1" fmla="*/ 5174 w 26803"/>
                <a:gd name="connsiteY1" fmla="*/ 24209 h 27047"/>
                <a:gd name="connsiteX2" fmla="*/ 2907 w 26803"/>
                <a:gd name="connsiteY2" fmla="*/ 5162 h 27047"/>
                <a:gd name="connsiteX3" fmla="*/ 11746 w 26803"/>
                <a:gd name="connsiteY3" fmla="*/ 111 h 27047"/>
                <a:gd name="connsiteX4" fmla="*/ 21614 w 26803"/>
                <a:gd name="connsiteY4" fmla="*/ 2835 h 27047"/>
                <a:gd name="connsiteX5" fmla="*/ 26700 w 26803"/>
                <a:gd name="connsiteY5" fmla="*/ 11865 h 27047"/>
                <a:gd name="connsiteX6" fmla="*/ 26700 w 26803"/>
                <a:gd name="connsiteY6" fmla="*/ 11865 h 27047"/>
                <a:gd name="connsiteX7" fmla="*/ 15023 w 26803"/>
                <a:gd name="connsiteY7" fmla="*/ 26934 h 27047"/>
                <a:gd name="connsiteX8" fmla="*/ 13365 w 26803"/>
                <a:gd name="connsiteY8" fmla="*/ 27048 h 27047"/>
                <a:gd name="connsiteX9" fmla="*/ 13365 w 26803"/>
                <a:gd name="connsiteY9" fmla="*/ 6264 h 27047"/>
                <a:gd name="connsiteX10" fmla="*/ 12470 w 26803"/>
                <a:gd name="connsiteY10" fmla="*/ 6264 h 27047"/>
                <a:gd name="connsiteX11" fmla="*/ 6183 w 26803"/>
                <a:gd name="connsiteY11" fmla="*/ 14437 h 27047"/>
                <a:gd name="connsiteX12" fmla="*/ 8946 w 26803"/>
                <a:gd name="connsiteY12" fmla="*/ 19352 h 27047"/>
                <a:gd name="connsiteX13" fmla="*/ 14242 w 26803"/>
                <a:gd name="connsiteY13" fmla="*/ 20819 h 27047"/>
                <a:gd name="connsiteX14" fmla="*/ 20499 w 26803"/>
                <a:gd name="connsiteY14" fmla="*/ 12479 h 27047"/>
                <a:gd name="connsiteX15" fmla="*/ 17766 w 26803"/>
                <a:gd name="connsiteY15" fmla="*/ 7731 h 27047"/>
                <a:gd name="connsiteX16" fmla="*/ 13365 w 26803"/>
                <a:gd name="connsiteY16" fmla="*/ 6264 h 2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03" h="27047">
                  <a:moveTo>
                    <a:pt x="13365" y="27048"/>
                  </a:moveTo>
                  <a:cubicBezTo>
                    <a:pt x="10393" y="27051"/>
                    <a:pt x="7507" y="26051"/>
                    <a:pt x="5174" y="24209"/>
                  </a:cubicBezTo>
                  <a:cubicBezTo>
                    <a:pt x="-712" y="19576"/>
                    <a:pt x="-1727" y="11048"/>
                    <a:pt x="2907" y="5162"/>
                  </a:cubicBezTo>
                  <a:cubicBezTo>
                    <a:pt x="5086" y="2395"/>
                    <a:pt x="8256" y="583"/>
                    <a:pt x="11746" y="111"/>
                  </a:cubicBezTo>
                  <a:cubicBezTo>
                    <a:pt x="15268" y="-349"/>
                    <a:pt x="18827" y="633"/>
                    <a:pt x="21614" y="2835"/>
                  </a:cubicBezTo>
                  <a:cubicBezTo>
                    <a:pt x="24441" y="5050"/>
                    <a:pt x="26271" y="8299"/>
                    <a:pt x="26700" y="11865"/>
                  </a:cubicBezTo>
                  <a:lnTo>
                    <a:pt x="26700" y="11865"/>
                  </a:lnTo>
                  <a:cubicBezTo>
                    <a:pt x="27611" y="19244"/>
                    <a:pt x="22395" y="25974"/>
                    <a:pt x="15023" y="26934"/>
                  </a:cubicBezTo>
                  <a:cubicBezTo>
                    <a:pt x="14473" y="27009"/>
                    <a:pt x="13920" y="27047"/>
                    <a:pt x="13365" y="27048"/>
                  </a:cubicBezTo>
                  <a:close/>
                  <a:moveTo>
                    <a:pt x="13365" y="6264"/>
                  </a:moveTo>
                  <a:lnTo>
                    <a:pt x="12470" y="6264"/>
                  </a:lnTo>
                  <a:cubicBezTo>
                    <a:pt x="8479" y="6788"/>
                    <a:pt x="5666" y="10445"/>
                    <a:pt x="6183" y="14437"/>
                  </a:cubicBezTo>
                  <a:cubicBezTo>
                    <a:pt x="6400" y="16382"/>
                    <a:pt x="7397" y="18156"/>
                    <a:pt x="8946" y="19352"/>
                  </a:cubicBezTo>
                  <a:cubicBezTo>
                    <a:pt x="10442" y="20533"/>
                    <a:pt x="12351" y="21062"/>
                    <a:pt x="14242" y="20819"/>
                  </a:cubicBezTo>
                  <a:cubicBezTo>
                    <a:pt x="18272" y="20244"/>
                    <a:pt x="21074" y="16510"/>
                    <a:pt x="20499" y="12479"/>
                  </a:cubicBezTo>
                  <a:cubicBezTo>
                    <a:pt x="20232" y="10604"/>
                    <a:pt x="19253" y="8904"/>
                    <a:pt x="17766" y="7731"/>
                  </a:cubicBezTo>
                  <a:cubicBezTo>
                    <a:pt x="16506" y="6760"/>
                    <a:pt x="14956" y="6243"/>
                    <a:pt x="13365" y="6264"/>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0" name="Freeform: Shape 1389">
              <a:extLst>
                <a:ext uri="{FF2B5EF4-FFF2-40B4-BE49-F238E27FC236}">
                  <a16:creationId xmlns:a16="http://schemas.microsoft.com/office/drawing/2014/main" id="{29A69765-7891-DF0D-735B-0E27B80F9AD0}"/>
                </a:ext>
              </a:extLst>
            </p:cNvPr>
            <p:cNvSpPr/>
            <p:nvPr/>
          </p:nvSpPr>
          <p:spPr>
            <a:xfrm rot="-3922200">
              <a:off x="10105770" y="2773078"/>
              <a:ext cx="6191" cy="39547"/>
            </a:xfrm>
            <a:custGeom>
              <a:avLst/>
              <a:gdLst>
                <a:gd name="connsiteX0" fmla="*/ 0 w 6191"/>
                <a:gd name="connsiteY0" fmla="*/ 0 h 39547"/>
                <a:gd name="connsiteX1" fmla="*/ 6191 w 6191"/>
                <a:gd name="connsiteY1" fmla="*/ 0 h 39547"/>
                <a:gd name="connsiteX2" fmla="*/ 6191 w 6191"/>
                <a:gd name="connsiteY2" fmla="*/ 39548 h 39547"/>
                <a:gd name="connsiteX3" fmla="*/ 0 w 6191"/>
                <a:gd name="connsiteY3" fmla="*/ 39548 h 39547"/>
              </a:gdLst>
              <a:ahLst/>
              <a:cxnLst>
                <a:cxn ang="0">
                  <a:pos x="connsiteX0" y="connsiteY0"/>
                </a:cxn>
                <a:cxn ang="0">
                  <a:pos x="connsiteX1" y="connsiteY1"/>
                </a:cxn>
                <a:cxn ang="0">
                  <a:pos x="connsiteX2" y="connsiteY2"/>
                </a:cxn>
                <a:cxn ang="0">
                  <a:pos x="connsiteX3" y="connsiteY3"/>
                </a:cxn>
              </a:cxnLst>
              <a:rect l="l" t="t" r="r" b="b"/>
              <a:pathLst>
                <a:path w="6191" h="39547">
                  <a:moveTo>
                    <a:pt x="0" y="0"/>
                  </a:moveTo>
                  <a:lnTo>
                    <a:pt x="6191" y="0"/>
                  </a:lnTo>
                  <a:lnTo>
                    <a:pt x="6191" y="39548"/>
                  </a:lnTo>
                  <a:lnTo>
                    <a:pt x="0" y="39548"/>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1" name="Freeform: Shape 1390">
              <a:extLst>
                <a:ext uri="{FF2B5EF4-FFF2-40B4-BE49-F238E27FC236}">
                  <a16:creationId xmlns:a16="http://schemas.microsoft.com/office/drawing/2014/main" id="{D4B8979F-5961-FF00-00C9-5543EA5C8546}"/>
                </a:ext>
              </a:extLst>
            </p:cNvPr>
            <p:cNvSpPr/>
            <p:nvPr/>
          </p:nvSpPr>
          <p:spPr>
            <a:xfrm>
              <a:off x="10067949" y="2767091"/>
              <a:ext cx="26826" cy="27054"/>
            </a:xfrm>
            <a:custGeom>
              <a:avLst/>
              <a:gdLst>
                <a:gd name="connsiteX0" fmla="*/ 13386 w 26826"/>
                <a:gd name="connsiteY0" fmla="*/ 27054 h 27054"/>
                <a:gd name="connsiteX1" fmla="*/ 5194 w 26826"/>
                <a:gd name="connsiteY1" fmla="*/ 24216 h 27054"/>
                <a:gd name="connsiteX2" fmla="*/ 2891 w 26826"/>
                <a:gd name="connsiteY2" fmla="*/ 5174 h 27054"/>
                <a:gd name="connsiteX3" fmla="*/ 11767 w 26826"/>
                <a:gd name="connsiteY3" fmla="*/ 99 h 27054"/>
                <a:gd name="connsiteX4" fmla="*/ 26714 w 26826"/>
                <a:gd name="connsiteY4" fmla="*/ 11816 h 27054"/>
                <a:gd name="connsiteX5" fmla="*/ 26721 w 26826"/>
                <a:gd name="connsiteY5" fmla="*/ 11872 h 27054"/>
                <a:gd name="connsiteX6" fmla="*/ 26721 w 26826"/>
                <a:gd name="connsiteY6" fmla="*/ 11872 h 27054"/>
                <a:gd name="connsiteX7" fmla="*/ 15062 w 26826"/>
                <a:gd name="connsiteY7" fmla="*/ 26940 h 27054"/>
                <a:gd name="connsiteX8" fmla="*/ 13386 w 26826"/>
                <a:gd name="connsiteY8" fmla="*/ 27054 h 27054"/>
                <a:gd name="connsiteX9" fmla="*/ 13386 w 26826"/>
                <a:gd name="connsiteY9" fmla="*/ 6099 h 27054"/>
                <a:gd name="connsiteX10" fmla="*/ 12491 w 26826"/>
                <a:gd name="connsiteY10" fmla="*/ 6099 h 27054"/>
                <a:gd name="connsiteX11" fmla="*/ 6102 w 26826"/>
                <a:gd name="connsiteY11" fmla="*/ 14339 h 27054"/>
                <a:gd name="connsiteX12" fmla="*/ 9004 w 26826"/>
                <a:gd name="connsiteY12" fmla="*/ 19320 h 27054"/>
                <a:gd name="connsiteX13" fmla="*/ 14300 w 26826"/>
                <a:gd name="connsiteY13" fmla="*/ 20787 h 27054"/>
                <a:gd name="connsiteX14" fmla="*/ 20581 w 26826"/>
                <a:gd name="connsiteY14" fmla="*/ 12466 h 27054"/>
                <a:gd name="connsiteX15" fmla="*/ 17825 w 26826"/>
                <a:gd name="connsiteY15" fmla="*/ 7681 h 27054"/>
                <a:gd name="connsiteX16" fmla="*/ 13424 w 26826"/>
                <a:gd name="connsiteY16" fmla="*/ 6176 h 2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26" h="27054">
                  <a:moveTo>
                    <a:pt x="13386" y="27054"/>
                  </a:moveTo>
                  <a:cubicBezTo>
                    <a:pt x="10416" y="27047"/>
                    <a:pt x="7533" y="26049"/>
                    <a:pt x="5194" y="24216"/>
                  </a:cubicBezTo>
                  <a:cubicBezTo>
                    <a:pt x="-700" y="19594"/>
                    <a:pt x="-1732" y="11068"/>
                    <a:pt x="2891" y="5174"/>
                  </a:cubicBezTo>
                  <a:cubicBezTo>
                    <a:pt x="5074" y="2389"/>
                    <a:pt x="8259" y="567"/>
                    <a:pt x="11767" y="99"/>
                  </a:cubicBezTo>
                  <a:cubicBezTo>
                    <a:pt x="19130" y="-793"/>
                    <a:pt x="25823" y="4454"/>
                    <a:pt x="26714" y="11816"/>
                  </a:cubicBezTo>
                  <a:cubicBezTo>
                    <a:pt x="26717" y="11835"/>
                    <a:pt x="26719" y="11853"/>
                    <a:pt x="26721" y="11872"/>
                  </a:cubicBezTo>
                  <a:lnTo>
                    <a:pt x="26721" y="11872"/>
                  </a:lnTo>
                  <a:cubicBezTo>
                    <a:pt x="27643" y="19246"/>
                    <a:pt x="22433" y="25980"/>
                    <a:pt x="15062" y="26940"/>
                  </a:cubicBezTo>
                  <a:cubicBezTo>
                    <a:pt x="14507" y="27016"/>
                    <a:pt x="13947" y="27054"/>
                    <a:pt x="13386" y="27054"/>
                  </a:cubicBezTo>
                  <a:close/>
                  <a:moveTo>
                    <a:pt x="13386" y="6099"/>
                  </a:moveTo>
                  <a:lnTo>
                    <a:pt x="12491" y="6099"/>
                  </a:lnTo>
                  <a:cubicBezTo>
                    <a:pt x="8451" y="6610"/>
                    <a:pt x="5591" y="10300"/>
                    <a:pt x="6102" y="14339"/>
                  </a:cubicBezTo>
                  <a:cubicBezTo>
                    <a:pt x="6353" y="16324"/>
                    <a:pt x="7401" y="18122"/>
                    <a:pt x="9004" y="19320"/>
                  </a:cubicBezTo>
                  <a:cubicBezTo>
                    <a:pt x="10504" y="20494"/>
                    <a:pt x="12410" y="21021"/>
                    <a:pt x="14300" y="20787"/>
                  </a:cubicBezTo>
                  <a:cubicBezTo>
                    <a:pt x="18333" y="20223"/>
                    <a:pt x="21145" y="16497"/>
                    <a:pt x="20581" y="12466"/>
                  </a:cubicBezTo>
                  <a:cubicBezTo>
                    <a:pt x="20317" y="10574"/>
                    <a:pt x="19329" y="8858"/>
                    <a:pt x="17825" y="7681"/>
                  </a:cubicBezTo>
                  <a:cubicBezTo>
                    <a:pt x="16565" y="6705"/>
                    <a:pt x="15017" y="6176"/>
                    <a:pt x="13424" y="617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2" name="Freeform: Shape 1391">
              <a:extLst>
                <a:ext uri="{FF2B5EF4-FFF2-40B4-BE49-F238E27FC236}">
                  <a16:creationId xmlns:a16="http://schemas.microsoft.com/office/drawing/2014/main" id="{E22BCE36-6F3C-8183-F94D-D5D9B98251A9}"/>
                </a:ext>
              </a:extLst>
            </p:cNvPr>
            <p:cNvSpPr/>
            <p:nvPr/>
          </p:nvSpPr>
          <p:spPr>
            <a:xfrm>
              <a:off x="10083170" y="2706946"/>
              <a:ext cx="26843" cy="27040"/>
            </a:xfrm>
            <a:custGeom>
              <a:avLst/>
              <a:gdLst>
                <a:gd name="connsiteX0" fmla="*/ 13386 w 26843"/>
                <a:gd name="connsiteY0" fmla="*/ 27040 h 27040"/>
                <a:gd name="connsiteX1" fmla="*/ 5194 w 26843"/>
                <a:gd name="connsiteY1" fmla="*/ 24221 h 27040"/>
                <a:gd name="connsiteX2" fmla="*/ 2891 w 26843"/>
                <a:gd name="connsiteY2" fmla="*/ 5178 h 27040"/>
                <a:gd name="connsiteX3" fmla="*/ 11767 w 26843"/>
                <a:gd name="connsiteY3" fmla="*/ 103 h 27040"/>
                <a:gd name="connsiteX4" fmla="*/ 21635 w 26843"/>
                <a:gd name="connsiteY4" fmla="*/ 2828 h 27040"/>
                <a:gd name="connsiteX5" fmla="*/ 26740 w 26843"/>
                <a:gd name="connsiteY5" fmla="*/ 11876 h 27040"/>
                <a:gd name="connsiteX6" fmla="*/ 26740 w 26843"/>
                <a:gd name="connsiteY6" fmla="*/ 11876 h 27040"/>
                <a:gd name="connsiteX7" fmla="*/ 15062 w 26843"/>
                <a:gd name="connsiteY7" fmla="*/ 26945 h 27040"/>
                <a:gd name="connsiteX8" fmla="*/ 13386 w 26843"/>
                <a:gd name="connsiteY8" fmla="*/ 27040 h 27040"/>
                <a:gd name="connsiteX9" fmla="*/ 13386 w 26843"/>
                <a:gd name="connsiteY9" fmla="*/ 6085 h 27040"/>
                <a:gd name="connsiteX10" fmla="*/ 12491 w 26843"/>
                <a:gd name="connsiteY10" fmla="*/ 6085 h 27040"/>
                <a:gd name="connsiteX11" fmla="*/ 6210 w 26843"/>
                <a:gd name="connsiteY11" fmla="*/ 14407 h 27040"/>
                <a:gd name="connsiteX12" fmla="*/ 8966 w 26843"/>
                <a:gd name="connsiteY12" fmla="*/ 19192 h 27040"/>
                <a:gd name="connsiteX13" fmla="*/ 14262 w 26843"/>
                <a:gd name="connsiteY13" fmla="*/ 20658 h 27040"/>
                <a:gd name="connsiteX14" fmla="*/ 20543 w 26843"/>
                <a:gd name="connsiteY14" fmla="*/ 12337 h 27040"/>
                <a:gd name="connsiteX15" fmla="*/ 17787 w 26843"/>
                <a:gd name="connsiteY15" fmla="*/ 7552 h 27040"/>
                <a:gd name="connsiteX16" fmla="*/ 13424 w 26843"/>
                <a:gd name="connsiteY16" fmla="*/ 6161 h 2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43" h="27040">
                  <a:moveTo>
                    <a:pt x="13386" y="27040"/>
                  </a:moveTo>
                  <a:cubicBezTo>
                    <a:pt x="10418" y="27038"/>
                    <a:pt x="7535" y="26046"/>
                    <a:pt x="5194" y="24221"/>
                  </a:cubicBezTo>
                  <a:cubicBezTo>
                    <a:pt x="-700" y="19598"/>
                    <a:pt x="-1732" y="11072"/>
                    <a:pt x="2891" y="5178"/>
                  </a:cubicBezTo>
                  <a:cubicBezTo>
                    <a:pt x="5074" y="2393"/>
                    <a:pt x="8259" y="572"/>
                    <a:pt x="11767" y="103"/>
                  </a:cubicBezTo>
                  <a:cubicBezTo>
                    <a:pt x="15287" y="-338"/>
                    <a:pt x="18839" y="643"/>
                    <a:pt x="21635" y="2828"/>
                  </a:cubicBezTo>
                  <a:cubicBezTo>
                    <a:pt x="24467" y="5049"/>
                    <a:pt x="26302" y="8303"/>
                    <a:pt x="26740" y="11876"/>
                  </a:cubicBezTo>
                  <a:lnTo>
                    <a:pt x="26740" y="11876"/>
                  </a:lnTo>
                  <a:cubicBezTo>
                    <a:pt x="27651" y="19255"/>
                    <a:pt x="22435" y="25985"/>
                    <a:pt x="15062" y="26945"/>
                  </a:cubicBezTo>
                  <a:cubicBezTo>
                    <a:pt x="14506" y="27014"/>
                    <a:pt x="13946" y="27046"/>
                    <a:pt x="13386" y="27040"/>
                  </a:cubicBezTo>
                  <a:close/>
                  <a:moveTo>
                    <a:pt x="13386" y="6085"/>
                  </a:moveTo>
                  <a:cubicBezTo>
                    <a:pt x="13088" y="6066"/>
                    <a:pt x="12789" y="6066"/>
                    <a:pt x="12491" y="6085"/>
                  </a:cubicBezTo>
                  <a:cubicBezTo>
                    <a:pt x="8458" y="6649"/>
                    <a:pt x="5646" y="10374"/>
                    <a:pt x="6210" y="14407"/>
                  </a:cubicBezTo>
                  <a:cubicBezTo>
                    <a:pt x="6474" y="16299"/>
                    <a:pt x="7462" y="18014"/>
                    <a:pt x="8966" y="19192"/>
                  </a:cubicBezTo>
                  <a:cubicBezTo>
                    <a:pt x="10463" y="20373"/>
                    <a:pt x="12372" y="20902"/>
                    <a:pt x="14262" y="20658"/>
                  </a:cubicBezTo>
                  <a:cubicBezTo>
                    <a:pt x="18295" y="20095"/>
                    <a:pt x="21107" y="16369"/>
                    <a:pt x="20543" y="12337"/>
                  </a:cubicBezTo>
                  <a:cubicBezTo>
                    <a:pt x="20279" y="10445"/>
                    <a:pt x="19291" y="8729"/>
                    <a:pt x="17787" y="7552"/>
                  </a:cubicBezTo>
                  <a:cubicBezTo>
                    <a:pt x="16523" y="6625"/>
                    <a:pt x="14991" y="6137"/>
                    <a:pt x="13424" y="6161"/>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3" name="Freeform: Shape 1392">
              <a:extLst>
                <a:ext uri="{FF2B5EF4-FFF2-40B4-BE49-F238E27FC236}">
                  <a16:creationId xmlns:a16="http://schemas.microsoft.com/office/drawing/2014/main" id="{D7FCA4A2-2625-FDCA-77B3-78C28FA25C9E}"/>
                </a:ext>
              </a:extLst>
            </p:cNvPr>
            <p:cNvSpPr/>
            <p:nvPr/>
          </p:nvSpPr>
          <p:spPr>
            <a:xfrm rot="-418201">
              <a:off x="9944102" y="2671202"/>
              <a:ext cx="6191" cy="37395"/>
            </a:xfrm>
            <a:custGeom>
              <a:avLst/>
              <a:gdLst>
                <a:gd name="connsiteX0" fmla="*/ 0 w 6191"/>
                <a:gd name="connsiteY0" fmla="*/ 0 h 37395"/>
                <a:gd name="connsiteX1" fmla="*/ 6191 w 6191"/>
                <a:gd name="connsiteY1" fmla="*/ 0 h 37395"/>
                <a:gd name="connsiteX2" fmla="*/ 6191 w 6191"/>
                <a:gd name="connsiteY2" fmla="*/ 37395 h 37395"/>
                <a:gd name="connsiteX3" fmla="*/ 0 w 6191"/>
                <a:gd name="connsiteY3" fmla="*/ 37395 h 37395"/>
              </a:gdLst>
              <a:ahLst/>
              <a:cxnLst>
                <a:cxn ang="0">
                  <a:pos x="connsiteX0" y="connsiteY0"/>
                </a:cxn>
                <a:cxn ang="0">
                  <a:pos x="connsiteX1" y="connsiteY1"/>
                </a:cxn>
                <a:cxn ang="0">
                  <a:pos x="connsiteX2" y="connsiteY2"/>
                </a:cxn>
                <a:cxn ang="0">
                  <a:pos x="connsiteX3" y="connsiteY3"/>
                </a:cxn>
              </a:cxnLst>
              <a:rect l="l" t="t" r="r" b="b"/>
              <a:pathLst>
                <a:path w="6191" h="37395">
                  <a:moveTo>
                    <a:pt x="0" y="0"/>
                  </a:moveTo>
                  <a:lnTo>
                    <a:pt x="6191" y="0"/>
                  </a:lnTo>
                  <a:lnTo>
                    <a:pt x="6191" y="37395"/>
                  </a:lnTo>
                  <a:lnTo>
                    <a:pt x="0" y="37395"/>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4" name="Freeform: Shape 1393">
              <a:extLst>
                <a:ext uri="{FF2B5EF4-FFF2-40B4-BE49-F238E27FC236}">
                  <a16:creationId xmlns:a16="http://schemas.microsoft.com/office/drawing/2014/main" id="{3D79F499-FC4F-DA0B-3917-F1E901BD1EA6}"/>
                </a:ext>
              </a:extLst>
            </p:cNvPr>
            <p:cNvSpPr/>
            <p:nvPr/>
          </p:nvSpPr>
          <p:spPr>
            <a:xfrm>
              <a:off x="9937290" y="2705291"/>
              <a:ext cx="26840" cy="27057"/>
            </a:xfrm>
            <a:custGeom>
              <a:avLst/>
              <a:gdLst>
                <a:gd name="connsiteX0" fmla="*/ 13438 w 26840"/>
                <a:gd name="connsiteY0" fmla="*/ 27057 h 27057"/>
                <a:gd name="connsiteX1" fmla="*/ 103 w 26840"/>
                <a:gd name="connsiteY1" fmla="*/ 15189 h 27057"/>
                <a:gd name="connsiteX2" fmla="*/ 11781 w 26840"/>
                <a:gd name="connsiteY2" fmla="*/ 101 h 27057"/>
                <a:gd name="connsiteX3" fmla="*/ 21630 w 26840"/>
                <a:gd name="connsiteY3" fmla="*/ 2826 h 27057"/>
                <a:gd name="connsiteX4" fmla="*/ 26735 w 26840"/>
                <a:gd name="connsiteY4" fmla="*/ 11874 h 27057"/>
                <a:gd name="connsiteX5" fmla="*/ 26735 w 26840"/>
                <a:gd name="connsiteY5" fmla="*/ 11874 h 27057"/>
                <a:gd name="connsiteX6" fmla="*/ 15077 w 26840"/>
                <a:gd name="connsiteY6" fmla="*/ 26943 h 27057"/>
                <a:gd name="connsiteX7" fmla="*/ 13438 w 26840"/>
                <a:gd name="connsiteY7" fmla="*/ 27057 h 27057"/>
                <a:gd name="connsiteX8" fmla="*/ 13438 w 26840"/>
                <a:gd name="connsiteY8" fmla="*/ 6102 h 27057"/>
                <a:gd name="connsiteX9" fmla="*/ 12543 w 26840"/>
                <a:gd name="connsiteY9" fmla="*/ 6102 h 27057"/>
                <a:gd name="connsiteX10" fmla="*/ 6262 w 26840"/>
                <a:gd name="connsiteY10" fmla="*/ 14424 h 27057"/>
                <a:gd name="connsiteX11" fmla="*/ 9019 w 26840"/>
                <a:gd name="connsiteY11" fmla="*/ 19209 h 27057"/>
                <a:gd name="connsiteX12" fmla="*/ 14315 w 26840"/>
                <a:gd name="connsiteY12" fmla="*/ 20675 h 27057"/>
                <a:gd name="connsiteX13" fmla="*/ 20658 w 26840"/>
                <a:gd name="connsiteY13" fmla="*/ 12541 h 27057"/>
                <a:gd name="connsiteX14" fmla="*/ 20658 w 26840"/>
                <a:gd name="connsiteY14" fmla="*/ 12541 h 27057"/>
                <a:gd name="connsiteX15" fmla="*/ 17877 w 26840"/>
                <a:gd name="connsiteY15" fmla="*/ 7626 h 27057"/>
                <a:gd name="connsiteX16" fmla="*/ 13476 w 26840"/>
                <a:gd name="connsiteY16" fmla="*/ 6197 h 2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40" h="27057">
                  <a:moveTo>
                    <a:pt x="13438" y="27057"/>
                  </a:moveTo>
                  <a:cubicBezTo>
                    <a:pt x="6633" y="27038"/>
                    <a:pt x="912" y="21946"/>
                    <a:pt x="103" y="15189"/>
                  </a:cubicBezTo>
                  <a:cubicBezTo>
                    <a:pt x="-807" y="7806"/>
                    <a:pt x="4406" y="1071"/>
                    <a:pt x="11781" y="101"/>
                  </a:cubicBezTo>
                  <a:cubicBezTo>
                    <a:pt x="15295" y="-334"/>
                    <a:pt x="18839" y="646"/>
                    <a:pt x="21630" y="2826"/>
                  </a:cubicBezTo>
                  <a:cubicBezTo>
                    <a:pt x="24473" y="5038"/>
                    <a:pt x="26312" y="8297"/>
                    <a:pt x="26735" y="11874"/>
                  </a:cubicBezTo>
                  <a:lnTo>
                    <a:pt x="26735" y="11874"/>
                  </a:lnTo>
                  <a:cubicBezTo>
                    <a:pt x="27657" y="19249"/>
                    <a:pt x="22447" y="25983"/>
                    <a:pt x="15077" y="26943"/>
                  </a:cubicBezTo>
                  <a:cubicBezTo>
                    <a:pt x="14533" y="27017"/>
                    <a:pt x="13986" y="27055"/>
                    <a:pt x="13438" y="27057"/>
                  </a:cubicBezTo>
                  <a:close/>
                  <a:moveTo>
                    <a:pt x="13438" y="6102"/>
                  </a:moveTo>
                  <a:cubicBezTo>
                    <a:pt x="13140" y="6083"/>
                    <a:pt x="12841" y="6083"/>
                    <a:pt x="12543" y="6102"/>
                  </a:cubicBezTo>
                  <a:cubicBezTo>
                    <a:pt x="8510" y="6666"/>
                    <a:pt x="5698" y="10391"/>
                    <a:pt x="6262" y="14424"/>
                  </a:cubicBezTo>
                  <a:cubicBezTo>
                    <a:pt x="6526" y="16316"/>
                    <a:pt x="7515" y="18031"/>
                    <a:pt x="9019" y="19209"/>
                  </a:cubicBezTo>
                  <a:cubicBezTo>
                    <a:pt x="10514" y="20392"/>
                    <a:pt x="12424" y="20921"/>
                    <a:pt x="14315" y="20675"/>
                  </a:cubicBezTo>
                  <a:cubicBezTo>
                    <a:pt x="18306" y="20170"/>
                    <a:pt x="21141" y="16536"/>
                    <a:pt x="20658" y="12541"/>
                  </a:cubicBezTo>
                  <a:lnTo>
                    <a:pt x="20658" y="12541"/>
                  </a:lnTo>
                  <a:cubicBezTo>
                    <a:pt x="20426" y="10596"/>
                    <a:pt x="19425" y="8826"/>
                    <a:pt x="17877" y="7626"/>
                  </a:cubicBezTo>
                  <a:cubicBezTo>
                    <a:pt x="16612" y="6670"/>
                    <a:pt x="15062" y="6166"/>
                    <a:pt x="13476" y="619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5" name="Freeform: Shape 1394">
              <a:extLst>
                <a:ext uri="{FF2B5EF4-FFF2-40B4-BE49-F238E27FC236}">
                  <a16:creationId xmlns:a16="http://schemas.microsoft.com/office/drawing/2014/main" id="{AD59EB50-F675-1767-4EE5-89D6E3CE7A2B}"/>
                </a:ext>
              </a:extLst>
            </p:cNvPr>
            <p:cNvSpPr/>
            <p:nvPr/>
          </p:nvSpPr>
          <p:spPr>
            <a:xfrm>
              <a:off x="9975764" y="2740942"/>
              <a:ext cx="26829" cy="27047"/>
            </a:xfrm>
            <a:custGeom>
              <a:avLst/>
              <a:gdLst>
                <a:gd name="connsiteX0" fmla="*/ 13370 w 26829"/>
                <a:gd name="connsiteY0" fmla="*/ 27048 h 27047"/>
                <a:gd name="connsiteX1" fmla="*/ 5197 w 26829"/>
                <a:gd name="connsiteY1" fmla="*/ 24228 h 27047"/>
                <a:gd name="connsiteX2" fmla="*/ 2889 w 26829"/>
                <a:gd name="connsiteY2" fmla="*/ 5186 h 27047"/>
                <a:gd name="connsiteX3" fmla="*/ 11750 w 26829"/>
                <a:gd name="connsiteY3" fmla="*/ 111 h 27047"/>
                <a:gd name="connsiteX4" fmla="*/ 21618 w 26829"/>
                <a:gd name="connsiteY4" fmla="*/ 2835 h 27047"/>
                <a:gd name="connsiteX5" fmla="*/ 26724 w 26829"/>
                <a:gd name="connsiteY5" fmla="*/ 11865 h 27047"/>
                <a:gd name="connsiteX6" fmla="*/ 26724 w 26829"/>
                <a:gd name="connsiteY6" fmla="*/ 11865 h 27047"/>
                <a:gd name="connsiteX7" fmla="*/ 15046 w 26829"/>
                <a:gd name="connsiteY7" fmla="*/ 26953 h 27047"/>
                <a:gd name="connsiteX8" fmla="*/ 13370 w 26829"/>
                <a:gd name="connsiteY8" fmla="*/ 27048 h 27047"/>
                <a:gd name="connsiteX9" fmla="*/ 13370 w 26829"/>
                <a:gd name="connsiteY9" fmla="*/ 6093 h 27047"/>
                <a:gd name="connsiteX10" fmla="*/ 12474 w 26829"/>
                <a:gd name="connsiteY10" fmla="*/ 6093 h 27047"/>
                <a:gd name="connsiteX11" fmla="*/ 6193 w 26829"/>
                <a:gd name="connsiteY11" fmla="*/ 14414 h 27047"/>
                <a:gd name="connsiteX12" fmla="*/ 8950 w 26829"/>
                <a:gd name="connsiteY12" fmla="*/ 19199 h 27047"/>
                <a:gd name="connsiteX13" fmla="*/ 14227 w 26829"/>
                <a:gd name="connsiteY13" fmla="*/ 20666 h 27047"/>
                <a:gd name="connsiteX14" fmla="*/ 20508 w 26829"/>
                <a:gd name="connsiteY14" fmla="*/ 12344 h 27047"/>
                <a:gd name="connsiteX15" fmla="*/ 17751 w 26829"/>
                <a:gd name="connsiteY15" fmla="*/ 7560 h 27047"/>
                <a:gd name="connsiteX16" fmla="*/ 13427 w 26829"/>
                <a:gd name="connsiteY16" fmla="*/ 6188 h 2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29" h="27047">
                  <a:moveTo>
                    <a:pt x="13370" y="27048"/>
                  </a:moveTo>
                  <a:cubicBezTo>
                    <a:pt x="10406" y="27052"/>
                    <a:pt x="7528" y="26059"/>
                    <a:pt x="5197" y="24228"/>
                  </a:cubicBezTo>
                  <a:cubicBezTo>
                    <a:pt x="-699" y="19607"/>
                    <a:pt x="-1732" y="11082"/>
                    <a:pt x="2889" y="5186"/>
                  </a:cubicBezTo>
                  <a:cubicBezTo>
                    <a:pt x="5069" y="2405"/>
                    <a:pt x="8248" y="584"/>
                    <a:pt x="11750" y="111"/>
                  </a:cubicBezTo>
                  <a:cubicBezTo>
                    <a:pt x="15273" y="-349"/>
                    <a:pt x="18831" y="633"/>
                    <a:pt x="21618" y="2835"/>
                  </a:cubicBezTo>
                  <a:cubicBezTo>
                    <a:pt x="24469" y="5033"/>
                    <a:pt x="26310" y="8290"/>
                    <a:pt x="26724" y="11865"/>
                  </a:cubicBezTo>
                  <a:lnTo>
                    <a:pt x="26724" y="11865"/>
                  </a:lnTo>
                  <a:cubicBezTo>
                    <a:pt x="27645" y="19251"/>
                    <a:pt x="22427" y="25993"/>
                    <a:pt x="15046" y="26953"/>
                  </a:cubicBezTo>
                  <a:cubicBezTo>
                    <a:pt x="14489" y="27014"/>
                    <a:pt x="13930" y="27046"/>
                    <a:pt x="13370" y="27048"/>
                  </a:cubicBezTo>
                  <a:close/>
                  <a:moveTo>
                    <a:pt x="13370" y="6093"/>
                  </a:moveTo>
                  <a:cubicBezTo>
                    <a:pt x="13072" y="6073"/>
                    <a:pt x="12773" y="6073"/>
                    <a:pt x="12474" y="6093"/>
                  </a:cubicBezTo>
                  <a:cubicBezTo>
                    <a:pt x="8442" y="6656"/>
                    <a:pt x="5630" y="10382"/>
                    <a:pt x="6193" y="14414"/>
                  </a:cubicBezTo>
                  <a:cubicBezTo>
                    <a:pt x="6458" y="16306"/>
                    <a:pt x="7446" y="18022"/>
                    <a:pt x="8950" y="19199"/>
                  </a:cubicBezTo>
                  <a:cubicBezTo>
                    <a:pt x="10443" y="20371"/>
                    <a:pt x="12343" y="20900"/>
                    <a:pt x="14227" y="20666"/>
                  </a:cubicBezTo>
                  <a:cubicBezTo>
                    <a:pt x="18259" y="20102"/>
                    <a:pt x="21071" y="16376"/>
                    <a:pt x="20508" y="12344"/>
                  </a:cubicBezTo>
                  <a:cubicBezTo>
                    <a:pt x="20244" y="10452"/>
                    <a:pt x="19255" y="8737"/>
                    <a:pt x="17751" y="7560"/>
                  </a:cubicBezTo>
                  <a:cubicBezTo>
                    <a:pt x="16498" y="6644"/>
                    <a:pt x="14979" y="6162"/>
                    <a:pt x="13427" y="618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6" name="Freeform: Shape 1395">
              <a:extLst>
                <a:ext uri="{FF2B5EF4-FFF2-40B4-BE49-F238E27FC236}">
                  <a16:creationId xmlns:a16="http://schemas.microsoft.com/office/drawing/2014/main" id="{E122C38A-153E-EF2F-4A31-B26BD77E64FC}"/>
                </a:ext>
              </a:extLst>
            </p:cNvPr>
            <p:cNvSpPr/>
            <p:nvPr/>
          </p:nvSpPr>
          <p:spPr>
            <a:xfrm rot="-2728801">
              <a:off x="10064400" y="2750981"/>
              <a:ext cx="6191" cy="24250"/>
            </a:xfrm>
            <a:custGeom>
              <a:avLst/>
              <a:gdLst>
                <a:gd name="connsiteX0" fmla="*/ 0 w 6191"/>
                <a:gd name="connsiteY0" fmla="*/ 0 h 24250"/>
                <a:gd name="connsiteX1" fmla="*/ 6191 w 6191"/>
                <a:gd name="connsiteY1" fmla="*/ 0 h 24250"/>
                <a:gd name="connsiteX2" fmla="*/ 6191 w 6191"/>
                <a:gd name="connsiteY2" fmla="*/ 24251 h 24250"/>
                <a:gd name="connsiteX3" fmla="*/ 0 w 6191"/>
                <a:gd name="connsiteY3" fmla="*/ 24251 h 24250"/>
              </a:gdLst>
              <a:ahLst/>
              <a:cxnLst>
                <a:cxn ang="0">
                  <a:pos x="connsiteX0" y="connsiteY0"/>
                </a:cxn>
                <a:cxn ang="0">
                  <a:pos x="connsiteX1" y="connsiteY1"/>
                </a:cxn>
                <a:cxn ang="0">
                  <a:pos x="connsiteX2" y="connsiteY2"/>
                </a:cxn>
                <a:cxn ang="0">
                  <a:pos x="connsiteX3" y="connsiteY3"/>
                </a:cxn>
              </a:cxnLst>
              <a:rect l="l" t="t" r="r" b="b"/>
              <a:pathLst>
                <a:path w="6191" h="24250">
                  <a:moveTo>
                    <a:pt x="0" y="0"/>
                  </a:moveTo>
                  <a:lnTo>
                    <a:pt x="6191" y="0"/>
                  </a:lnTo>
                  <a:lnTo>
                    <a:pt x="6191" y="24251"/>
                  </a:lnTo>
                  <a:lnTo>
                    <a:pt x="0" y="2425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7" name="Freeform: Shape 1396">
              <a:extLst>
                <a:ext uri="{FF2B5EF4-FFF2-40B4-BE49-F238E27FC236}">
                  <a16:creationId xmlns:a16="http://schemas.microsoft.com/office/drawing/2014/main" id="{50507E72-E7E5-9901-C6DB-FC73015E2371}"/>
                </a:ext>
              </a:extLst>
            </p:cNvPr>
            <p:cNvSpPr/>
            <p:nvPr/>
          </p:nvSpPr>
          <p:spPr>
            <a:xfrm>
              <a:off x="10059676" y="2723146"/>
              <a:ext cx="29870" cy="21031"/>
            </a:xfrm>
            <a:custGeom>
              <a:avLst/>
              <a:gdLst>
                <a:gd name="connsiteX0" fmla="*/ 3048 w 29870"/>
                <a:gd name="connsiteY0" fmla="*/ 21031 h 21031"/>
                <a:gd name="connsiteX1" fmla="*/ 0 w 29870"/>
                <a:gd name="connsiteY1" fmla="*/ 15640 h 21031"/>
                <a:gd name="connsiteX2" fmla="*/ 26822 w 29870"/>
                <a:gd name="connsiteY2" fmla="*/ 400 h 21031"/>
                <a:gd name="connsiteX3" fmla="*/ 28042 w 29870"/>
                <a:gd name="connsiteY3" fmla="*/ 0 h 21031"/>
                <a:gd name="connsiteX4" fmla="*/ 28346 w 29870"/>
                <a:gd name="connsiteY4" fmla="*/ 3086 h 21031"/>
                <a:gd name="connsiteX5" fmla="*/ 29870 w 29870"/>
                <a:gd name="connsiteY5" fmla="*/ 5772 h 2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70" h="21031">
                  <a:moveTo>
                    <a:pt x="3048" y="21031"/>
                  </a:moveTo>
                  <a:lnTo>
                    <a:pt x="0" y="15640"/>
                  </a:lnTo>
                  <a:lnTo>
                    <a:pt x="26822" y="400"/>
                  </a:lnTo>
                  <a:cubicBezTo>
                    <a:pt x="27195" y="179"/>
                    <a:pt x="27611" y="43"/>
                    <a:pt x="28042" y="0"/>
                  </a:cubicBezTo>
                  <a:lnTo>
                    <a:pt x="28346" y="3086"/>
                  </a:lnTo>
                  <a:lnTo>
                    <a:pt x="29870" y="5772"/>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8" name="Freeform: Shape 1397">
              <a:extLst>
                <a:ext uri="{FF2B5EF4-FFF2-40B4-BE49-F238E27FC236}">
                  <a16:creationId xmlns:a16="http://schemas.microsoft.com/office/drawing/2014/main" id="{4463170A-6509-A7E8-668B-A15C68FB97B6}"/>
                </a:ext>
              </a:extLst>
            </p:cNvPr>
            <p:cNvSpPr/>
            <p:nvPr/>
          </p:nvSpPr>
          <p:spPr>
            <a:xfrm>
              <a:off x="10038795" y="2733074"/>
              <a:ext cx="26834" cy="27048"/>
            </a:xfrm>
            <a:custGeom>
              <a:avLst/>
              <a:gdLst>
                <a:gd name="connsiteX0" fmla="*/ 13394 w 26834"/>
                <a:gd name="connsiteY0" fmla="*/ 27048 h 27048"/>
                <a:gd name="connsiteX1" fmla="*/ 5202 w 26834"/>
                <a:gd name="connsiteY1" fmla="*/ 24210 h 27048"/>
                <a:gd name="connsiteX2" fmla="*/ 2875 w 26834"/>
                <a:gd name="connsiteY2" fmla="*/ 5197 h 27048"/>
                <a:gd name="connsiteX3" fmla="*/ 11774 w 26834"/>
                <a:gd name="connsiteY3" fmla="*/ 112 h 27048"/>
                <a:gd name="connsiteX4" fmla="*/ 21623 w 26834"/>
                <a:gd name="connsiteY4" fmla="*/ 2836 h 27048"/>
                <a:gd name="connsiteX5" fmla="*/ 26729 w 26834"/>
                <a:gd name="connsiteY5" fmla="*/ 11866 h 27048"/>
                <a:gd name="connsiteX6" fmla="*/ 26729 w 26834"/>
                <a:gd name="connsiteY6" fmla="*/ 11866 h 27048"/>
                <a:gd name="connsiteX7" fmla="*/ 15070 w 26834"/>
                <a:gd name="connsiteY7" fmla="*/ 26953 h 27048"/>
                <a:gd name="connsiteX8" fmla="*/ 13394 w 26834"/>
                <a:gd name="connsiteY8" fmla="*/ 27048 h 27048"/>
                <a:gd name="connsiteX9" fmla="*/ 13394 w 26834"/>
                <a:gd name="connsiteY9" fmla="*/ 6093 h 27048"/>
                <a:gd name="connsiteX10" fmla="*/ 12498 w 26834"/>
                <a:gd name="connsiteY10" fmla="*/ 6093 h 27048"/>
                <a:gd name="connsiteX11" fmla="*/ 6212 w 26834"/>
                <a:gd name="connsiteY11" fmla="*/ 14266 h 27048"/>
                <a:gd name="connsiteX12" fmla="*/ 8974 w 26834"/>
                <a:gd name="connsiteY12" fmla="*/ 19181 h 27048"/>
                <a:gd name="connsiteX13" fmla="*/ 14270 w 26834"/>
                <a:gd name="connsiteY13" fmla="*/ 20648 h 27048"/>
                <a:gd name="connsiteX14" fmla="*/ 20527 w 26834"/>
                <a:gd name="connsiteY14" fmla="*/ 12308 h 27048"/>
                <a:gd name="connsiteX15" fmla="*/ 17794 w 26834"/>
                <a:gd name="connsiteY15" fmla="*/ 7560 h 27048"/>
                <a:gd name="connsiteX16" fmla="*/ 13432 w 26834"/>
                <a:gd name="connsiteY16" fmla="*/ 6189 h 2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34" h="27048">
                  <a:moveTo>
                    <a:pt x="13394" y="27048"/>
                  </a:moveTo>
                  <a:cubicBezTo>
                    <a:pt x="10421" y="27052"/>
                    <a:pt x="7535" y="26052"/>
                    <a:pt x="5202" y="24210"/>
                  </a:cubicBezTo>
                  <a:cubicBezTo>
                    <a:pt x="-691" y="19602"/>
                    <a:pt x="-1732" y="11090"/>
                    <a:pt x="2875" y="5197"/>
                  </a:cubicBezTo>
                  <a:cubicBezTo>
                    <a:pt x="5061" y="2401"/>
                    <a:pt x="8256" y="576"/>
                    <a:pt x="11774" y="112"/>
                  </a:cubicBezTo>
                  <a:cubicBezTo>
                    <a:pt x="15291" y="-350"/>
                    <a:pt x="18844" y="633"/>
                    <a:pt x="21623" y="2836"/>
                  </a:cubicBezTo>
                  <a:cubicBezTo>
                    <a:pt x="24474" y="5033"/>
                    <a:pt x="26315" y="8290"/>
                    <a:pt x="26729" y="11866"/>
                  </a:cubicBezTo>
                  <a:lnTo>
                    <a:pt x="26729" y="11866"/>
                  </a:lnTo>
                  <a:cubicBezTo>
                    <a:pt x="27651" y="19245"/>
                    <a:pt x="22443" y="25983"/>
                    <a:pt x="15070" y="26953"/>
                  </a:cubicBezTo>
                  <a:cubicBezTo>
                    <a:pt x="14513" y="27014"/>
                    <a:pt x="13954" y="27045"/>
                    <a:pt x="13394" y="27048"/>
                  </a:cubicBezTo>
                  <a:close/>
                  <a:moveTo>
                    <a:pt x="13394" y="6093"/>
                  </a:moveTo>
                  <a:cubicBezTo>
                    <a:pt x="13095" y="6074"/>
                    <a:pt x="12796" y="6074"/>
                    <a:pt x="12498" y="6093"/>
                  </a:cubicBezTo>
                  <a:cubicBezTo>
                    <a:pt x="8507" y="6617"/>
                    <a:pt x="5694" y="10274"/>
                    <a:pt x="6212" y="14266"/>
                  </a:cubicBezTo>
                  <a:cubicBezTo>
                    <a:pt x="6428" y="16211"/>
                    <a:pt x="7425" y="17984"/>
                    <a:pt x="8974" y="19181"/>
                  </a:cubicBezTo>
                  <a:cubicBezTo>
                    <a:pt x="10470" y="20362"/>
                    <a:pt x="12379" y="20891"/>
                    <a:pt x="14270" y="20648"/>
                  </a:cubicBezTo>
                  <a:cubicBezTo>
                    <a:pt x="18301" y="20073"/>
                    <a:pt x="21102" y="16339"/>
                    <a:pt x="20527" y="12308"/>
                  </a:cubicBezTo>
                  <a:cubicBezTo>
                    <a:pt x="20260" y="10433"/>
                    <a:pt x="19281" y="8733"/>
                    <a:pt x="17794" y="7560"/>
                  </a:cubicBezTo>
                  <a:cubicBezTo>
                    <a:pt x="16533" y="6631"/>
                    <a:pt x="14998" y="6148"/>
                    <a:pt x="13432" y="618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399" name="Freeform: Shape 1398">
              <a:extLst>
                <a:ext uri="{FF2B5EF4-FFF2-40B4-BE49-F238E27FC236}">
                  <a16:creationId xmlns:a16="http://schemas.microsoft.com/office/drawing/2014/main" id="{B8E58461-61C8-2B9D-4C1F-1B01A0EF4198}"/>
                </a:ext>
              </a:extLst>
            </p:cNvPr>
            <p:cNvSpPr/>
            <p:nvPr/>
          </p:nvSpPr>
          <p:spPr>
            <a:xfrm rot="-427200">
              <a:off x="9999140" y="2746765"/>
              <a:ext cx="42938" cy="6191"/>
            </a:xfrm>
            <a:custGeom>
              <a:avLst/>
              <a:gdLst>
                <a:gd name="connsiteX0" fmla="*/ 0 w 42938"/>
                <a:gd name="connsiteY0" fmla="*/ 0 h 6191"/>
                <a:gd name="connsiteX1" fmla="*/ 42939 w 42938"/>
                <a:gd name="connsiteY1" fmla="*/ 0 h 6191"/>
                <a:gd name="connsiteX2" fmla="*/ 42939 w 42938"/>
                <a:gd name="connsiteY2" fmla="*/ 6191 h 6191"/>
                <a:gd name="connsiteX3" fmla="*/ 0 w 42938"/>
                <a:gd name="connsiteY3" fmla="*/ 6191 h 6191"/>
              </a:gdLst>
              <a:ahLst/>
              <a:cxnLst>
                <a:cxn ang="0">
                  <a:pos x="connsiteX0" y="connsiteY0"/>
                </a:cxn>
                <a:cxn ang="0">
                  <a:pos x="connsiteX1" y="connsiteY1"/>
                </a:cxn>
                <a:cxn ang="0">
                  <a:pos x="connsiteX2" y="connsiteY2"/>
                </a:cxn>
                <a:cxn ang="0">
                  <a:pos x="connsiteX3" y="connsiteY3"/>
                </a:cxn>
              </a:cxnLst>
              <a:rect l="l" t="t" r="r" b="b"/>
              <a:pathLst>
                <a:path w="42938" h="6191">
                  <a:moveTo>
                    <a:pt x="0" y="0"/>
                  </a:moveTo>
                  <a:lnTo>
                    <a:pt x="42939" y="0"/>
                  </a:lnTo>
                  <a:lnTo>
                    <a:pt x="42939"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0" name="Freeform: Shape 1399">
              <a:extLst>
                <a:ext uri="{FF2B5EF4-FFF2-40B4-BE49-F238E27FC236}">
                  <a16:creationId xmlns:a16="http://schemas.microsoft.com/office/drawing/2014/main" id="{DAE7026D-727A-6C15-41BA-B12BDF4A35D8}"/>
                </a:ext>
              </a:extLst>
            </p:cNvPr>
            <p:cNvSpPr/>
            <p:nvPr/>
          </p:nvSpPr>
          <p:spPr>
            <a:xfrm rot="-418201">
              <a:off x="10131354" y="2770343"/>
              <a:ext cx="6191" cy="24726"/>
            </a:xfrm>
            <a:custGeom>
              <a:avLst/>
              <a:gdLst>
                <a:gd name="connsiteX0" fmla="*/ 0 w 6191"/>
                <a:gd name="connsiteY0" fmla="*/ 0 h 24726"/>
                <a:gd name="connsiteX1" fmla="*/ 6191 w 6191"/>
                <a:gd name="connsiteY1" fmla="*/ 0 h 24726"/>
                <a:gd name="connsiteX2" fmla="*/ 6191 w 6191"/>
                <a:gd name="connsiteY2" fmla="*/ 24727 h 24726"/>
                <a:gd name="connsiteX3" fmla="*/ 0 w 6191"/>
                <a:gd name="connsiteY3" fmla="*/ 24727 h 24726"/>
              </a:gdLst>
              <a:ahLst/>
              <a:cxnLst>
                <a:cxn ang="0">
                  <a:pos x="connsiteX0" y="connsiteY0"/>
                </a:cxn>
                <a:cxn ang="0">
                  <a:pos x="connsiteX1" y="connsiteY1"/>
                </a:cxn>
                <a:cxn ang="0">
                  <a:pos x="connsiteX2" y="connsiteY2"/>
                </a:cxn>
                <a:cxn ang="0">
                  <a:pos x="connsiteX3" y="connsiteY3"/>
                </a:cxn>
              </a:cxnLst>
              <a:rect l="l" t="t" r="r" b="b"/>
              <a:pathLst>
                <a:path w="6191" h="24726">
                  <a:moveTo>
                    <a:pt x="0" y="0"/>
                  </a:moveTo>
                  <a:lnTo>
                    <a:pt x="6191" y="0"/>
                  </a:lnTo>
                  <a:lnTo>
                    <a:pt x="6191" y="24727"/>
                  </a:lnTo>
                  <a:lnTo>
                    <a:pt x="0" y="24727"/>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1" name="Freeform: Shape 1400">
              <a:extLst>
                <a:ext uri="{FF2B5EF4-FFF2-40B4-BE49-F238E27FC236}">
                  <a16:creationId xmlns:a16="http://schemas.microsoft.com/office/drawing/2014/main" id="{F99EE325-CD11-3F13-E781-D3BB9B5BCDC9}"/>
                </a:ext>
              </a:extLst>
            </p:cNvPr>
            <p:cNvSpPr/>
            <p:nvPr/>
          </p:nvSpPr>
          <p:spPr>
            <a:xfrm rot="-3466799">
              <a:off x="10135443" y="2741149"/>
              <a:ext cx="18230" cy="6191"/>
            </a:xfrm>
            <a:custGeom>
              <a:avLst/>
              <a:gdLst>
                <a:gd name="connsiteX0" fmla="*/ 0 w 18230"/>
                <a:gd name="connsiteY0" fmla="*/ 0 h 6191"/>
                <a:gd name="connsiteX1" fmla="*/ 18231 w 18230"/>
                <a:gd name="connsiteY1" fmla="*/ 0 h 6191"/>
                <a:gd name="connsiteX2" fmla="*/ 18231 w 18230"/>
                <a:gd name="connsiteY2" fmla="*/ 6191 h 6191"/>
                <a:gd name="connsiteX3" fmla="*/ 0 w 18230"/>
                <a:gd name="connsiteY3" fmla="*/ 6191 h 6191"/>
              </a:gdLst>
              <a:ahLst/>
              <a:cxnLst>
                <a:cxn ang="0">
                  <a:pos x="connsiteX0" y="connsiteY0"/>
                </a:cxn>
                <a:cxn ang="0">
                  <a:pos x="connsiteX1" y="connsiteY1"/>
                </a:cxn>
                <a:cxn ang="0">
                  <a:pos x="connsiteX2" y="connsiteY2"/>
                </a:cxn>
                <a:cxn ang="0">
                  <a:pos x="connsiteX3" y="connsiteY3"/>
                </a:cxn>
              </a:cxnLst>
              <a:rect l="l" t="t" r="r" b="b"/>
              <a:pathLst>
                <a:path w="18230" h="6191">
                  <a:moveTo>
                    <a:pt x="0" y="0"/>
                  </a:moveTo>
                  <a:lnTo>
                    <a:pt x="18231" y="0"/>
                  </a:lnTo>
                  <a:lnTo>
                    <a:pt x="18231"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2" name="Freeform: Shape 1401">
              <a:extLst>
                <a:ext uri="{FF2B5EF4-FFF2-40B4-BE49-F238E27FC236}">
                  <a16:creationId xmlns:a16="http://schemas.microsoft.com/office/drawing/2014/main" id="{C97259E4-4567-4301-B51C-0C41E6D58DF3}"/>
                </a:ext>
              </a:extLst>
            </p:cNvPr>
            <p:cNvSpPr/>
            <p:nvPr/>
          </p:nvSpPr>
          <p:spPr>
            <a:xfrm rot="-1282801">
              <a:off x="10089674" y="2767061"/>
              <a:ext cx="35051" cy="6191"/>
            </a:xfrm>
            <a:custGeom>
              <a:avLst/>
              <a:gdLst>
                <a:gd name="connsiteX0" fmla="*/ 0 w 35051"/>
                <a:gd name="connsiteY0" fmla="*/ 0 h 6191"/>
                <a:gd name="connsiteX1" fmla="*/ 35052 w 35051"/>
                <a:gd name="connsiteY1" fmla="*/ 0 h 6191"/>
                <a:gd name="connsiteX2" fmla="*/ 35052 w 35051"/>
                <a:gd name="connsiteY2" fmla="*/ 6191 h 6191"/>
                <a:gd name="connsiteX3" fmla="*/ 0 w 35051"/>
                <a:gd name="connsiteY3" fmla="*/ 6191 h 6191"/>
              </a:gdLst>
              <a:ahLst/>
              <a:cxnLst>
                <a:cxn ang="0">
                  <a:pos x="connsiteX0" y="connsiteY0"/>
                </a:cxn>
                <a:cxn ang="0">
                  <a:pos x="connsiteX1" y="connsiteY1"/>
                </a:cxn>
                <a:cxn ang="0">
                  <a:pos x="connsiteX2" y="connsiteY2"/>
                </a:cxn>
                <a:cxn ang="0">
                  <a:pos x="connsiteX3" y="connsiteY3"/>
                </a:cxn>
              </a:cxnLst>
              <a:rect l="l" t="t" r="r" b="b"/>
              <a:pathLst>
                <a:path w="35051" h="6191">
                  <a:moveTo>
                    <a:pt x="0" y="0"/>
                  </a:moveTo>
                  <a:lnTo>
                    <a:pt x="35052" y="0"/>
                  </a:lnTo>
                  <a:lnTo>
                    <a:pt x="35052"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3" name="Freeform: Shape 1402">
              <a:extLst>
                <a:ext uri="{FF2B5EF4-FFF2-40B4-BE49-F238E27FC236}">
                  <a16:creationId xmlns:a16="http://schemas.microsoft.com/office/drawing/2014/main" id="{4CB247E7-6047-F804-1426-68A8602D5CE1}"/>
                </a:ext>
              </a:extLst>
            </p:cNvPr>
            <p:cNvSpPr/>
            <p:nvPr/>
          </p:nvSpPr>
          <p:spPr>
            <a:xfrm rot="-2589000">
              <a:off x="10111769" y="2723699"/>
              <a:ext cx="6191" cy="33070"/>
            </a:xfrm>
            <a:custGeom>
              <a:avLst/>
              <a:gdLst>
                <a:gd name="connsiteX0" fmla="*/ 0 w 6191"/>
                <a:gd name="connsiteY0" fmla="*/ 0 h 33070"/>
                <a:gd name="connsiteX1" fmla="*/ 6191 w 6191"/>
                <a:gd name="connsiteY1" fmla="*/ 0 h 33070"/>
                <a:gd name="connsiteX2" fmla="*/ 6191 w 6191"/>
                <a:gd name="connsiteY2" fmla="*/ 33071 h 33070"/>
                <a:gd name="connsiteX3" fmla="*/ 0 w 6191"/>
                <a:gd name="connsiteY3" fmla="*/ 33071 h 33070"/>
              </a:gdLst>
              <a:ahLst/>
              <a:cxnLst>
                <a:cxn ang="0">
                  <a:pos x="connsiteX0" y="connsiteY0"/>
                </a:cxn>
                <a:cxn ang="0">
                  <a:pos x="connsiteX1" y="connsiteY1"/>
                </a:cxn>
                <a:cxn ang="0">
                  <a:pos x="connsiteX2" y="connsiteY2"/>
                </a:cxn>
                <a:cxn ang="0">
                  <a:pos x="connsiteX3" y="connsiteY3"/>
                </a:cxn>
              </a:cxnLst>
              <a:rect l="l" t="t" r="r" b="b"/>
              <a:pathLst>
                <a:path w="6191" h="33070">
                  <a:moveTo>
                    <a:pt x="0" y="0"/>
                  </a:moveTo>
                  <a:lnTo>
                    <a:pt x="6191" y="0"/>
                  </a:lnTo>
                  <a:lnTo>
                    <a:pt x="6191" y="33071"/>
                  </a:lnTo>
                  <a:lnTo>
                    <a:pt x="0" y="3307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4" name="Freeform: Shape 1403">
              <a:extLst>
                <a:ext uri="{FF2B5EF4-FFF2-40B4-BE49-F238E27FC236}">
                  <a16:creationId xmlns:a16="http://schemas.microsoft.com/office/drawing/2014/main" id="{4B1E46D5-FB86-AC7B-D045-0FB8C5B3CE1E}"/>
                </a:ext>
              </a:extLst>
            </p:cNvPr>
            <p:cNvSpPr/>
            <p:nvPr/>
          </p:nvSpPr>
          <p:spPr>
            <a:xfrm>
              <a:off x="10119815" y="2746466"/>
              <a:ext cx="26833" cy="27048"/>
            </a:xfrm>
            <a:custGeom>
              <a:avLst/>
              <a:gdLst>
                <a:gd name="connsiteX0" fmla="*/ 13393 w 26833"/>
                <a:gd name="connsiteY0" fmla="*/ 27048 h 27048"/>
                <a:gd name="connsiteX1" fmla="*/ 5202 w 26833"/>
                <a:gd name="connsiteY1" fmla="*/ 24210 h 27048"/>
                <a:gd name="connsiteX2" fmla="*/ 2875 w 26833"/>
                <a:gd name="connsiteY2" fmla="*/ 5197 h 27048"/>
                <a:gd name="connsiteX3" fmla="*/ 11774 w 26833"/>
                <a:gd name="connsiteY3" fmla="*/ 112 h 27048"/>
                <a:gd name="connsiteX4" fmla="*/ 21623 w 26833"/>
                <a:gd name="connsiteY4" fmla="*/ 2836 h 27048"/>
                <a:gd name="connsiteX5" fmla="*/ 26728 w 26833"/>
                <a:gd name="connsiteY5" fmla="*/ 11865 h 27048"/>
                <a:gd name="connsiteX6" fmla="*/ 26728 w 26833"/>
                <a:gd name="connsiteY6" fmla="*/ 11865 h 27048"/>
                <a:gd name="connsiteX7" fmla="*/ 15069 w 26833"/>
                <a:gd name="connsiteY7" fmla="*/ 26953 h 27048"/>
                <a:gd name="connsiteX8" fmla="*/ 13393 w 26833"/>
                <a:gd name="connsiteY8" fmla="*/ 27048 h 27048"/>
                <a:gd name="connsiteX9" fmla="*/ 13393 w 26833"/>
                <a:gd name="connsiteY9" fmla="*/ 6093 h 27048"/>
                <a:gd name="connsiteX10" fmla="*/ 12498 w 26833"/>
                <a:gd name="connsiteY10" fmla="*/ 6093 h 27048"/>
                <a:gd name="connsiteX11" fmla="*/ 6217 w 26833"/>
                <a:gd name="connsiteY11" fmla="*/ 14414 h 27048"/>
                <a:gd name="connsiteX12" fmla="*/ 8973 w 26833"/>
                <a:gd name="connsiteY12" fmla="*/ 19200 h 27048"/>
                <a:gd name="connsiteX13" fmla="*/ 14269 w 26833"/>
                <a:gd name="connsiteY13" fmla="*/ 20667 h 27048"/>
                <a:gd name="connsiteX14" fmla="*/ 20550 w 26833"/>
                <a:gd name="connsiteY14" fmla="*/ 12346 h 27048"/>
                <a:gd name="connsiteX15" fmla="*/ 17794 w 26833"/>
                <a:gd name="connsiteY15" fmla="*/ 7560 h 27048"/>
                <a:gd name="connsiteX16" fmla="*/ 13393 w 26833"/>
                <a:gd name="connsiteY16" fmla="*/ 6189 h 2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33" h="27048">
                  <a:moveTo>
                    <a:pt x="13393" y="27048"/>
                  </a:moveTo>
                  <a:cubicBezTo>
                    <a:pt x="10421" y="27052"/>
                    <a:pt x="7535" y="26052"/>
                    <a:pt x="5202" y="24210"/>
                  </a:cubicBezTo>
                  <a:cubicBezTo>
                    <a:pt x="-691" y="19602"/>
                    <a:pt x="-1733" y="11090"/>
                    <a:pt x="2875" y="5197"/>
                  </a:cubicBezTo>
                  <a:cubicBezTo>
                    <a:pt x="5061" y="2401"/>
                    <a:pt x="8255" y="576"/>
                    <a:pt x="11774" y="112"/>
                  </a:cubicBezTo>
                  <a:cubicBezTo>
                    <a:pt x="15290" y="-350"/>
                    <a:pt x="18843" y="633"/>
                    <a:pt x="21623" y="2836"/>
                  </a:cubicBezTo>
                  <a:cubicBezTo>
                    <a:pt x="24472" y="5033"/>
                    <a:pt x="26315" y="8290"/>
                    <a:pt x="26728" y="11865"/>
                  </a:cubicBezTo>
                  <a:lnTo>
                    <a:pt x="26728" y="11865"/>
                  </a:lnTo>
                  <a:cubicBezTo>
                    <a:pt x="27650" y="19245"/>
                    <a:pt x="22442" y="25983"/>
                    <a:pt x="15069" y="26953"/>
                  </a:cubicBezTo>
                  <a:cubicBezTo>
                    <a:pt x="14513" y="27014"/>
                    <a:pt x="13953" y="27045"/>
                    <a:pt x="13393" y="27048"/>
                  </a:cubicBezTo>
                  <a:close/>
                  <a:moveTo>
                    <a:pt x="13393" y="6093"/>
                  </a:moveTo>
                  <a:cubicBezTo>
                    <a:pt x="13094" y="6074"/>
                    <a:pt x="12797" y="6074"/>
                    <a:pt x="12498" y="6093"/>
                  </a:cubicBezTo>
                  <a:cubicBezTo>
                    <a:pt x="8465" y="6657"/>
                    <a:pt x="5653" y="10383"/>
                    <a:pt x="6217" y="14414"/>
                  </a:cubicBezTo>
                  <a:cubicBezTo>
                    <a:pt x="6482" y="16306"/>
                    <a:pt x="7468" y="18022"/>
                    <a:pt x="8973" y="19200"/>
                  </a:cubicBezTo>
                  <a:cubicBezTo>
                    <a:pt x="10473" y="20375"/>
                    <a:pt x="12380" y="20903"/>
                    <a:pt x="14269" y="20667"/>
                  </a:cubicBezTo>
                  <a:cubicBezTo>
                    <a:pt x="18302" y="20103"/>
                    <a:pt x="21114" y="16377"/>
                    <a:pt x="20550" y="12346"/>
                  </a:cubicBezTo>
                  <a:cubicBezTo>
                    <a:pt x="20285" y="10454"/>
                    <a:pt x="19299" y="8737"/>
                    <a:pt x="17794" y="7560"/>
                  </a:cubicBezTo>
                  <a:cubicBezTo>
                    <a:pt x="16521" y="6623"/>
                    <a:pt x="14972" y="6140"/>
                    <a:pt x="13393" y="618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5" name="Freeform: Shape 1404">
              <a:extLst>
                <a:ext uri="{FF2B5EF4-FFF2-40B4-BE49-F238E27FC236}">
                  <a16:creationId xmlns:a16="http://schemas.microsoft.com/office/drawing/2014/main" id="{B2249DB6-C73C-1C95-1DC0-9914D571875C}"/>
                </a:ext>
              </a:extLst>
            </p:cNvPr>
            <p:cNvSpPr/>
            <p:nvPr/>
          </p:nvSpPr>
          <p:spPr>
            <a:xfrm>
              <a:off x="10122848" y="2791863"/>
              <a:ext cx="26792" cy="27048"/>
            </a:xfrm>
            <a:custGeom>
              <a:avLst/>
              <a:gdLst>
                <a:gd name="connsiteX0" fmla="*/ 13370 w 26792"/>
                <a:gd name="connsiteY0" fmla="*/ 27048 h 27048"/>
                <a:gd name="connsiteX1" fmla="*/ 5198 w 26792"/>
                <a:gd name="connsiteY1" fmla="*/ 24229 h 27048"/>
                <a:gd name="connsiteX2" fmla="*/ 2889 w 26792"/>
                <a:gd name="connsiteY2" fmla="*/ 5186 h 27048"/>
                <a:gd name="connsiteX3" fmla="*/ 11751 w 26792"/>
                <a:gd name="connsiteY3" fmla="*/ 111 h 27048"/>
                <a:gd name="connsiteX4" fmla="*/ 21619 w 26792"/>
                <a:gd name="connsiteY4" fmla="*/ 2835 h 27048"/>
                <a:gd name="connsiteX5" fmla="*/ 23886 w 26792"/>
                <a:gd name="connsiteY5" fmla="*/ 21884 h 27048"/>
                <a:gd name="connsiteX6" fmla="*/ 15047 w 26792"/>
                <a:gd name="connsiteY6" fmla="*/ 26934 h 27048"/>
                <a:gd name="connsiteX7" fmla="*/ 13370 w 26792"/>
                <a:gd name="connsiteY7" fmla="*/ 27048 h 27048"/>
                <a:gd name="connsiteX8" fmla="*/ 13370 w 26792"/>
                <a:gd name="connsiteY8" fmla="*/ 6093 h 27048"/>
                <a:gd name="connsiteX9" fmla="*/ 12475 w 26792"/>
                <a:gd name="connsiteY9" fmla="*/ 6093 h 27048"/>
                <a:gd name="connsiteX10" fmla="*/ 6194 w 26792"/>
                <a:gd name="connsiteY10" fmla="*/ 14414 h 27048"/>
                <a:gd name="connsiteX11" fmla="*/ 8951 w 26792"/>
                <a:gd name="connsiteY11" fmla="*/ 19199 h 27048"/>
                <a:gd name="connsiteX12" fmla="*/ 14246 w 26792"/>
                <a:gd name="connsiteY12" fmla="*/ 20666 h 27048"/>
                <a:gd name="connsiteX13" fmla="*/ 20533 w 26792"/>
                <a:gd name="connsiteY13" fmla="*/ 12475 h 27048"/>
                <a:gd name="connsiteX14" fmla="*/ 20533 w 26792"/>
                <a:gd name="connsiteY14" fmla="*/ 12475 h 27048"/>
                <a:gd name="connsiteX15" fmla="*/ 17771 w 26792"/>
                <a:gd name="connsiteY15" fmla="*/ 7560 h 27048"/>
                <a:gd name="connsiteX16" fmla="*/ 13408 w 26792"/>
                <a:gd name="connsiteY16" fmla="*/ 6188 h 2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792" h="27048">
                  <a:moveTo>
                    <a:pt x="13370" y="27048"/>
                  </a:moveTo>
                  <a:cubicBezTo>
                    <a:pt x="10406" y="27052"/>
                    <a:pt x="7528" y="26059"/>
                    <a:pt x="5198" y="24229"/>
                  </a:cubicBezTo>
                  <a:cubicBezTo>
                    <a:pt x="-698" y="19607"/>
                    <a:pt x="-1733" y="11082"/>
                    <a:pt x="2889" y="5186"/>
                  </a:cubicBezTo>
                  <a:cubicBezTo>
                    <a:pt x="5068" y="2405"/>
                    <a:pt x="8250" y="584"/>
                    <a:pt x="11751" y="111"/>
                  </a:cubicBezTo>
                  <a:cubicBezTo>
                    <a:pt x="15273" y="-350"/>
                    <a:pt x="18832" y="633"/>
                    <a:pt x="21619" y="2835"/>
                  </a:cubicBezTo>
                  <a:cubicBezTo>
                    <a:pt x="27505" y="7468"/>
                    <a:pt x="28519" y="15997"/>
                    <a:pt x="23886" y="21884"/>
                  </a:cubicBezTo>
                  <a:cubicBezTo>
                    <a:pt x="21706" y="24650"/>
                    <a:pt x="18537" y="26461"/>
                    <a:pt x="15047" y="26934"/>
                  </a:cubicBezTo>
                  <a:cubicBezTo>
                    <a:pt x="14490" y="27000"/>
                    <a:pt x="13930" y="27038"/>
                    <a:pt x="13370" y="27048"/>
                  </a:cubicBezTo>
                  <a:close/>
                  <a:moveTo>
                    <a:pt x="13370" y="6093"/>
                  </a:moveTo>
                  <a:lnTo>
                    <a:pt x="12475" y="6093"/>
                  </a:lnTo>
                  <a:cubicBezTo>
                    <a:pt x="8442" y="6657"/>
                    <a:pt x="5630" y="10383"/>
                    <a:pt x="6194" y="14414"/>
                  </a:cubicBezTo>
                  <a:cubicBezTo>
                    <a:pt x="6459" y="16306"/>
                    <a:pt x="7446" y="18022"/>
                    <a:pt x="8951" y="19199"/>
                  </a:cubicBezTo>
                  <a:cubicBezTo>
                    <a:pt x="10450" y="20373"/>
                    <a:pt x="12357" y="20901"/>
                    <a:pt x="14246" y="20666"/>
                  </a:cubicBezTo>
                  <a:cubicBezTo>
                    <a:pt x="18236" y="20123"/>
                    <a:pt x="21040" y="16468"/>
                    <a:pt x="20533" y="12475"/>
                  </a:cubicBezTo>
                  <a:lnTo>
                    <a:pt x="20533" y="12475"/>
                  </a:lnTo>
                  <a:cubicBezTo>
                    <a:pt x="20312" y="10532"/>
                    <a:pt x="19316" y="8758"/>
                    <a:pt x="17771" y="7560"/>
                  </a:cubicBezTo>
                  <a:cubicBezTo>
                    <a:pt x="16512" y="6628"/>
                    <a:pt x="14974" y="6144"/>
                    <a:pt x="13408" y="618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6" name="Freeform: Shape 1405">
              <a:extLst>
                <a:ext uri="{FF2B5EF4-FFF2-40B4-BE49-F238E27FC236}">
                  <a16:creationId xmlns:a16="http://schemas.microsoft.com/office/drawing/2014/main" id="{59988D6C-D970-6519-E74B-247E464BAC5C}"/>
                </a:ext>
              </a:extLst>
            </p:cNvPr>
            <p:cNvSpPr/>
            <p:nvPr/>
          </p:nvSpPr>
          <p:spPr>
            <a:xfrm rot="-1600199">
              <a:off x="10022364" y="2683384"/>
              <a:ext cx="56330" cy="6191"/>
            </a:xfrm>
            <a:custGeom>
              <a:avLst/>
              <a:gdLst>
                <a:gd name="connsiteX0" fmla="*/ 0 w 56330"/>
                <a:gd name="connsiteY0" fmla="*/ 0 h 6191"/>
                <a:gd name="connsiteX1" fmla="*/ 56331 w 56330"/>
                <a:gd name="connsiteY1" fmla="*/ 0 h 6191"/>
                <a:gd name="connsiteX2" fmla="*/ 56331 w 56330"/>
                <a:gd name="connsiteY2" fmla="*/ 6191 h 6191"/>
                <a:gd name="connsiteX3" fmla="*/ 0 w 56330"/>
                <a:gd name="connsiteY3" fmla="*/ 6191 h 6191"/>
              </a:gdLst>
              <a:ahLst/>
              <a:cxnLst>
                <a:cxn ang="0">
                  <a:pos x="connsiteX0" y="connsiteY0"/>
                </a:cxn>
                <a:cxn ang="0">
                  <a:pos x="connsiteX1" y="connsiteY1"/>
                </a:cxn>
                <a:cxn ang="0">
                  <a:pos x="connsiteX2" y="connsiteY2"/>
                </a:cxn>
                <a:cxn ang="0">
                  <a:pos x="connsiteX3" y="connsiteY3"/>
                </a:cxn>
              </a:cxnLst>
              <a:rect l="l" t="t" r="r" b="b"/>
              <a:pathLst>
                <a:path w="56330" h="6191">
                  <a:moveTo>
                    <a:pt x="0" y="0"/>
                  </a:moveTo>
                  <a:lnTo>
                    <a:pt x="56331" y="0"/>
                  </a:lnTo>
                  <a:lnTo>
                    <a:pt x="56331"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7" name="Freeform: Shape 1406">
              <a:extLst>
                <a:ext uri="{FF2B5EF4-FFF2-40B4-BE49-F238E27FC236}">
                  <a16:creationId xmlns:a16="http://schemas.microsoft.com/office/drawing/2014/main" id="{F4B8F236-3266-8B95-7F4B-41EECEBDCD2E}"/>
                </a:ext>
              </a:extLst>
            </p:cNvPr>
            <p:cNvSpPr/>
            <p:nvPr/>
          </p:nvSpPr>
          <p:spPr>
            <a:xfrm rot="-5224200">
              <a:off x="10128941" y="2685702"/>
              <a:ext cx="59436" cy="6191"/>
            </a:xfrm>
            <a:custGeom>
              <a:avLst/>
              <a:gdLst>
                <a:gd name="connsiteX0" fmla="*/ 0 w 59436"/>
                <a:gd name="connsiteY0" fmla="*/ 0 h 6191"/>
                <a:gd name="connsiteX1" fmla="*/ 59436 w 59436"/>
                <a:gd name="connsiteY1" fmla="*/ 0 h 6191"/>
                <a:gd name="connsiteX2" fmla="*/ 59436 w 59436"/>
                <a:gd name="connsiteY2" fmla="*/ 6191 h 6191"/>
                <a:gd name="connsiteX3" fmla="*/ 0 w 59436"/>
                <a:gd name="connsiteY3" fmla="*/ 6191 h 6191"/>
              </a:gdLst>
              <a:ahLst/>
              <a:cxnLst>
                <a:cxn ang="0">
                  <a:pos x="connsiteX0" y="connsiteY0"/>
                </a:cxn>
                <a:cxn ang="0">
                  <a:pos x="connsiteX1" y="connsiteY1"/>
                </a:cxn>
                <a:cxn ang="0">
                  <a:pos x="connsiteX2" y="connsiteY2"/>
                </a:cxn>
                <a:cxn ang="0">
                  <a:pos x="connsiteX3" y="connsiteY3"/>
                </a:cxn>
              </a:cxnLst>
              <a:rect l="l" t="t" r="r" b="b"/>
              <a:pathLst>
                <a:path w="59436" h="6191">
                  <a:moveTo>
                    <a:pt x="0" y="0"/>
                  </a:moveTo>
                  <a:lnTo>
                    <a:pt x="59436" y="0"/>
                  </a:lnTo>
                  <a:lnTo>
                    <a:pt x="59436"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8" name="Freeform: Shape 1407">
              <a:extLst>
                <a:ext uri="{FF2B5EF4-FFF2-40B4-BE49-F238E27FC236}">
                  <a16:creationId xmlns:a16="http://schemas.microsoft.com/office/drawing/2014/main" id="{4B9745BB-1F04-5610-6E73-AC306875371B}"/>
                </a:ext>
              </a:extLst>
            </p:cNvPr>
            <p:cNvSpPr/>
            <p:nvPr/>
          </p:nvSpPr>
          <p:spPr>
            <a:xfrm rot="-2894399">
              <a:off x="10090698" y="2681594"/>
              <a:ext cx="74256" cy="6191"/>
            </a:xfrm>
            <a:custGeom>
              <a:avLst/>
              <a:gdLst>
                <a:gd name="connsiteX0" fmla="*/ 0 w 74256"/>
                <a:gd name="connsiteY0" fmla="*/ 0 h 6191"/>
                <a:gd name="connsiteX1" fmla="*/ 74257 w 74256"/>
                <a:gd name="connsiteY1" fmla="*/ 0 h 6191"/>
                <a:gd name="connsiteX2" fmla="*/ 74257 w 74256"/>
                <a:gd name="connsiteY2" fmla="*/ 6191 h 6191"/>
                <a:gd name="connsiteX3" fmla="*/ 0 w 74256"/>
                <a:gd name="connsiteY3" fmla="*/ 6191 h 6191"/>
              </a:gdLst>
              <a:ahLst/>
              <a:cxnLst>
                <a:cxn ang="0">
                  <a:pos x="connsiteX0" y="connsiteY0"/>
                </a:cxn>
                <a:cxn ang="0">
                  <a:pos x="connsiteX1" y="connsiteY1"/>
                </a:cxn>
                <a:cxn ang="0">
                  <a:pos x="connsiteX2" y="connsiteY2"/>
                </a:cxn>
                <a:cxn ang="0">
                  <a:pos x="connsiteX3" y="connsiteY3"/>
                </a:cxn>
              </a:cxnLst>
              <a:rect l="l" t="t" r="r" b="b"/>
              <a:pathLst>
                <a:path w="74256" h="6191">
                  <a:moveTo>
                    <a:pt x="0" y="0"/>
                  </a:moveTo>
                  <a:lnTo>
                    <a:pt x="74257" y="0"/>
                  </a:lnTo>
                  <a:lnTo>
                    <a:pt x="74257"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09" name="Freeform: Shape 1408">
              <a:extLst>
                <a:ext uri="{FF2B5EF4-FFF2-40B4-BE49-F238E27FC236}">
                  <a16:creationId xmlns:a16="http://schemas.microsoft.com/office/drawing/2014/main" id="{29EE3074-FA70-FBE1-4019-E97638813D5F}"/>
                </a:ext>
              </a:extLst>
            </p:cNvPr>
            <p:cNvSpPr/>
            <p:nvPr/>
          </p:nvSpPr>
          <p:spPr>
            <a:xfrm rot="-2533799">
              <a:off x="9941329" y="2625818"/>
              <a:ext cx="72961" cy="6191"/>
            </a:xfrm>
            <a:custGeom>
              <a:avLst/>
              <a:gdLst>
                <a:gd name="connsiteX0" fmla="*/ 0 w 72961"/>
                <a:gd name="connsiteY0" fmla="*/ 0 h 6191"/>
                <a:gd name="connsiteX1" fmla="*/ 72962 w 72961"/>
                <a:gd name="connsiteY1" fmla="*/ 0 h 6191"/>
                <a:gd name="connsiteX2" fmla="*/ 72962 w 72961"/>
                <a:gd name="connsiteY2" fmla="*/ 6191 h 6191"/>
                <a:gd name="connsiteX3" fmla="*/ 0 w 72961"/>
                <a:gd name="connsiteY3" fmla="*/ 6191 h 6191"/>
              </a:gdLst>
              <a:ahLst/>
              <a:cxnLst>
                <a:cxn ang="0">
                  <a:pos x="connsiteX0" y="connsiteY0"/>
                </a:cxn>
                <a:cxn ang="0">
                  <a:pos x="connsiteX1" y="connsiteY1"/>
                </a:cxn>
                <a:cxn ang="0">
                  <a:pos x="connsiteX2" y="connsiteY2"/>
                </a:cxn>
                <a:cxn ang="0">
                  <a:pos x="connsiteX3" y="connsiteY3"/>
                </a:cxn>
              </a:cxnLst>
              <a:rect l="l" t="t" r="r" b="b"/>
              <a:pathLst>
                <a:path w="72961" h="6191">
                  <a:moveTo>
                    <a:pt x="0" y="0"/>
                  </a:moveTo>
                  <a:lnTo>
                    <a:pt x="72962" y="0"/>
                  </a:lnTo>
                  <a:lnTo>
                    <a:pt x="72962" y="6191"/>
                  </a:lnTo>
                  <a:lnTo>
                    <a:pt x="0" y="6191"/>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grpSp>
      <p:grpSp>
        <p:nvGrpSpPr>
          <p:cNvPr id="1410" name="Graphic 320">
            <a:extLst>
              <a:ext uri="{FF2B5EF4-FFF2-40B4-BE49-F238E27FC236}">
                <a16:creationId xmlns:a16="http://schemas.microsoft.com/office/drawing/2014/main" id="{26DD7CAA-7C59-934B-9E93-B2A1F04F9D9B}"/>
              </a:ext>
            </a:extLst>
          </p:cNvPr>
          <p:cNvGrpSpPr/>
          <p:nvPr/>
        </p:nvGrpSpPr>
        <p:grpSpPr>
          <a:xfrm>
            <a:off x="2373316" y="3279435"/>
            <a:ext cx="238875" cy="197881"/>
            <a:chOff x="9928256" y="3018775"/>
            <a:chExt cx="246184" cy="203845"/>
          </a:xfrm>
          <a:solidFill>
            <a:srgbClr val="FF0000"/>
          </a:solidFill>
        </p:grpSpPr>
        <p:sp>
          <p:nvSpPr>
            <p:cNvPr id="1411" name="Freeform: Shape 1410">
              <a:extLst>
                <a:ext uri="{FF2B5EF4-FFF2-40B4-BE49-F238E27FC236}">
                  <a16:creationId xmlns:a16="http://schemas.microsoft.com/office/drawing/2014/main" id="{781D0FC1-0ED7-875E-EDE4-B3A85FD7A7A8}"/>
                </a:ext>
              </a:extLst>
            </p:cNvPr>
            <p:cNvSpPr/>
            <p:nvPr/>
          </p:nvSpPr>
          <p:spPr>
            <a:xfrm>
              <a:off x="9990312" y="3019175"/>
              <a:ext cx="99919" cy="74391"/>
            </a:xfrm>
            <a:custGeom>
              <a:avLst/>
              <a:gdLst>
                <a:gd name="connsiteX0" fmla="*/ 77878 w 99919"/>
                <a:gd name="connsiteY0" fmla="*/ 47606 h 74391"/>
                <a:gd name="connsiteX1" fmla="*/ 69134 w 99919"/>
                <a:gd name="connsiteY1" fmla="*/ 42348 h 74391"/>
                <a:gd name="connsiteX2" fmla="*/ 24176 w 99919"/>
                <a:gd name="connsiteY2" fmla="*/ 63703 h 74391"/>
                <a:gd name="connsiteX3" fmla="*/ 21776 w 99919"/>
                <a:gd name="connsiteY3" fmla="*/ 64237 h 74391"/>
                <a:gd name="connsiteX4" fmla="*/ 16671 w 99919"/>
                <a:gd name="connsiteY4" fmla="*/ 60998 h 74391"/>
                <a:gd name="connsiteX5" fmla="*/ 10803 w 99919"/>
                <a:gd name="connsiteY5" fmla="*/ 48558 h 74391"/>
                <a:gd name="connsiteX6" fmla="*/ 13489 w 99919"/>
                <a:gd name="connsiteY6" fmla="*/ 41053 h 74391"/>
                <a:gd name="connsiteX7" fmla="*/ 65629 w 99919"/>
                <a:gd name="connsiteY7" fmla="*/ 16288 h 74391"/>
                <a:gd name="connsiteX8" fmla="*/ 67020 w 99919"/>
                <a:gd name="connsiteY8" fmla="*/ 13887 h 74391"/>
                <a:gd name="connsiteX9" fmla="*/ 79383 w 99919"/>
                <a:gd name="connsiteY9" fmla="*/ 7182 h 74391"/>
                <a:gd name="connsiteX10" fmla="*/ 95823 w 99919"/>
                <a:gd name="connsiteY10" fmla="*/ 17869 h 74391"/>
                <a:gd name="connsiteX11" fmla="*/ 99919 w 99919"/>
                <a:gd name="connsiteY11" fmla="*/ 21336 h 74391"/>
                <a:gd name="connsiteX12" fmla="*/ 94204 w 99919"/>
                <a:gd name="connsiteY12" fmla="*/ 9125 h 74391"/>
                <a:gd name="connsiteX13" fmla="*/ 79783 w 99919"/>
                <a:gd name="connsiteY13" fmla="*/ 0 h 74391"/>
                <a:gd name="connsiteX14" fmla="*/ 73021 w 99919"/>
                <a:gd name="connsiteY14" fmla="*/ 1524 h 74391"/>
                <a:gd name="connsiteX15" fmla="*/ 9127 w 99919"/>
                <a:gd name="connsiteY15" fmla="*/ 31833 h 74391"/>
                <a:gd name="connsiteX16" fmla="*/ 1502 w 99919"/>
                <a:gd name="connsiteY16" fmla="*/ 52911 h 74391"/>
                <a:gd name="connsiteX17" fmla="*/ 1507 w 99919"/>
                <a:gd name="connsiteY17" fmla="*/ 52921 h 74391"/>
                <a:gd name="connsiteX18" fmla="*/ 7393 w 99919"/>
                <a:gd name="connsiteY18" fmla="*/ 65322 h 74391"/>
                <a:gd name="connsiteX19" fmla="*/ 21719 w 99919"/>
                <a:gd name="connsiteY19" fmla="*/ 74390 h 74391"/>
                <a:gd name="connsiteX20" fmla="*/ 28539 w 99919"/>
                <a:gd name="connsiteY20" fmla="*/ 72942 h 74391"/>
                <a:gd name="connsiteX21" fmla="*/ 79974 w 99919"/>
                <a:gd name="connsiteY21" fmla="*/ 48539 h 74391"/>
                <a:gd name="connsiteX22" fmla="*/ 78926 w 99919"/>
                <a:gd name="connsiteY22" fmla="*/ 47777 h 7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19" h="74391">
                  <a:moveTo>
                    <a:pt x="77878" y="47606"/>
                  </a:moveTo>
                  <a:cubicBezTo>
                    <a:pt x="74382" y="47082"/>
                    <a:pt x="71237" y="45191"/>
                    <a:pt x="69134" y="42348"/>
                  </a:cubicBezTo>
                  <a:lnTo>
                    <a:pt x="24176" y="63703"/>
                  </a:lnTo>
                  <a:cubicBezTo>
                    <a:pt x="23424" y="64053"/>
                    <a:pt x="22605" y="64235"/>
                    <a:pt x="21776" y="64237"/>
                  </a:cubicBezTo>
                  <a:cubicBezTo>
                    <a:pt x="19596" y="64219"/>
                    <a:pt x="17615" y="62963"/>
                    <a:pt x="16671" y="60998"/>
                  </a:cubicBezTo>
                  <a:lnTo>
                    <a:pt x="10803" y="48558"/>
                  </a:lnTo>
                  <a:cubicBezTo>
                    <a:pt x="9518" y="45742"/>
                    <a:pt x="10709" y="42414"/>
                    <a:pt x="13489" y="41053"/>
                  </a:cubicBezTo>
                  <a:lnTo>
                    <a:pt x="65629" y="16288"/>
                  </a:lnTo>
                  <a:cubicBezTo>
                    <a:pt x="66013" y="15444"/>
                    <a:pt x="66479" y="14640"/>
                    <a:pt x="67020" y="13887"/>
                  </a:cubicBezTo>
                  <a:cubicBezTo>
                    <a:pt x="69782" y="9925"/>
                    <a:pt x="74278" y="6648"/>
                    <a:pt x="79383" y="7182"/>
                  </a:cubicBezTo>
                  <a:cubicBezTo>
                    <a:pt x="86508" y="7944"/>
                    <a:pt x="91556" y="12573"/>
                    <a:pt x="95823" y="17869"/>
                  </a:cubicBezTo>
                  <a:cubicBezTo>
                    <a:pt x="97233" y="18974"/>
                    <a:pt x="98586" y="20155"/>
                    <a:pt x="99919" y="21336"/>
                  </a:cubicBezTo>
                  <a:lnTo>
                    <a:pt x="94204" y="9125"/>
                  </a:lnTo>
                  <a:cubicBezTo>
                    <a:pt x="91570" y="3547"/>
                    <a:pt x="85952" y="-8"/>
                    <a:pt x="79783" y="0"/>
                  </a:cubicBezTo>
                  <a:cubicBezTo>
                    <a:pt x="77444" y="-1"/>
                    <a:pt x="75134" y="520"/>
                    <a:pt x="73021" y="1524"/>
                  </a:cubicBezTo>
                  <a:lnTo>
                    <a:pt x="9127" y="31833"/>
                  </a:lnTo>
                  <a:cubicBezTo>
                    <a:pt x="1201" y="35548"/>
                    <a:pt x="-2213" y="44984"/>
                    <a:pt x="1502" y="52911"/>
                  </a:cubicBezTo>
                  <a:cubicBezTo>
                    <a:pt x="1504" y="52914"/>
                    <a:pt x="1505" y="52917"/>
                    <a:pt x="1507" y="52921"/>
                  </a:cubicBezTo>
                  <a:lnTo>
                    <a:pt x="7393" y="65322"/>
                  </a:lnTo>
                  <a:cubicBezTo>
                    <a:pt x="10029" y="70847"/>
                    <a:pt x="15598" y="74372"/>
                    <a:pt x="21719" y="74390"/>
                  </a:cubicBezTo>
                  <a:cubicBezTo>
                    <a:pt x="24072" y="74424"/>
                    <a:pt x="26402" y="73929"/>
                    <a:pt x="28539" y="72942"/>
                  </a:cubicBezTo>
                  <a:lnTo>
                    <a:pt x="79974" y="48539"/>
                  </a:lnTo>
                  <a:cubicBezTo>
                    <a:pt x="79612" y="48311"/>
                    <a:pt x="79269" y="48044"/>
                    <a:pt x="78926" y="4777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2" name="Freeform: Shape 1411">
              <a:extLst>
                <a:ext uri="{FF2B5EF4-FFF2-40B4-BE49-F238E27FC236}">
                  <a16:creationId xmlns:a16="http://schemas.microsoft.com/office/drawing/2014/main" id="{EBA8E35F-63A2-3AB7-B996-44722DF02E3E}"/>
                </a:ext>
              </a:extLst>
            </p:cNvPr>
            <p:cNvSpPr/>
            <p:nvPr/>
          </p:nvSpPr>
          <p:spPr>
            <a:xfrm>
              <a:off x="10046664" y="3018775"/>
              <a:ext cx="102965" cy="84772"/>
            </a:xfrm>
            <a:custGeom>
              <a:avLst/>
              <a:gdLst>
                <a:gd name="connsiteX0" fmla="*/ 58713 w 102965"/>
                <a:gd name="connsiteY0" fmla="*/ 74619 h 84772"/>
                <a:gd name="connsiteX1" fmla="*/ 11869 w 102965"/>
                <a:gd name="connsiteY1" fmla="*/ 29851 h 84772"/>
                <a:gd name="connsiteX2" fmla="*/ 11678 w 102965"/>
                <a:gd name="connsiteY2" fmla="*/ 21869 h 84772"/>
                <a:gd name="connsiteX3" fmla="*/ 21203 w 102965"/>
                <a:gd name="connsiteY3" fmla="*/ 11925 h 84772"/>
                <a:gd name="connsiteX4" fmla="*/ 29147 w 102965"/>
                <a:gd name="connsiteY4" fmla="*/ 11754 h 84772"/>
                <a:gd name="connsiteX5" fmla="*/ 88297 w 102965"/>
                <a:gd name="connsiteY5" fmla="*/ 68294 h 84772"/>
                <a:gd name="connsiteX6" fmla="*/ 89288 w 102965"/>
                <a:gd name="connsiteY6" fmla="*/ 68294 h 84772"/>
                <a:gd name="connsiteX7" fmla="*/ 102966 w 102965"/>
                <a:gd name="connsiteY7" fmla="*/ 73095 h 84772"/>
                <a:gd name="connsiteX8" fmla="*/ 98184 w 102965"/>
                <a:gd name="connsiteY8" fmla="*/ 63570 h 84772"/>
                <a:gd name="connsiteX9" fmla="*/ 36195 w 102965"/>
                <a:gd name="connsiteY9" fmla="*/ 4381 h 84772"/>
                <a:gd name="connsiteX10" fmla="*/ 25337 w 102965"/>
                <a:gd name="connsiteY10" fmla="*/ 0 h 84772"/>
                <a:gd name="connsiteX11" fmla="*/ 13907 w 102965"/>
                <a:gd name="connsiteY11" fmla="*/ 4896 h 84772"/>
                <a:gd name="connsiteX12" fmla="*/ 4382 w 102965"/>
                <a:gd name="connsiteY12" fmla="*/ 14840 h 84772"/>
                <a:gd name="connsiteX13" fmla="*/ 4820 w 102965"/>
                <a:gd name="connsiteY13" fmla="*/ 37148 h 84772"/>
                <a:gd name="connsiteX14" fmla="*/ 54522 w 102965"/>
                <a:gd name="connsiteY14" fmla="*/ 84773 h 84772"/>
                <a:gd name="connsiteX15" fmla="*/ 58713 w 102965"/>
                <a:gd name="connsiteY15" fmla="*/ 74619 h 8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965" h="84772">
                  <a:moveTo>
                    <a:pt x="58713" y="74619"/>
                  </a:moveTo>
                  <a:lnTo>
                    <a:pt x="11869" y="29851"/>
                  </a:lnTo>
                  <a:cubicBezTo>
                    <a:pt x="9649" y="27683"/>
                    <a:pt x="9564" y="24141"/>
                    <a:pt x="11678" y="21869"/>
                  </a:cubicBezTo>
                  <a:lnTo>
                    <a:pt x="21203" y="11925"/>
                  </a:lnTo>
                  <a:cubicBezTo>
                    <a:pt x="23372" y="9736"/>
                    <a:pt x="26886" y="9660"/>
                    <a:pt x="29147" y="11754"/>
                  </a:cubicBezTo>
                  <a:lnTo>
                    <a:pt x="88297" y="68294"/>
                  </a:lnTo>
                  <a:lnTo>
                    <a:pt x="89288" y="68294"/>
                  </a:lnTo>
                  <a:cubicBezTo>
                    <a:pt x="94165" y="68294"/>
                    <a:pt x="99594" y="69380"/>
                    <a:pt x="102966" y="73095"/>
                  </a:cubicBezTo>
                  <a:cubicBezTo>
                    <a:pt x="102531" y="69459"/>
                    <a:pt x="100840" y="66090"/>
                    <a:pt x="98184" y="63570"/>
                  </a:cubicBezTo>
                  <a:lnTo>
                    <a:pt x="36195" y="4381"/>
                  </a:lnTo>
                  <a:cubicBezTo>
                    <a:pt x="33277" y="1575"/>
                    <a:pt x="29386" y="5"/>
                    <a:pt x="25337" y="0"/>
                  </a:cubicBezTo>
                  <a:cubicBezTo>
                    <a:pt x="21019" y="7"/>
                    <a:pt x="16891" y="1775"/>
                    <a:pt x="13907" y="4896"/>
                  </a:cubicBezTo>
                  <a:lnTo>
                    <a:pt x="4382" y="14840"/>
                  </a:lnTo>
                  <a:cubicBezTo>
                    <a:pt x="-1627" y="21133"/>
                    <a:pt x="-1432" y="31096"/>
                    <a:pt x="4820" y="37148"/>
                  </a:cubicBezTo>
                  <a:lnTo>
                    <a:pt x="54522" y="84773"/>
                  </a:lnTo>
                  <a:cubicBezTo>
                    <a:pt x="54608" y="80985"/>
                    <a:pt x="56102" y="77365"/>
                    <a:pt x="58713" y="74619"/>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3" name="Freeform: Shape 1412">
              <a:extLst>
                <a:ext uri="{FF2B5EF4-FFF2-40B4-BE49-F238E27FC236}">
                  <a16:creationId xmlns:a16="http://schemas.microsoft.com/office/drawing/2014/main" id="{FFD591A1-06E2-85CB-F1E7-0FA2CFAB80B4}"/>
                </a:ext>
              </a:extLst>
            </p:cNvPr>
            <p:cNvSpPr/>
            <p:nvPr/>
          </p:nvSpPr>
          <p:spPr>
            <a:xfrm>
              <a:off x="9990718" y="3083367"/>
              <a:ext cx="21471" cy="37877"/>
            </a:xfrm>
            <a:custGeom>
              <a:avLst/>
              <a:gdLst>
                <a:gd name="connsiteX0" fmla="*/ 5082 w 21471"/>
                <a:gd name="connsiteY0" fmla="*/ 37878 h 37877"/>
                <a:gd name="connsiteX1" fmla="*/ 3177 w 21471"/>
                <a:gd name="connsiteY1" fmla="*/ 37516 h 37877"/>
                <a:gd name="connsiteX2" fmla="*/ 377 w 21471"/>
                <a:gd name="connsiteY2" fmla="*/ 30867 h 37877"/>
                <a:gd name="connsiteX3" fmla="*/ 11578 w 21471"/>
                <a:gd name="connsiteY3" fmla="*/ 3226 h 37877"/>
                <a:gd name="connsiteX4" fmla="*/ 18246 w 21471"/>
                <a:gd name="connsiteY4" fmla="*/ 368 h 37877"/>
                <a:gd name="connsiteX5" fmla="*/ 21103 w 21471"/>
                <a:gd name="connsiteY5" fmla="*/ 7036 h 37877"/>
                <a:gd name="connsiteX6" fmla="*/ 9826 w 21471"/>
                <a:gd name="connsiteY6" fmla="*/ 34696 h 37877"/>
                <a:gd name="connsiteX7" fmla="*/ 5082 w 21471"/>
                <a:gd name="connsiteY7" fmla="*/ 37878 h 37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71" h="37877">
                  <a:moveTo>
                    <a:pt x="5082" y="37878"/>
                  </a:moveTo>
                  <a:cubicBezTo>
                    <a:pt x="4430" y="37877"/>
                    <a:pt x="3784" y="37754"/>
                    <a:pt x="3177" y="37516"/>
                  </a:cubicBezTo>
                  <a:cubicBezTo>
                    <a:pt x="570" y="36451"/>
                    <a:pt x="-683" y="33477"/>
                    <a:pt x="377" y="30867"/>
                  </a:cubicBezTo>
                  <a:lnTo>
                    <a:pt x="11578" y="3226"/>
                  </a:lnTo>
                  <a:cubicBezTo>
                    <a:pt x="12630" y="596"/>
                    <a:pt x="15616" y="-684"/>
                    <a:pt x="18246" y="368"/>
                  </a:cubicBezTo>
                  <a:cubicBezTo>
                    <a:pt x="20876" y="1420"/>
                    <a:pt x="22155" y="4406"/>
                    <a:pt x="21103" y="7036"/>
                  </a:cubicBezTo>
                  <a:lnTo>
                    <a:pt x="9826" y="34696"/>
                  </a:lnTo>
                  <a:cubicBezTo>
                    <a:pt x="9037" y="36621"/>
                    <a:pt x="7162" y="37878"/>
                    <a:pt x="5082" y="37878"/>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4" name="Freeform: Shape 1413">
              <a:extLst>
                <a:ext uri="{FF2B5EF4-FFF2-40B4-BE49-F238E27FC236}">
                  <a16:creationId xmlns:a16="http://schemas.microsoft.com/office/drawing/2014/main" id="{B8EE9760-73EC-8220-6FE8-B2624EBB4DD3}"/>
                </a:ext>
              </a:extLst>
            </p:cNvPr>
            <p:cNvSpPr/>
            <p:nvPr/>
          </p:nvSpPr>
          <p:spPr>
            <a:xfrm>
              <a:off x="9953586" y="3167022"/>
              <a:ext cx="63931" cy="55587"/>
            </a:xfrm>
            <a:custGeom>
              <a:avLst/>
              <a:gdLst>
                <a:gd name="connsiteX0" fmla="*/ 63932 w 63931"/>
                <a:gd name="connsiteY0" fmla="*/ 55588 h 55587"/>
                <a:gd name="connsiteX1" fmla="*/ 0 w 63931"/>
                <a:gd name="connsiteY1" fmla="*/ 55588 h 55587"/>
                <a:gd name="connsiteX2" fmla="*/ 0 w 63931"/>
                <a:gd name="connsiteY2" fmla="*/ 18440 h 55587"/>
                <a:gd name="connsiteX3" fmla="*/ 18440 w 63931"/>
                <a:gd name="connsiteY3" fmla="*/ 0 h 55587"/>
                <a:gd name="connsiteX4" fmla="*/ 45491 w 63931"/>
                <a:gd name="connsiteY4" fmla="*/ 0 h 55587"/>
                <a:gd name="connsiteX5" fmla="*/ 63932 w 63931"/>
                <a:gd name="connsiteY5" fmla="*/ 18440 h 55587"/>
                <a:gd name="connsiteX6" fmla="*/ 10192 w 63931"/>
                <a:gd name="connsiteY6" fmla="*/ 45396 h 55587"/>
                <a:gd name="connsiteX7" fmla="*/ 53740 w 63931"/>
                <a:gd name="connsiteY7" fmla="*/ 45396 h 55587"/>
                <a:gd name="connsiteX8" fmla="*/ 53740 w 63931"/>
                <a:gd name="connsiteY8" fmla="*/ 18440 h 55587"/>
                <a:gd name="connsiteX9" fmla="*/ 45491 w 63931"/>
                <a:gd name="connsiteY9" fmla="*/ 10192 h 55587"/>
                <a:gd name="connsiteX10" fmla="*/ 18440 w 63931"/>
                <a:gd name="connsiteY10" fmla="*/ 10192 h 55587"/>
                <a:gd name="connsiteX11" fmla="*/ 10192 w 63931"/>
                <a:gd name="connsiteY11" fmla="*/ 18440 h 5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931" h="55587">
                  <a:moveTo>
                    <a:pt x="63932" y="55588"/>
                  </a:moveTo>
                  <a:lnTo>
                    <a:pt x="0" y="55588"/>
                  </a:lnTo>
                  <a:lnTo>
                    <a:pt x="0" y="18440"/>
                  </a:lnTo>
                  <a:cubicBezTo>
                    <a:pt x="10" y="8260"/>
                    <a:pt x="8260" y="10"/>
                    <a:pt x="18440" y="0"/>
                  </a:cubicBezTo>
                  <a:lnTo>
                    <a:pt x="45491" y="0"/>
                  </a:lnTo>
                  <a:cubicBezTo>
                    <a:pt x="55671" y="10"/>
                    <a:pt x="63921" y="8260"/>
                    <a:pt x="63932" y="18440"/>
                  </a:cubicBezTo>
                  <a:close/>
                  <a:moveTo>
                    <a:pt x="10192" y="45396"/>
                  </a:moveTo>
                  <a:lnTo>
                    <a:pt x="53740" y="45396"/>
                  </a:lnTo>
                  <a:lnTo>
                    <a:pt x="53740" y="18440"/>
                  </a:lnTo>
                  <a:cubicBezTo>
                    <a:pt x="53730" y="13889"/>
                    <a:pt x="50043" y="10201"/>
                    <a:pt x="45491" y="10192"/>
                  </a:cubicBezTo>
                  <a:lnTo>
                    <a:pt x="18440" y="10192"/>
                  </a:lnTo>
                  <a:cubicBezTo>
                    <a:pt x="13889" y="10201"/>
                    <a:pt x="10202" y="13889"/>
                    <a:pt x="10192" y="18440"/>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5" name="Freeform: Shape 1414">
              <a:extLst>
                <a:ext uri="{FF2B5EF4-FFF2-40B4-BE49-F238E27FC236}">
                  <a16:creationId xmlns:a16="http://schemas.microsoft.com/office/drawing/2014/main" id="{710EC705-5460-A8AC-421C-DE73AAE2E729}"/>
                </a:ext>
              </a:extLst>
            </p:cNvPr>
            <p:cNvSpPr/>
            <p:nvPr/>
          </p:nvSpPr>
          <p:spPr>
            <a:xfrm>
              <a:off x="9967092" y="3127474"/>
              <a:ext cx="36918" cy="49682"/>
            </a:xfrm>
            <a:custGeom>
              <a:avLst/>
              <a:gdLst>
                <a:gd name="connsiteX0" fmla="*/ 36919 w 36918"/>
                <a:gd name="connsiteY0" fmla="*/ 49682 h 49682"/>
                <a:gd name="connsiteX1" fmla="*/ 0 w 36918"/>
                <a:gd name="connsiteY1" fmla="*/ 49682 h 49682"/>
                <a:gd name="connsiteX2" fmla="*/ 0 w 36918"/>
                <a:gd name="connsiteY2" fmla="*/ 0 h 49682"/>
                <a:gd name="connsiteX3" fmla="*/ 36919 w 36918"/>
                <a:gd name="connsiteY3" fmla="*/ 0 h 49682"/>
                <a:gd name="connsiteX4" fmla="*/ 10249 w 36918"/>
                <a:gd name="connsiteY4" fmla="*/ 39491 h 49682"/>
                <a:gd name="connsiteX5" fmla="*/ 26803 w 36918"/>
                <a:gd name="connsiteY5" fmla="*/ 39491 h 49682"/>
                <a:gd name="connsiteX6" fmla="*/ 26803 w 36918"/>
                <a:gd name="connsiteY6" fmla="*/ 10192 h 49682"/>
                <a:gd name="connsiteX7" fmla="*/ 10211 w 36918"/>
                <a:gd name="connsiteY7" fmla="*/ 10192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18" h="49682">
                  <a:moveTo>
                    <a:pt x="36919" y="49682"/>
                  </a:moveTo>
                  <a:lnTo>
                    <a:pt x="0" y="49682"/>
                  </a:lnTo>
                  <a:lnTo>
                    <a:pt x="0" y="0"/>
                  </a:lnTo>
                  <a:lnTo>
                    <a:pt x="36919" y="0"/>
                  </a:lnTo>
                  <a:close/>
                  <a:moveTo>
                    <a:pt x="10249" y="39491"/>
                  </a:moveTo>
                  <a:lnTo>
                    <a:pt x="26803" y="39491"/>
                  </a:lnTo>
                  <a:lnTo>
                    <a:pt x="26803" y="10192"/>
                  </a:lnTo>
                  <a:lnTo>
                    <a:pt x="10211" y="10192"/>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6" name="Freeform: Shape 1415">
              <a:extLst>
                <a:ext uri="{FF2B5EF4-FFF2-40B4-BE49-F238E27FC236}">
                  <a16:creationId xmlns:a16="http://schemas.microsoft.com/office/drawing/2014/main" id="{9BD5F451-2402-63A0-C837-26E3D91CCA7A}"/>
                </a:ext>
              </a:extLst>
            </p:cNvPr>
            <p:cNvSpPr/>
            <p:nvPr/>
          </p:nvSpPr>
          <p:spPr>
            <a:xfrm>
              <a:off x="9964813" y="3110917"/>
              <a:ext cx="11804" cy="8080"/>
            </a:xfrm>
            <a:custGeom>
              <a:avLst/>
              <a:gdLst>
                <a:gd name="connsiteX0" fmla="*/ 7785 w 11804"/>
                <a:gd name="connsiteY0" fmla="*/ 8080 h 8080"/>
                <a:gd name="connsiteX1" fmla="*/ 7632 w 11804"/>
                <a:gd name="connsiteY1" fmla="*/ 8080 h 8080"/>
                <a:gd name="connsiteX2" fmla="*/ 3822 w 11804"/>
                <a:gd name="connsiteY2" fmla="*/ 7927 h 8080"/>
                <a:gd name="connsiteX3" fmla="*/ 3 w 11804"/>
                <a:gd name="connsiteY3" fmla="*/ 3822 h 8080"/>
                <a:gd name="connsiteX4" fmla="*/ 4108 w 11804"/>
                <a:gd name="connsiteY4" fmla="*/ 3 h 8080"/>
                <a:gd name="connsiteX5" fmla="*/ 7918 w 11804"/>
                <a:gd name="connsiteY5" fmla="*/ 155 h 8080"/>
                <a:gd name="connsiteX6" fmla="*/ 11804 w 11804"/>
                <a:gd name="connsiteY6" fmla="*/ 4194 h 8080"/>
                <a:gd name="connsiteX7" fmla="*/ 7765 w 11804"/>
                <a:gd name="connsiteY7" fmla="*/ 8080 h 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4" h="8080">
                  <a:moveTo>
                    <a:pt x="7785" y="8080"/>
                  </a:moveTo>
                  <a:lnTo>
                    <a:pt x="7632" y="8080"/>
                  </a:lnTo>
                  <a:lnTo>
                    <a:pt x="3822" y="7927"/>
                  </a:lnTo>
                  <a:cubicBezTo>
                    <a:pt x="1634" y="7849"/>
                    <a:pt x="-76" y="6011"/>
                    <a:pt x="3" y="3822"/>
                  </a:cubicBezTo>
                  <a:cubicBezTo>
                    <a:pt x="81" y="1634"/>
                    <a:pt x="1919" y="-76"/>
                    <a:pt x="4108" y="3"/>
                  </a:cubicBezTo>
                  <a:lnTo>
                    <a:pt x="7918" y="155"/>
                  </a:lnTo>
                  <a:cubicBezTo>
                    <a:pt x="10106" y="197"/>
                    <a:pt x="11846" y="2005"/>
                    <a:pt x="11804" y="4194"/>
                  </a:cubicBezTo>
                  <a:cubicBezTo>
                    <a:pt x="11762" y="6382"/>
                    <a:pt x="9954" y="8122"/>
                    <a:pt x="7765" y="8080"/>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7" name="Freeform: Shape 1416">
              <a:extLst>
                <a:ext uri="{FF2B5EF4-FFF2-40B4-BE49-F238E27FC236}">
                  <a16:creationId xmlns:a16="http://schemas.microsoft.com/office/drawing/2014/main" id="{21EC79F8-E468-7496-C349-DAF87051A978}"/>
                </a:ext>
              </a:extLst>
            </p:cNvPr>
            <p:cNvSpPr/>
            <p:nvPr/>
          </p:nvSpPr>
          <p:spPr>
            <a:xfrm>
              <a:off x="9957418" y="3093635"/>
              <a:ext cx="11592" cy="9670"/>
            </a:xfrm>
            <a:custGeom>
              <a:avLst/>
              <a:gdLst>
                <a:gd name="connsiteX0" fmla="*/ 7426 w 11592"/>
                <a:gd name="connsiteY0" fmla="*/ 9646 h 9670"/>
                <a:gd name="connsiteX1" fmla="*/ 5712 w 11592"/>
                <a:gd name="connsiteY1" fmla="*/ 9246 h 9670"/>
                <a:gd name="connsiteX2" fmla="*/ 2283 w 11592"/>
                <a:gd name="connsiteY2" fmla="*/ 7607 h 9670"/>
                <a:gd name="connsiteX3" fmla="*/ 387 w 11592"/>
                <a:gd name="connsiteY3" fmla="*/ 2283 h 9670"/>
                <a:gd name="connsiteX4" fmla="*/ 5712 w 11592"/>
                <a:gd name="connsiteY4" fmla="*/ 387 h 9670"/>
                <a:gd name="connsiteX5" fmla="*/ 9141 w 11592"/>
                <a:gd name="connsiteY5" fmla="*/ 2045 h 9670"/>
                <a:gd name="connsiteX6" fmla="*/ 11292 w 11592"/>
                <a:gd name="connsiteY6" fmla="*/ 7219 h 9670"/>
                <a:gd name="connsiteX7" fmla="*/ 7426 w 11592"/>
                <a:gd name="connsiteY7" fmla="*/ 9665 h 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2" h="9670">
                  <a:moveTo>
                    <a:pt x="7426" y="9646"/>
                  </a:moveTo>
                  <a:cubicBezTo>
                    <a:pt x="6832" y="9643"/>
                    <a:pt x="6246" y="9506"/>
                    <a:pt x="5712" y="9246"/>
                  </a:cubicBezTo>
                  <a:lnTo>
                    <a:pt x="2283" y="7607"/>
                  </a:lnTo>
                  <a:cubicBezTo>
                    <a:pt x="289" y="6660"/>
                    <a:pt x="-560" y="4277"/>
                    <a:pt x="387" y="2283"/>
                  </a:cubicBezTo>
                  <a:cubicBezTo>
                    <a:pt x="1334" y="289"/>
                    <a:pt x="3718" y="-560"/>
                    <a:pt x="5712" y="387"/>
                  </a:cubicBezTo>
                  <a:lnTo>
                    <a:pt x="9141" y="2045"/>
                  </a:lnTo>
                  <a:cubicBezTo>
                    <a:pt x="11164" y="2880"/>
                    <a:pt x="12127" y="5196"/>
                    <a:pt x="11292" y="7219"/>
                  </a:cubicBezTo>
                  <a:cubicBezTo>
                    <a:pt x="10652" y="8771"/>
                    <a:pt x="9103" y="9751"/>
                    <a:pt x="7426" y="9665"/>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8" name="Freeform: Shape 1417">
              <a:extLst>
                <a:ext uri="{FF2B5EF4-FFF2-40B4-BE49-F238E27FC236}">
                  <a16:creationId xmlns:a16="http://schemas.microsoft.com/office/drawing/2014/main" id="{334A2C3F-70DC-69C5-7520-9A38B34C4E26}"/>
                </a:ext>
              </a:extLst>
            </p:cNvPr>
            <p:cNvSpPr/>
            <p:nvPr/>
          </p:nvSpPr>
          <p:spPr>
            <a:xfrm>
              <a:off x="9976451" y="3093733"/>
              <a:ext cx="10213" cy="10977"/>
            </a:xfrm>
            <a:custGeom>
              <a:avLst/>
              <a:gdLst>
                <a:gd name="connsiteX0" fmla="*/ 6262 w 10213"/>
                <a:gd name="connsiteY0" fmla="*/ 10977 h 10977"/>
                <a:gd name="connsiteX1" fmla="*/ 3081 w 10213"/>
                <a:gd name="connsiteY1" fmla="*/ 9396 h 10977"/>
                <a:gd name="connsiteX2" fmla="*/ 795 w 10213"/>
                <a:gd name="connsiteY2" fmla="*/ 6348 h 10977"/>
                <a:gd name="connsiteX3" fmla="*/ 1585 w 10213"/>
                <a:gd name="connsiteY3" fmla="*/ 795 h 10977"/>
                <a:gd name="connsiteX4" fmla="*/ 7138 w 10213"/>
                <a:gd name="connsiteY4" fmla="*/ 1585 h 10977"/>
                <a:gd name="connsiteX5" fmla="*/ 9424 w 10213"/>
                <a:gd name="connsiteY5" fmla="*/ 4633 h 10977"/>
                <a:gd name="connsiteX6" fmla="*/ 8624 w 10213"/>
                <a:gd name="connsiteY6" fmla="*/ 10196 h 10977"/>
                <a:gd name="connsiteX7" fmla="*/ 6262 w 10213"/>
                <a:gd name="connsiteY7" fmla="*/ 10977 h 1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13" h="10977">
                  <a:moveTo>
                    <a:pt x="6262" y="10977"/>
                  </a:moveTo>
                  <a:cubicBezTo>
                    <a:pt x="5010" y="10988"/>
                    <a:pt x="3828" y="10400"/>
                    <a:pt x="3081" y="9396"/>
                  </a:cubicBezTo>
                  <a:lnTo>
                    <a:pt x="795" y="6348"/>
                  </a:lnTo>
                  <a:cubicBezTo>
                    <a:pt x="-521" y="4596"/>
                    <a:pt x="-167" y="2110"/>
                    <a:pt x="1585" y="795"/>
                  </a:cubicBezTo>
                  <a:cubicBezTo>
                    <a:pt x="3337" y="-521"/>
                    <a:pt x="5823" y="-167"/>
                    <a:pt x="7138" y="1585"/>
                  </a:cubicBezTo>
                  <a:lnTo>
                    <a:pt x="9424" y="4633"/>
                  </a:lnTo>
                  <a:cubicBezTo>
                    <a:pt x="10735" y="6391"/>
                    <a:pt x="10377" y="8878"/>
                    <a:pt x="8624" y="10196"/>
                  </a:cubicBezTo>
                  <a:cubicBezTo>
                    <a:pt x="7946" y="10713"/>
                    <a:pt x="7115" y="10988"/>
                    <a:pt x="6262" y="1097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19" name="Freeform: Shape 1418">
              <a:extLst>
                <a:ext uri="{FF2B5EF4-FFF2-40B4-BE49-F238E27FC236}">
                  <a16:creationId xmlns:a16="http://schemas.microsoft.com/office/drawing/2014/main" id="{1F8C5334-3344-3A80-4828-CE0D32416471}"/>
                </a:ext>
              </a:extLst>
            </p:cNvPr>
            <p:cNvSpPr/>
            <p:nvPr/>
          </p:nvSpPr>
          <p:spPr>
            <a:xfrm>
              <a:off x="10025794" y="3120017"/>
              <a:ext cx="11395" cy="9229"/>
            </a:xfrm>
            <a:custGeom>
              <a:avLst/>
              <a:gdLst>
                <a:gd name="connsiteX0" fmla="*/ 7630 w 11395"/>
                <a:gd name="connsiteY0" fmla="*/ 9229 h 9229"/>
                <a:gd name="connsiteX1" fmla="*/ 6297 w 11395"/>
                <a:gd name="connsiteY1" fmla="*/ 9001 h 9229"/>
                <a:gd name="connsiteX2" fmla="*/ 2715 w 11395"/>
                <a:gd name="connsiteY2" fmla="*/ 7724 h 9229"/>
                <a:gd name="connsiteX3" fmla="*/ 203 w 11395"/>
                <a:gd name="connsiteY3" fmla="*/ 2715 h 9229"/>
                <a:gd name="connsiteX4" fmla="*/ 5212 w 11395"/>
                <a:gd name="connsiteY4" fmla="*/ 203 h 9229"/>
                <a:gd name="connsiteX5" fmla="*/ 5363 w 11395"/>
                <a:gd name="connsiteY5" fmla="*/ 257 h 9229"/>
                <a:gd name="connsiteX6" fmla="*/ 8945 w 11395"/>
                <a:gd name="connsiteY6" fmla="*/ 1533 h 9229"/>
                <a:gd name="connsiteX7" fmla="*/ 11095 w 11395"/>
                <a:gd name="connsiteY7" fmla="*/ 6707 h 9229"/>
                <a:gd name="connsiteX8" fmla="*/ 7630 w 11395"/>
                <a:gd name="connsiteY8" fmla="*/ 9153 h 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95" h="9229">
                  <a:moveTo>
                    <a:pt x="7630" y="9229"/>
                  </a:moveTo>
                  <a:cubicBezTo>
                    <a:pt x="7176" y="9227"/>
                    <a:pt x="6725" y="9150"/>
                    <a:pt x="6297" y="9001"/>
                  </a:cubicBezTo>
                  <a:lnTo>
                    <a:pt x="2715" y="7724"/>
                  </a:lnTo>
                  <a:cubicBezTo>
                    <a:pt x="638" y="7035"/>
                    <a:pt x="-487" y="4792"/>
                    <a:pt x="203" y="2715"/>
                  </a:cubicBezTo>
                  <a:cubicBezTo>
                    <a:pt x="892" y="638"/>
                    <a:pt x="3135" y="-487"/>
                    <a:pt x="5212" y="203"/>
                  </a:cubicBezTo>
                  <a:cubicBezTo>
                    <a:pt x="5263" y="220"/>
                    <a:pt x="5313" y="238"/>
                    <a:pt x="5363" y="257"/>
                  </a:cubicBezTo>
                  <a:lnTo>
                    <a:pt x="8945" y="1533"/>
                  </a:lnTo>
                  <a:cubicBezTo>
                    <a:pt x="10967" y="2368"/>
                    <a:pt x="11930" y="4685"/>
                    <a:pt x="11095" y="6707"/>
                  </a:cubicBezTo>
                  <a:cubicBezTo>
                    <a:pt x="10510" y="8124"/>
                    <a:pt x="9161" y="9077"/>
                    <a:pt x="7630" y="9153"/>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0" name="Freeform: Shape 1419">
              <a:extLst>
                <a:ext uri="{FF2B5EF4-FFF2-40B4-BE49-F238E27FC236}">
                  <a16:creationId xmlns:a16="http://schemas.microsoft.com/office/drawing/2014/main" id="{3FDB8AB6-7427-6CD1-BC84-E03CB65680C5}"/>
                </a:ext>
              </a:extLst>
            </p:cNvPr>
            <p:cNvSpPr/>
            <p:nvPr/>
          </p:nvSpPr>
          <p:spPr>
            <a:xfrm>
              <a:off x="10004758" y="3119393"/>
              <a:ext cx="11493" cy="9986"/>
            </a:xfrm>
            <a:custGeom>
              <a:avLst/>
              <a:gdLst>
                <a:gd name="connsiteX0" fmla="*/ 7577 w 11493"/>
                <a:gd name="connsiteY0" fmla="*/ 9986 h 9986"/>
                <a:gd name="connsiteX1" fmla="*/ 5672 w 11493"/>
                <a:gd name="connsiteY1" fmla="*/ 9491 h 9986"/>
                <a:gd name="connsiteX2" fmla="*/ 2358 w 11493"/>
                <a:gd name="connsiteY2" fmla="*/ 7586 h 9986"/>
                <a:gd name="connsiteX3" fmla="*/ 341 w 11493"/>
                <a:gd name="connsiteY3" fmla="*/ 2358 h 9986"/>
                <a:gd name="connsiteX4" fmla="*/ 5569 w 11493"/>
                <a:gd name="connsiteY4" fmla="*/ 341 h 9986"/>
                <a:gd name="connsiteX5" fmla="*/ 6168 w 11493"/>
                <a:gd name="connsiteY5" fmla="*/ 671 h 9986"/>
                <a:gd name="connsiteX6" fmla="*/ 9482 w 11493"/>
                <a:gd name="connsiteY6" fmla="*/ 2576 h 9986"/>
                <a:gd name="connsiteX7" fmla="*/ 10979 w 11493"/>
                <a:gd name="connsiteY7" fmla="*/ 7976 h 9986"/>
                <a:gd name="connsiteX8" fmla="*/ 7577 w 11493"/>
                <a:gd name="connsiteY8" fmla="*/ 9986 h 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3" h="9986">
                  <a:moveTo>
                    <a:pt x="7577" y="9986"/>
                  </a:moveTo>
                  <a:cubicBezTo>
                    <a:pt x="6911" y="9986"/>
                    <a:pt x="6255" y="9815"/>
                    <a:pt x="5672" y="9491"/>
                  </a:cubicBezTo>
                  <a:lnTo>
                    <a:pt x="2358" y="7586"/>
                  </a:lnTo>
                  <a:cubicBezTo>
                    <a:pt x="357" y="6699"/>
                    <a:pt x="-546" y="4358"/>
                    <a:pt x="341" y="2358"/>
                  </a:cubicBezTo>
                  <a:cubicBezTo>
                    <a:pt x="1228" y="357"/>
                    <a:pt x="3569" y="-546"/>
                    <a:pt x="5569" y="341"/>
                  </a:cubicBezTo>
                  <a:cubicBezTo>
                    <a:pt x="5778" y="433"/>
                    <a:pt x="5978" y="544"/>
                    <a:pt x="6168" y="671"/>
                  </a:cubicBezTo>
                  <a:lnTo>
                    <a:pt x="9482" y="2576"/>
                  </a:lnTo>
                  <a:cubicBezTo>
                    <a:pt x="11387" y="3654"/>
                    <a:pt x="12057" y="6071"/>
                    <a:pt x="10979" y="7976"/>
                  </a:cubicBezTo>
                  <a:cubicBezTo>
                    <a:pt x="10284" y="9204"/>
                    <a:pt x="8988" y="9969"/>
                    <a:pt x="7577" y="998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1" name="Freeform: Shape 1420">
              <a:extLst>
                <a:ext uri="{FF2B5EF4-FFF2-40B4-BE49-F238E27FC236}">
                  <a16:creationId xmlns:a16="http://schemas.microsoft.com/office/drawing/2014/main" id="{9A9B9B9B-C361-5EFD-9D3C-80463FCA9272}"/>
                </a:ext>
              </a:extLst>
            </p:cNvPr>
            <p:cNvSpPr/>
            <p:nvPr/>
          </p:nvSpPr>
          <p:spPr>
            <a:xfrm>
              <a:off x="10015210" y="3106431"/>
              <a:ext cx="11901" cy="8225"/>
            </a:xfrm>
            <a:custGeom>
              <a:avLst/>
              <a:gdLst>
                <a:gd name="connsiteX0" fmla="*/ 7775 w 11901"/>
                <a:gd name="connsiteY0" fmla="*/ 8203 h 8225"/>
                <a:gd name="connsiteX1" fmla="*/ 7470 w 11901"/>
                <a:gd name="connsiteY1" fmla="*/ 8203 h 8225"/>
                <a:gd name="connsiteX2" fmla="*/ 3660 w 11901"/>
                <a:gd name="connsiteY2" fmla="*/ 7918 h 8225"/>
                <a:gd name="connsiteX3" fmla="*/ 12 w 11901"/>
                <a:gd name="connsiteY3" fmla="*/ 3660 h 8225"/>
                <a:gd name="connsiteX4" fmla="*/ 4270 w 11901"/>
                <a:gd name="connsiteY4" fmla="*/ 12 h 8225"/>
                <a:gd name="connsiteX5" fmla="*/ 8080 w 11901"/>
                <a:gd name="connsiteY5" fmla="*/ 298 h 8225"/>
                <a:gd name="connsiteX6" fmla="*/ 11899 w 11901"/>
                <a:gd name="connsiteY6" fmla="*/ 4403 h 8225"/>
                <a:gd name="connsiteX7" fmla="*/ 7794 w 11901"/>
                <a:gd name="connsiteY7" fmla="*/ 8222 h 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1" h="8225">
                  <a:moveTo>
                    <a:pt x="7775" y="8203"/>
                  </a:moveTo>
                  <a:lnTo>
                    <a:pt x="7470" y="8203"/>
                  </a:lnTo>
                  <a:lnTo>
                    <a:pt x="3660" y="7918"/>
                  </a:lnTo>
                  <a:cubicBezTo>
                    <a:pt x="1477" y="7749"/>
                    <a:pt x="-156" y="5843"/>
                    <a:pt x="12" y="3660"/>
                  </a:cubicBezTo>
                  <a:cubicBezTo>
                    <a:pt x="180" y="1477"/>
                    <a:pt x="2086" y="-156"/>
                    <a:pt x="4270" y="12"/>
                  </a:cubicBezTo>
                  <a:lnTo>
                    <a:pt x="8080" y="298"/>
                  </a:lnTo>
                  <a:cubicBezTo>
                    <a:pt x="10268" y="377"/>
                    <a:pt x="11978" y="2215"/>
                    <a:pt x="11899" y="4403"/>
                  </a:cubicBezTo>
                  <a:cubicBezTo>
                    <a:pt x="11820" y="6591"/>
                    <a:pt x="9982" y="8301"/>
                    <a:pt x="7794" y="822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2" name="Freeform: Shape 1421">
              <a:extLst>
                <a:ext uri="{FF2B5EF4-FFF2-40B4-BE49-F238E27FC236}">
                  <a16:creationId xmlns:a16="http://schemas.microsoft.com/office/drawing/2014/main" id="{49B63BE8-4FF5-E90E-4DBC-248826BDA1BB}"/>
                </a:ext>
              </a:extLst>
            </p:cNvPr>
            <p:cNvSpPr/>
            <p:nvPr/>
          </p:nvSpPr>
          <p:spPr>
            <a:xfrm>
              <a:off x="9928256" y="3212409"/>
              <a:ext cx="246184" cy="10211"/>
            </a:xfrm>
            <a:custGeom>
              <a:avLst/>
              <a:gdLst>
                <a:gd name="connsiteX0" fmla="*/ 240766 w 246184"/>
                <a:gd name="connsiteY0" fmla="*/ 10201 h 10211"/>
                <a:gd name="connsiteX1" fmla="*/ 4794 w 246184"/>
                <a:gd name="connsiteY1" fmla="*/ 10201 h 10211"/>
                <a:gd name="connsiteX2" fmla="*/ 10 w 246184"/>
                <a:gd name="connsiteY2" fmla="*/ 4793 h 10211"/>
                <a:gd name="connsiteX3" fmla="*/ 4794 w 246184"/>
                <a:gd name="connsiteY3" fmla="*/ 10 h 10211"/>
                <a:gd name="connsiteX4" fmla="*/ 240766 w 246184"/>
                <a:gd name="connsiteY4" fmla="*/ 10 h 10211"/>
                <a:gd name="connsiteX5" fmla="*/ 246174 w 246184"/>
                <a:gd name="connsiteY5" fmla="*/ 4793 h 10211"/>
                <a:gd name="connsiteX6" fmla="*/ 241389 w 246184"/>
                <a:gd name="connsiteY6" fmla="*/ 10201 h 10211"/>
                <a:gd name="connsiteX7" fmla="*/ 240766 w 246184"/>
                <a:gd name="connsiteY7" fmla="*/ 10201 h 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184" h="10211">
                  <a:moveTo>
                    <a:pt x="240766" y="10201"/>
                  </a:moveTo>
                  <a:lnTo>
                    <a:pt x="4794" y="10201"/>
                  </a:lnTo>
                  <a:cubicBezTo>
                    <a:pt x="1979" y="10030"/>
                    <a:pt x="-162" y="7609"/>
                    <a:pt x="10" y="4793"/>
                  </a:cubicBezTo>
                  <a:cubicBezTo>
                    <a:pt x="167" y="2219"/>
                    <a:pt x="2220" y="168"/>
                    <a:pt x="4794" y="10"/>
                  </a:cubicBezTo>
                  <a:lnTo>
                    <a:pt x="240766" y="10"/>
                  </a:lnTo>
                  <a:cubicBezTo>
                    <a:pt x="243580" y="-162"/>
                    <a:pt x="246001" y="1979"/>
                    <a:pt x="246174" y="4793"/>
                  </a:cubicBezTo>
                  <a:cubicBezTo>
                    <a:pt x="246346" y="7609"/>
                    <a:pt x="244205" y="10030"/>
                    <a:pt x="241389" y="10201"/>
                  </a:cubicBezTo>
                  <a:cubicBezTo>
                    <a:pt x="241181" y="10215"/>
                    <a:pt x="240974" y="10215"/>
                    <a:pt x="240766" y="10201"/>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3" name="Freeform: Shape 1422">
              <a:extLst>
                <a:ext uri="{FF2B5EF4-FFF2-40B4-BE49-F238E27FC236}">
                  <a16:creationId xmlns:a16="http://schemas.microsoft.com/office/drawing/2014/main" id="{2DB533C8-02BC-8013-4C08-50C231D90EA4}"/>
                </a:ext>
              </a:extLst>
            </p:cNvPr>
            <p:cNvSpPr/>
            <p:nvPr/>
          </p:nvSpPr>
          <p:spPr>
            <a:xfrm>
              <a:off x="10059218" y="3083012"/>
              <a:ext cx="99898" cy="119595"/>
            </a:xfrm>
            <a:custGeom>
              <a:avLst/>
              <a:gdLst>
                <a:gd name="connsiteX0" fmla="*/ 99898 w 99898"/>
                <a:gd name="connsiteY0" fmla="*/ 119596 h 119595"/>
                <a:gd name="connsiteX1" fmla="*/ 0 w 99898"/>
                <a:gd name="connsiteY1" fmla="*/ 119596 h 119595"/>
                <a:gd name="connsiteX2" fmla="*/ 0 w 99898"/>
                <a:gd name="connsiteY2" fmla="*/ 94450 h 119595"/>
                <a:gd name="connsiteX3" fmla="*/ 35947 w 99898"/>
                <a:gd name="connsiteY3" fmla="*/ 83877 h 119595"/>
                <a:gd name="connsiteX4" fmla="*/ 35947 w 99898"/>
                <a:gd name="connsiteY4" fmla="*/ 18440 h 119595"/>
                <a:gd name="connsiteX5" fmla="*/ 54388 w 99898"/>
                <a:gd name="connsiteY5" fmla="*/ 0 h 119595"/>
                <a:gd name="connsiteX6" fmla="*/ 81458 w 99898"/>
                <a:gd name="connsiteY6" fmla="*/ 0 h 119595"/>
                <a:gd name="connsiteX7" fmla="*/ 99898 w 99898"/>
                <a:gd name="connsiteY7" fmla="*/ 18440 h 119595"/>
                <a:gd name="connsiteX8" fmla="*/ 10192 w 99898"/>
                <a:gd name="connsiteY8" fmla="*/ 109404 h 119595"/>
                <a:gd name="connsiteX9" fmla="*/ 89706 w 99898"/>
                <a:gd name="connsiteY9" fmla="*/ 109404 h 119595"/>
                <a:gd name="connsiteX10" fmla="*/ 89706 w 99898"/>
                <a:gd name="connsiteY10" fmla="*/ 18440 h 119595"/>
                <a:gd name="connsiteX11" fmla="*/ 81458 w 99898"/>
                <a:gd name="connsiteY11" fmla="*/ 10192 h 119595"/>
                <a:gd name="connsiteX12" fmla="*/ 54388 w 99898"/>
                <a:gd name="connsiteY12" fmla="*/ 10192 h 119595"/>
                <a:gd name="connsiteX13" fmla="*/ 46139 w 99898"/>
                <a:gd name="connsiteY13" fmla="*/ 18440 h 119595"/>
                <a:gd name="connsiteX14" fmla="*/ 46139 w 99898"/>
                <a:gd name="connsiteY14" fmla="*/ 91421 h 119595"/>
                <a:gd name="connsiteX15" fmla="*/ 10192 w 99898"/>
                <a:gd name="connsiteY15" fmla="*/ 101994 h 11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898" h="119595">
                  <a:moveTo>
                    <a:pt x="99898" y="119596"/>
                  </a:moveTo>
                  <a:lnTo>
                    <a:pt x="0" y="119596"/>
                  </a:lnTo>
                  <a:lnTo>
                    <a:pt x="0" y="94450"/>
                  </a:lnTo>
                  <a:lnTo>
                    <a:pt x="35947" y="83877"/>
                  </a:lnTo>
                  <a:lnTo>
                    <a:pt x="35947" y="18440"/>
                  </a:lnTo>
                  <a:cubicBezTo>
                    <a:pt x="35958" y="8260"/>
                    <a:pt x="44208" y="10"/>
                    <a:pt x="54388" y="0"/>
                  </a:cubicBezTo>
                  <a:lnTo>
                    <a:pt x="81458" y="0"/>
                  </a:lnTo>
                  <a:cubicBezTo>
                    <a:pt x="91638" y="10"/>
                    <a:pt x="99887" y="8260"/>
                    <a:pt x="99898" y="18440"/>
                  </a:cubicBezTo>
                  <a:close/>
                  <a:moveTo>
                    <a:pt x="10192" y="109404"/>
                  </a:moveTo>
                  <a:lnTo>
                    <a:pt x="89706" y="109404"/>
                  </a:lnTo>
                  <a:lnTo>
                    <a:pt x="89706" y="18440"/>
                  </a:lnTo>
                  <a:cubicBezTo>
                    <a:pt x="89706" y="13885"/>
                    <a:pt x="86013" y="10192"/>
                    <a:pt x="81458" y="10192"/>
                  </a:cubicBezTo>
                  <a:lnTo>
                    <a:pt x="54388" y="10192"/>
                  </a:lnTo>
                  <a:cubicBezTo>
                    <a:pt x="49837" y="10202"/>
                    <a:pt x="46149" y="13889"/>
                    <a:pt x="46139" y="18440"/>
                  </a:cubicBezTo>
                  <a:lnTo>
                    <a:pt x="46139" y="91421"/>
                  </a:lnTo>
                  <a:lnTo>
                    <a:pt x="10192" y="101994"/>
                  </a:ln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4" name="Freeform: Shape 1423">
              <a:extLst>
                <a:ext uri="{FF2B5EF4-FFF2-40B4-BE49-F238E27FC236}">
                  <a16:creationId xmlns:a16="http://schemas.microsoft.com/office/drawing/2014/main" id="{22817DD4-5B2F-DA30-93D1-606D8E45AE10}"/>
                </a:ext>
              </a:extLst>
            </p:cNvPr>
            <p:cNvSpPr/>
            <p:nvPr/>
          </p:nvSpPr>
          <p:spPr>
            <a:xfrm>
              <a:off x="10065438" y="3194275"/>
              <a:ext cx="10211" cy="23725"/>
            </a:xfrm>
            <a:custGeom>
              <a:avLst/>
              <a:gdLst>
                <a:gd name="connsiteX0" fmla="*/ 5096 w 10211"/>
                <a:gd name="connsiteY0" fmla="*/ 23725 h 23725"/>
                <a:gd name="connsiteX1" fmla="*/ 10 w 10211"/>
                <a:gd name="connsiteY1" fmla="*/ 18677 h 23725"/>
                <a:gd name="connsiteX2" fmla="*/ 10 w 10211"/>
                <a:gd name="connsiteY2" fmla="*/ 18639 h 23725"/>
                <a:gd name="connsiteX3" fmla="*/ 10 w 10211"/>
                <a:gd name="connsiteY3" fmla="*/ 5418 h 23725"/>
                <a:gd name="connsiteX4" fmla="*/ 4794 w 10211"/>
                <a:gd name="connsiteY4" fmla="*/ 10 h 23725"/>
                <a:gd name="connsiteX5" fmla="*/ 10201 w 10211"/>
                <a:gd name="connsiteY5" fmla="*/ 4795 h 23725"/>
                <a:gd name="connsiteX6" fmla="*/ 10201 w 10211"/>
                <a:gd name="connsiteY6" fmla="*/ 5418 h 23725"/>
                <a:gd name="connsiteX7" fmla="*/ 10201 w 10211"/>
                <a:gd name="connsiteY7" fmla="*/ 18639 h 23725"/>
                <a:gd name="connsiteX8" fmla="*/ 5115 w 10211"/>
                <a:gd name="connsiteY8" fmla="*/ 23725 h 23725"/>
                <a:gd name="connsiteX9" fmla="*/ 5096 w 10211"/>
                <a:gd name="connsiteY9" fmla="*/ 23725 h 2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1" h="23725">
                  <a:moveTo>
                    <a:pt x="5096" y="23725"/>
                  </a:moveTo>
                  <a:cubicBezTo>
                    <a:pt x="2297" y="23736"/>
                    <a:pt x="20" y="21475"/>
                    <a:pt x="10" y="18677"/>
                  </a:cubicBezTo>
                  <a:cubicBezTo>
                    <a:pt x="10" y="18663"/>
                    <a:pt x="10" y="18652"/>
                    <a:pt x="10" y="18639"/>
                  </a:cubicBezTo>
                  <a:lnTo>
                    <a:pt x="10" y="5418"/>
                  </a:lnTo>
                  <a:cubicBezTo>
                    <a:pt x="-163" y="2604"/>
                    <a:pt x="1979" y="183"/>
                    <a:pt x="4794" y="10"/>
                  </a:cubicBezTo>
                  <a:cubicBezTo>
                    <a:pt x="7608" y="-162"/>
                    <a:pt x="10029" y="1979"/>
                    <a:pt x="10201" y="4795"/>
                  </a:cubicBezTo>
                  <a:cubicBezTo>
                    <a:pt x="10214" y="5003"/>
                    <a:pt x="10214" y="5210"/>
                    <a:pt x="10201" y="5418"/>
                  </a:cubicBezTo>
                  <a:lnTo>
                    <a:pt x="10201" y="18639"/>
                  </a:lnTo>
                  <a:cubicBezTo>
                    <a:pt x="10201" y="21448"/>
                    <a:pt x="7924" y="23725"/>
                    <a:pt x="5115" y="23725"/>
                  </a:cubicBezTo>
                  <a:cubicBezTo>
                    <a:pt x="5109" y="23725"/>
                    <a:pt x="5102" y="23725"/>
                    <a:pt x="5096" y="23725"/>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5" name="Freeform: Shape 1424">
              <a:extLst>
                <a:ext uri="{FF2B5EF4-FFF2-40B4-BE49-F238E27FC236}">
                  <a16:creationId xmlns:a16="http://schemas.microsoft.com/office/drawing/2014/main" id="{7D435441-B747-50C4-6515-81D10412450B}"/>
                </a:ext>
              </a:extLst>
            </p:cNvPr>
            <p:cNvSpPr/>
            <p:nvPr/>
          </p:nvSpPr>
          <p:spPr>
            <a:xfrm>
              <a:off x="10141514" y="3194587"/>
              <a:ext cx="10210" cy="23412"/>
            </a:xfrm>
            <a:custGeom>
              <a:avLst/>
              <a:gdLst>
                <a:gd name="connsiteX0" fmla="*/ 5105 w 10210"/>
                <a:gd name="connsiteY0" fmla="*/ 23412 h 23412"/>
                <a:gd name="connsiteX1" fmla="*/ 0 w 10210"/>
                <a:gd name="connsiteY1" fmla="*/ 18345 h 23412"/>
                <a:gd name="connsiteX2" fmla="*/ 0 w 10210"/>
                <a:gd name="connsiteY2" fmla="*/ 18326 h 23412"/>
                <a:gd name="connsiteX3" fmla="*/ 0 w 10210"/>
                <a:gd name="connsiteY3" fmla="*/ 5105 h 23412"/>
                <a:gd name="connsiteX4" fmla="*/ 5105 w 10210"/>
                <a:gd name="connsiteY4" fmla="*/ 0 h 23412"/>
                <a:gd name="connsiteX5" fmla="*/ 10211 w 10210"/>
                <a:gd name="connsiteY5" fmla="*/ 5105 h 23412"/>
                <a:gd name="connsiteX6" fmla="*/ 10211 w 10210"/>
                <a:gd name="connsiteY6" fmla="*/ 18326 h 23412"/>
                <a:gd name="connsiteX7" fmla="*/ 5124 w 10210"/>
                <a:gd name="connsiteY7" fmla="*/ 23412 h 23412"/>
                <a:gd name="connsiteX8" fmla="*/ 5105 w 10210"/>
                <a:gd name="connsiteY8" fmla="*/ 23412 h 2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10" h="23412">
                  <a:moveTo>
                    <a:pt x="5105" y="23412"/>
                  </a:moveTo>
                  <a:cubicBezTo>
                    <a:pt x="2296" y="23424"/>
                    <a:pt x="11" y="21155"/>
                    <a:pt x="0" y="18345"/>
                  </a:cubicBezTo>
                  <a:cubicBezTo>
                    <a:pt x="0" y="18339"/>
                    <a:pt x="0" y="18332"/>
                    <a:pt x="0" y="18326"/>
                  </a:cubicBezTo>
                  <a:lnTo>
                    <a:pt x="0" y="5105"/>
                  </a:lnTo>
                  <a:cubicBezTo>
                    <a:pt x="0" y="2286"/>
                    <a:pt x="2286" y="0"/>
                    <a:pt x="5105" y="0"/>
                  </a:cubicBezTo>
                  <a:cubicBezTo>
                    <a:pt x="7925" y="0"/>
                    <a:pt x="10211" y="2286"/>
                    <a:pt x="10211" y="5105"/>
                  </a:cubicBezTo>
                  <a:lnTo>
                    <a:pt x="10211" y="18326"/>
                  </a:lnTo>
                  <a:cubicBezTo>
                    <a:pt x="10211" y="21136"/>
                    <a:pt x="7934" y="23412"/>
                    <a:pt x="5124" y="23412"/>
                  </a:cubicBezTo>
                  <a:cubicBezTo>
                    <a:pt x="5119" y="23412"/>
                    <a:pt x="5111" y="23412"/>
                    <a:pt x="5105" y="23412"/>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6" name="Freeform: Shape 1425">
              <a:extLst>
                <a:ext uri="{FF2B5EF4-FFF2-40B4-BE49-F238E27FC236}">
                  <a16:creationId xmlns:a16="http://schemas.microsoft.com/office/drawing/2014/main" id="{AA3961FE-B48D-C81D-9BF9-04BE64D1462B}"/>
                </a:ext>
              </a:extLst>
            </p:cNvPr>
            <p:cNvSpPr/>
            <p:nvPr/>
          </p:nvSpPr>
          <p:spPr>
            <a:xfrm>
              <a:off x="10094853" y="3165507"/>
              <a:ext cx="33542" cy="10211"/>
            </a:xfrm>
            <a:custGeom>
              <a:avLst/>
              <a:gdLst>
                <a:gd name="connsiteX0" fmla="*/ 28125 w 33542"/>
                <a:gd name="connsiteY0" fmla="*/ 10201 h 10211"/>
                <a:gd name="connsiteX1" fmla="*/ 5417 w 33542"/>
                <a:gd name="connsiteY1" fmla="*/ 10201 h 10211"/>
                <a:gd name="connsiteX2" fmla="*/ 10 w 33542"/>
                <a:gd name="connsiteY2" fmla="*/ 5417 h 10211"/>
                <a:gd name="connsiteX3" fmla="*/ 4794 w 33542"/>
                <a:gd name="connsiteY3" fmla="*/ 10 h 10211"/>
                <a:gd name="connsiteX4" fmla="*/ 5417 w 33542"/>
                <a:gd name="connsiteY4" fmla="*/ 10 h 10211"/>
                <a:gd name="connsiteX5" fmla="*/ 28125 w 33542"/>
                <a:gd name="connsiteY5" fmla="*/ 10 h 10211"/>
                <a:gd name="connsiteX6" fmla="*/ 33533 w 33542"/>
                <a:gd name="connsiteY6" fmla="*/ 4794 h 10211"/>
                <a:gd name="connsiteX7" fmla="*/ 28748 w 33542"/>
                <a:gd name="connsiteY7" fmla="*/ 10201 h 10211"/>
                <a:gd name="connsiteX8" fmla="*/ 28125 w 33542"/>
                <a:gd name="connsiteY8" fmla="*/ 10201 h 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42" h="10211">
                  <a:moveTo>
                    <a:pt x="28125" y="10201"/>
                  </a:moveTo>
                  <a:lnTo>
                    <a:pt x="5417" y="10201"/>
                  </a:lnTo>
                  <a:cubicBezTo>
                    <a:pt x="2603" y="10373"/>
                    <a:pt x="182" y="8232"/>
                    <a:pt x="10" y="5417"/>
                  </a:cubicBezTo>
                  <a:cubicBezTo>
                    <a:pt x="-163" y="2603"/>
                    <a:pt x="1979" y="182"/>
                    <a:pt x="4794" y="10"/>
                  </a:cubicBezTo>
                  <a:cubicBezTo>
                    <a:pt x="5001" y="-3"/>
                    <a:pt x="5210" y="-3"/>
                    <a:pt x="5417" y="10"/>
                  </a:cubicBezTo>
                  <a:lnTo>
                    <a:pt x="28125" y="10"/>
                  </a:lnTo>
                  <a:cubicBezTo>
                    <a:pt x="30939" y="-163"/>
                    <a:pt x="33360" y="1979"/>
                    <a:pt x="33533" y="4794"/>
                  </a:cubicBezTo>
                  <a:cubicBezTo>
                    <a:pt x="33705" y="7608"/>
                    <a:pt x="31563" y="10030"/>
                    <a:pt x="28748" y="10201"/>
                  </a:cubicBezTo>
                  <a:cubicBezTo>
                    <a:pt x="28540" y="10215"/>
                    <a:pt x="28332" y="10215"/>
                    <a:pt x="28125" y="10201"/>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7" name="Freeform: Shape 1426">
              <a:extLst>
                <a:ext uri="{FF2B5EF4-FFF2-40B4-BE49-F238E27FC236}">
                  <a16:creationId xmlns:a16="http://schemas.microsoft.com/office/drawing/2014/main" id="{6C2A52C5-36C1-B236-51BD-E859F2C60DDA}"/>
                </a:ext>
              </a:extLst>
            </p:cNvPr>
            <p:cNvSpPr/>
            <p:nvPr/>
          </p:nvSpPr>
          <p:spPr>
            <a:xfrm>
              <a:off x="10122369" y="3102252"/>
              <a:ext cx="10210" cy="12096"/>
            </a:xfrm>
            <a:custGeom>
              <a:avLst/>
              <a:gdLst>
                <a:gd name="connsiteX0" fmla="*/ 5105 w 10210"/>
                <a:gd name="connsiteY0" fmla="*/ 12097 h 12096"/>
                <a:gd name="connsiteX1" fmla="*/ 0 w 10210"/>
                <a:gd name="connsiteY1" fmla="*/ 7010 h 12096"/>
                <a:gd name="connsiteX2" fmla="*/ 0 w 10210"/>
                <a:gd name="connsiteY2" fmla="*/ 5105 h 12096"/>
                <a:gd name="connsiteX3" fmla="*/ 5105 w 10210"/>
                <a:gd name="connsiteY3" fmla="*/ 0 h 12096"/>
                <a:gd name="connsiteX4" fmla="*/ 10211 w 10210"/>
                <a:gd name="connsiteY4" fmla="*/ 5105 h 12096"/>
                <a:gd name="connsiteX5" fmla="*/ 10211 w 10210"/>
                <a:gd name="connsiteY5" fmla="*/ 7010 h 12096"/>
                <a:gd name="connsiteX6" fmla="*/ 5105 w 10210"/>
                <a:gd name="connsiteY6" fmla="*/ 12097 h 1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10" h="12096">
                  <a:moveTo>
                    <a:pt x="5105" y="12097"/>
                  </a:moveTo>
                  <a:cubicBezTo>
                    <a:pt x="2294" y="12097"/>
                    <a:pt x="11" y="9823"/>
                    <a:pt x="0" y="7010"/>
                  </a:cubicBezTo>
                  <a:lnTo>
                    <a:pt x="0" y="5105"/>
                  </a:lnTo>
                  <a:cubicBezTo>
                    <a:pt x="0" y="2286"/>
                    <a:pt x="2286" y="0"/>
                    <a:pt x="5105" y="0"/>
                  </a:cubicBezTo>
                  <a:cubicBezTo>
                    <a:pt x="7925" y="0"/>
                    <a:pt x="10211" y="2286"/>
                    <a:pt x="10211" y="5105"/>
                  </a:cubicBezTo>
                  <a:lnTo>
                    <a:pt x="10211" y="7010"/>
                  </a:lnTo>
                  <a:cubicBezTo>
                    <a:pt x="10199" y="9823"/>
                    <a:pt x="7917" y="12097"/>
                    <a:pt x="5105" y="1209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8" name="Freeform: Shape 1427">
              <a:extLst>
                <a:ext uri="{FF2B5EF4-FFF2-40B4-BE49-F238E27FC236}">
                  <a16:creationId xmlns:a16="http://schemas.microsoft.com/office/drawing/2014/main" id="{CD5436B4-A414-3537-FC6E-4AC8C33D0AE0}"/>
                </a:ext>
              </a:extLst>
            </p:cNvPr>
            <p:cNvSpPr/>
            <p:nvPr/>
          </p:nvSpPr>
          <p:spPr>
            <a:xfrm>
              <a:off x="10122369" y="3121912"/>
              <a:ext cx="10210" cy="12115"/>
            </a:xfrm>
            <a:custGeom>
              <a:avLst/>
              <a:gdLst>
                <a:gd name="connsiteX0" fmla="*/ 5105 w 10210"/>
                <a:gd name="connsiteY0" fmla="*/ 12116 h 12115"/>
                <a:gd name="connsiteX1" fmla="*/ 0 w 10210"/>
                <a:gd name="connsiteY1" fmla="*/ 7010 h 12115"/>
                <a:gd name="connsiteX2" fmla="*/ 0 w 10210"/>
                <a:gd name="connsiteY2" fmla="*/ 5105 h 12115"/>
                <a:gd name="connsiteX3" fmla="*/ 5105 w 10210"/>
                <a:gd name="connsiteY3" fmla="*/ 0 h 12115"/>
                <a:gd name="connsiteX4" fmla="*/ 10211 w 10210"/>
                <a:gd name="connsiteY4" fmla="*/ 5105 h 12115"/>
                <a:gd name="connsiteX5" fmla="*/ 10211 w 10210"/>
                <a:gd name="connsiteY5" fmla="*/ 7010 h 12115"/>
                <a:gd name="connsiteX6" fmla="*/ 5105 w 10210"/>
                <a:gd name="connsiteY6" fmla="*/ 12116 h 1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10" h="12115">
                  <a:moveTo>
                    <a:pt x="5105" y="12116"/>
                  </a:moveTo>
                  <a:cubicBezTo>
                    <a:pt x="2286" y="12116"/>
                    <a:pt x="0" y="9830"/>
                    <a:pt x="0" y="7010"/>
                  </a:cubicBezTo>
                  <a:lnTo>
                    <a:pt x="0" y="5105"/>
                  </a:lnTo>
                  <a:cubicBezTo>
                    <a:pt x="0" y="2286"/>
                    <a:pt x="2286" y="0"/>
                    <a:pt x="5105" y="0"/>
                  </a:cubicBezTo>
                  <a:cubicBezTo>
                    <a:pt x="7925" y="0"/>
                    <a:pt x="10211" y="2286"/>
                    <a:pt x="10211" y="5105"/>
                  </a:cubicBezTo>
                  <a:lnTo>
                    <a:pt x="10211" y="7010"/>
                  </a:lnTo>
                  <a:cubicBezTo>
                    <a:pt x="10211" y="9830"/>
                    <a:pt x="7925" y="12116"/>
                    <a:pt x="5105" y="12116"/>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29" name="Freeform: Shape 1428">
              <a:extLst>
                <a:ext uri="{FF2B5EF4-FFF2-40B4-BE49-F238E27FC236}">
                  <a16:creationId xmlns:a16="http://schemas.microsoft.com/office/drawing/2014/main" id="{8A6BAA7B-604C-A5FF-CA29-FF00254175AF}"/>
                </a:ext>
              </a:extLst>
            </p:cNvPr>
            <p:cNvSpPr/>
            <p:nvPr/>
          </p:nvSpPr>
          <p:spPr>
            <a:xfrm>
              <a:off x="10067374" y="3039008"/>
              <a:ext cx="11800" cy="11637"/>
            </a:xfrm>
            <a:custGeom>
              <a:avLst/>
              <a:gdLst>
                <a:gd name="connsiteX0" fmla="*/ 6703 w 11800"/>
                <a:gd name="connsiteY0" fmla="*/ 11637 h 11637"/>
                <a:gd name="connsiteX1" fmla="*/ 3331 w 11800"/>
                <a:gd name="connsiteY1" fmla="*/ 10342 h 11637"/>
                <a:gd name="connsiteX2" fmla="*/ 1883 w 11800"/>
                <a:gd name="connsiteY2" fmla="*/ 9065 h 11637"/>
                <a:gd name="connsiteX3" fmla="*/ 1146 w 11800"/>
                <a:gd name="connsiteY3" fmla="*/ 1883 h 11637"/>
                <a:gd name="connsiteX4" fmla="*/ 8328 w 11800"/>
                <a:gd name="connsiteY4" fmla="*/ 1146 h 11637"/>
                <a:gd name="connsiteX5" fmla="*/ 8665 w 11800"/>
                <a:gd name="connsiteY5" fmla="*/ 1445 h 11637"/>
                <a:gd name="connsiteX6" fmla="*/ 10094 w 11800"/>
                <a:gd name="connsiteY6" fmla="*/ 2722 h 11637"/>
                <a:gd name="connsiteX7" fmla="*/ 10505 w 11800"/>
                <a:gd name="connsiteY7" fmla="*/ 9930 h 11637"/>
                <a:gd name="connsiteX8" fmla="*/ 6703 w 11800"/>
                <a:gd name="connsiteY8" fmla="*/ 11637 h 1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 h="11637">
                  <a:moveTo>
                    <a:pt x="6703" y="11637"/>
                  </a:moveTo>
                  <a:cubicBezTo>
                    <a:pt x="5456" y="11642"/>
                    <a:pt x="4254" y="11179"/>
                    <a:pt x="3331" y="10342"/>
                  </a:cubicBezTo>
                  <a:lnTo>
                    <a:pt x="1883" y="9065"/>
                  </a:lnTo>
                  <a:cubicBezTo>
                    <a:pt x="-304" y="7286"/>
                    <a:pt x="-634" y="4070"/>
                    <a:pt x="1146" y="1883"/>
                  </a:cubicBezTo>
                  <a:cubicBezTo>
                    <a:pt x="2925" y="-304"/>
                    <a:pt x="6141" y="-634"/>
                    <a:pt x="8328" y="1146"/>
                  </a:cubicBezTo>
                  <a:cubicBezTo>
                    <a:pt x="8445" y="1241"/>
                    <a:pt x="8557" y="1341"/>
                    <a:pt x="8665" y="1445"/>
                  </a:cubicBezTo>
                  <a:lnTo>
                    <a:pt x="10094" y="2722"/>
                  </a:lnTo>
                  <a:cubicBezTo>
                    <a:pt x="12198" y="4599"/>
                    <a:pt x="12382" y="7826"/>
                    <a:pt x="10505" y="9930"/>
                  </a:cubicBezTo>
                  <a:cubicBezTo>
                    <a:pt x="9538" y="11014"/>
                    <a:pt x="8155" y="11635"/>
                    <a:pt x="6703" y="1163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sp>
          <p:nvSpPr>
            <p:cNvPr id="1430" name="Freeform: Shape 1429">
              <a:extLst>
                <a:ext uri="{FF2B5EF4-FFF2-40B4-BE49-F238E27FC236}">
                  <a16:creationId xmlns:a16="http://schemas.microsoft.com/office/drawing/2014/main" id="{E21D1940-471E-7CBE-FCC8-3121823F7000}"/>
                </a:ext>
              </a:extLst>
            </p:cNvPr>
            <p:cNvSpPr/>
            <p:nvPr/>
          </p:nvSpPr>
          <p:spPr>
            <a:xfrm>
              <a:off x="10010228" y="3062568"/>
              <a:ext cx="11946" cy="10956"/>
            </a:xfrm>
            <a:custGeom>
              <a:avLst/>
              <a:gdLst>
                <a:gd name="connsiteX0" fmla="*/ 5080 w 11946"/>
                <a:gd name="connsiteY0" fmla="*/ 10957 h 10956"/>
                <a:gd name="connsiteX1" fmla="*/ 0 w 11946"/>
                <a:gd name="connsiteY1" fmla="*/ 5826 h 10956"/>
                <a:gd name="connsiteX2" fmla="*/ 3080 w 11946"/>
                <a:gd name="connsiteY2" fmla="*/ 1165 h 10956"/>
                <a:gd name="connsiteX3" fmla="*/ 4852 w 11946"/>
                <a:gd name="connsiteY3" fmla="*/ 422 h 10956"/>
                <a:gd name="connsiteX4" fmla="*/ 11520 w 11946"/>
                <a:gd name="connsiteY4" fmla="*/ 3047 h 10956"/>
                <a:gd name="connsiteX5" fmla="*/ 11538 w 11946"/>
                <a:gd name="connsiteY5" fmla="*/ 3089 h 10956"/>
                <a:gd name="connsiteX6" fmla="*/ 8852 w 11946"/>
                <a:gd name="connsiteY6" fmla="*/ 9795 h 10956"/>
                <a:gd name="connsiteX7" fmla="*/ 7080 w 11946"/>
                <a:gd name="connsiteY7" fmla="*/ 10538 h 10956"/>
                <a:gd name="connsiteX8" fmla="*/ 5080 w 11946"/>
                <a:gd name="connsiteY8" fmla="*/ 10957 h 1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6" h="10956">
                  <a:moveTo>
                    <a:pt x="5080" y="10957"/>
                  </a:moveTo>
                  <a:cubicBezTo>
                    <a:pt x="2261" y="10943"/>
                    <a:pt x="-14" y="8646"/>
                    <a:pt x="0" y="5826"/>
                  </a:cubicBezTo>
                  <a:cubicBezTo>
                    <a:pt x="10" y="3799"/>
                    <a:pt x="1219" y="1969"/>
                    <a:pt x="3080" y="1165"/>
                  </a:cubicBezTo>
                  <a:lnTo>
                    <a:pt x="4852" y="422"/>
                  </a:lnTo>
                  <a:cubicBezTo>
                    <a:pt x="7418" y="-695"/>
                    <a:pt x="10403" y="481"/>
                    <a:pt x="11520" y="3047"/>
                  </a:cubicBezTo>
                  <a:cubicBezTo>
                    <a:pt x="11526" y="3061"/>
                    <a:pt x="11532" y="3075"/>
                    <a:pt x="11538" y="3089"/>
                  </a:cubicBezTo>
                  <a:cubicBezTo>
                    <a:pt x="12638" y="5683"/>
                    <a:pt x="11438" y="8678"/>
                    <a:pt x="8852" y="9795"/>
                  </a:cubicBezTo>
                  <a:lnTo>
                    <a:pt x="7080" y="10538"/>
                  </a:lnTo>
                  <a:cubicBezTo>
                    <a:pt x="6450" y="10815"/>
                    <a:pt x="5769" y="10958"/>
                    <a:pt x="5080" y="10957"/>
                  </a:cubicBezTo>
                  <a:close/>
                </a:path>
              </a:pathLst>
            </a:custGeom>
            <a:grpFill/>
            <a:ln w="18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Calibri Light"/>
                <a:ea typeface="+mn-ea"/>
                <a:cs typeface="+mn-cs"/>
              </a:endParaRPr>
            </a:p>
          </p:txBody>
        </p:sp>
      </p:grpSp>
      <p:sp>
        <p:nvSpPr>
          <p:cNvPr id="1431" name="TextBox 1430">
            <a:extLst>
              <a:ext uri="{FF2B5EF4-FFF2-40B4-BE49-F238E27FC236}">
                <a16:creationId xmlns:a16="http://schemas.microsoft.com/office/drawing/2014/main" id="{DFFEE98D-9322-3676-9454-5F737F1F7E5A}"/>
              </a:ext>
            </a:extLst>
          </p:cNvPr>
          <p:cNvSpPr txBox="1"/>
          <p:nvPr/>
        </p:nvSpPr>
        <p:spPr>
          <a:xfrm>
            <a:off x="693906" y="4002763"/>
            <a:ext cx="1844918" cy="260516"/>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4D4D4F"/>
                </a:solidFill>
                <a:effectLst/>
                <a:uLnTx/>
                <a:uFillTx/>
                <a:latin typeface="Calibri"/>
                <a:ea typeface="ＭＳ Ｐゴシック"/>
                <a:cs typeface="+mn-cs"/>
              </a:rPr>
              <a:t>Test Consulting</a:t>
            </a:r>
          </a:p>
        </p:txBody>
      </p:sp>
      <p:sp>
        <p:nvSpPr>
          <p:cNvPr id="1432" name="TextBox 1431">
            <a:extLst>
              <a:ext uri="{FF2B5EF4-FFF2-40B4-BE49-F238E27FC236}">
                <a16:creationId xmlns:a16="http://schemas.microsoft.com/office/drawing/2014/main" id="{32DD8AAC-4686-14CC-6FD0-07B5F7C0603D}"/>
              </a:ext>
            </a:extLst>
          </p:cNvPr>
          <p:cNvSpPr txBox="1"/>
          <p:nvPr/>
        </p:nvSpPr>
        <p:spPr>
          <a:xfrm>
            <a:off x="694092" y="4530582"/>
            <a:ext cx="1564352" cy="434194"/>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it-IT" sz="1100" b="0" i="0" u="none" strike="noStrike" kern="0" cap="none" spc="0" normalizeH="0" baseline="0" noProof="0">
                <a:ln>
                  <a:noFill/>
                </a:ln>
                <a:solidFill>
                  <a:prstClr val="black"/>
                </a:solidFill>
                <a:effectLst/>
                <a:uLnTx/>
                <a:uFillTx/>
                <a:latin typeface="Calibri"/>
                <a:ea typeface="+mn-ea"/>
                <a:cs typeface="+mn-cs"/>
              </a:rPr>
              <a:t>Test Process &amp; Tools Transformation</a:t>
            </a:r>
          </a:p>
        </p:txBody>
      </p:sp>
      <p:sp>
        <p:nvSpPr>
          <p:cNvPr id="1433" name="TextBox 1432">
            <a:extLst>
              <a:ext uri="{FF2B5EF4-FFF2-40B4-BE49-F238E27FC236}">
                <a16:creationId xmlns:a16="http://schemas.microsoft.com/office/drawing/2014/main" id="{9B9F950F-7470-7636-1DBE-8B06749042FE}"/>
              </a:ext>
            </a:extLst>
          </p:cNvPr>
          <p:cNvSpPr txBox="1"/>
          <p:nvPr/>
        </p:nvSpPr>
        <p:spPr>
          <a:xfrm>
            <a:off x="694092" y="4284150"/>
            <a:ext cx="1564352" cy="260516"/>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Shift Logical</a:t>
            </a:r>
          </a:p>
        </p:txBody>
      </p:sp>
      <p:sp>
        <p:nvSpPr>
          <p:cNvPr id="1434" name="TextBox 1433">
            <a:extLst>
              <a:ext uri="{FF2B5EF4-FFF2-40B4-BE49-F238E27FC236}">
                <a16:creationId xmlns:a16="http://schemas.microsoft.com/office/drawing/2014/main" id="{2F6155B2-3EF9-020D-2C99-91651875A41E}"/>
              </a:ext>
            </a:extLst>
          </p:cNvPr>
          <p:cNvSpPr txBox="1"/>
          <p:nvPr/>
        </p:nvSpPr>
        <p:spPr>
          <a:xfrm>
            <a:off x="694092" y="4950691"/>
            <a:ext cx="1564352" cy="41248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Quality Enablement</a:t>
            </a:r>
          </a:p>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900" b="0" i="0" u="none" strike="noStrike" kern="0" cap="none" spc="0" normalizeH="0" baseline="0" noProof="0">
                <a:ln>
                  <a:noFill/>
                </a:ln>
                <a:solidFill>
                  <a:prstClr val="black"/>
                </a:solidFill>
                <a:effectLst/>
                <a:uLnTx/>
                <a:uFillTx/>
                <a:latin typeface="Calibri"/>
                <a:ea typeface="+mn-ea"/>
                <a:cs typeface="+mn-cs"/>
              </a:rPr>
              <a:t>(Agile Transformation)</a:t>
            </a:r>
          </a:p>
        </p:txBody>
      </p:sp>
      <p:sp>
        <p:nvSpPr>
          <p:cNvPr id="1435" name="TextBox 1434">
            <a:extLst>
              <a:ext uri="{FF2B5EF4-FFF2-40B4-BE49-F238E27FC236}">
                <a16:creationId xmlns:a16="http://schemas.microsoft.com/office/drawing/2014/main" id="{0AE08A48-9382-8DAE-C041-6959B0AD1F5F}"/>
              </a:ext>
            </a:extLst>
          </p:cNvPr>
          <p:cNvSpPr txBox="1"/>
          <p:nvPr/>
        </p:nvSpPr>
        <p:spPr>
          <a:xfrm>
            <a:off x="694092" y="5349092"/>
            <a:ext cx="1564352" cy="56938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GenAI led TCoE Transformation</a:t>
            </a:r>
          </a:p>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900" b="0" i="0" u="none" strike="noStrike" kern="0" cap="none" spc="0" normalizeH="0" baseline="0" noProof="0">
                <a:ln>
                  <a:noFill/>
                </a:ln>
                <a:solidFill>
                  <a:prstClr val="black"/>
                </a:solidFill>
                <a:effectLst/>
                <a:uLnTx/>
                <a:uFillTx/>
                <a:latin typeface="Calibri"/>
                <a:ea typeface="+mn-ea"/>
                <a:cs typeface="+mn-cs"/>
              </a:rPr>
              <a:t>(Lean </a:t>
            </a:r>
            <a:r>
              <a:rPr kumimoji="0" lang="en-US" sz="900" b="0" i="0" u="none" strike="noStrike" kern="0" cap="none" spc="0" normalizeH="0" baseline="0" noProof="0" err="1">
                <a:ln>
                  <a:noFill/>
                </a:ln>
                <a:solidFill>
                  <a:prstClr val="black"/>
                </a:solidFill>
                <a:effectLst/>
                <a:uLnTx/>
                <a:uFillTx/>
                <a:latin typeface="Calibri"/>
                <a:ea typeface="+mn-ea"/>
                <a:cs typeface="+mn-cs"/>
              </a:rPr>
              <a:t>TCoEs</a:t>
            </a:r>
            <a:r>
              <a:rPr kumimoji="0" lang="en-US" sz="900" b="0" i="0" u="none" strike="noStrike" kern="0" cap="none" spc="0" normalizeH="0" baseline="0" noProof="0">
                <a:ln>
                  <a:noFill/>
                </a:ln>
                <a:solidFill>
                  <a:prstClr val="black"/>
                </a:solidFill>
                <a:effectLst/>
                <a:uLnTx/>
                <a:uFillTx/>
                <a:latin typeface="Calibri"/>
                <a:ea typeface="+mn-ea"/>
                <a:cs typeface="+mn-cs"/>
              </a:rPr>
              <a:t>, PODs, TAAS)</a:t>
            </a:r>
          </a:p>
        </p:txBody>
      </p:sp>
      <p:cxnSp>
        <p:nvCxnSpPr>
          <p:cNvPr id="1436" name="Straight Connector 1435">
            <a:extLst>
              <a:ext uri="{FF2B5EF4-FFF2-40B4-BE49-F238E27FC236}">
                <a16:creationId xmlns:a16="http://schemas.microsoft.com/office/drawing/2014/main" id="{3E74CEDB-893C-E314-E378-F5D176343888}"/>
              </a:ext>
            </a:extLst>
          </p:cNvPr>
          <p:cNvCxnSpPr>
            <a:cxnSpLocks/>
          </p:cNvCxnSpPr>
          <p:nvPr/>
        </p:nvCxnSpPr>
        <p:spPr>
          <a:xfrm flipH="1">
            <a:off x="448018" y="4311776"/>
            <a:ext cx="1619224" cy="0"/>
          </a:xfrm>
          <a:prstGeom prst="line">
            <a:avLst/>
          </a:prstGeom>
          <a:noFill/>
          <a:ln w="6350" cap="flat" cmpd="sng" algn="ctr">
            <a:solidFill>
              <a:srgbClr val="4C4C4E"/>
            </a:solidFill>
            <a:prstDash val="solid"/>
            <a:miter lim="800000"/>
          </a:ln>
          <a:effectLst/>
        </p:spPr>
      </p:cxnSp>
      <p:cxnSp>
        <p:nvCxnSpPr>
          <p:cNvPr id="1437" name="Straight Connector 1436">
            <a:extLst>
              <a:ext uri="{FF2B5EF4-FFF2-40B4-BE49-F238E27FC236}">
                <a16:creationId xmlns:a16="http://schemas.microsoft.com/office/drawing/2014/main" id="{1BD262E3-1E7E-5285-C321-D807A55855A3}"/>
              </a:ext>
            </a:extLst>
          </p:cNvPr>
          <p:cNvCxnSpPr>
            <a:cxnSpLocks/>
          </p:cNvCxnSpPr>
          <p:nvPr/>
        </p:nvCxnSpPr>
        <p:spPr>
          <a:xfrm flipH="1">
            <a:off x="770929" y="4551295"/>
            <a:ext cx="1274370" cy="0"/>
          </a:xfrm>
          <a:prstGeom prst="line">
            <a:avLst/>
          </a:prstGeom>
          <a:noFill/>
          <a:ln w="6350" cap="flat" cmpd="sng" algn="ctr">
            <a:solidFill>
              <a:sysClr val="window" lastClr="FFFFFF">
                <a:lumMod val="85000"/>
              </a:sysClr>
            </a:solidFill>
            <a:prstDash val="solid"/>
            <a:miter lim="800000"/>
          </a:ln>
          <a:effectLst/>
        </p:spPr>
      </p:cxnSp>
      <p:cxnSp>
        <p:nvCxnSpPr>
          <p:cNvPr id="1438" name="Straight Connector 1437">
            <a:extLst>
              <a:ext uri="{FF2B5EF4-FFF2-40B4-BE49-F238E27FC236}">
                <a16:creationId xmlns:a16="http://schemas.microsoft.com/office/drawing/2014/main" id="{C64E4416-270C-B4EA-157B-A4577B23E790}"/>
              </a:ext>
            </a:extLst>
          </p:cNvPr>
          <p:cNvCxnSpPr>
            <a:cxnSpLocks/>
          </p:cNvCxnSpPr>
          <p:nvPr/>
        </p:nvCxnSpPr>
        <p:spPr>
          <a:xfrm flipH="1">
            <a:off x="770929" y="4957858"/>
            <a:ext cx="1274370" cy="0"/>
          </a:xfrm>
          <a:prstGeom prst="line">
            <a:avLst/>
          </a:prstGeom>
          <a:noFill/>
          <a:ln w="6350" cap="flat" cmpd="sng" algn="ctr">
            <a:solidFill>
              <a:sysClr val="window" lastClr="FFFFFF">
                <a:lumMod val="85000"/>
              </a:sysClr>
            </a:solidFill>
            <a:prstDash val="solid"/>
            <a:miter lim="800000"/>
          </a:ln>
          <a:effectLst/>
        </p:spPr>
      </p:cxnSp>
      <p:cxnSp>
        <p:nvCxnSpPr>
          <p:cNvPr id="1439" name="Straight Connector 1438">
            <a:extLst>
              <a:ext uri="{FF2B5EF4-FFF2-40B4-BE49-F238E27FC236}">
                <a16:creationId xmlns:a16="http://schemas.microsoft.com/office/drawing/2014/main" id="{C1DBCBCB-7E5E-3328-529B-1D13BDC4C1AA}"/>
              </a:ext>
            </a:extLst>
          </p:cNvPr>
          <p:cNvCxnSpPr>
            <a:cxnSpLocks/>
          </p:cNvCxnSpPr>
          <p:nvPr/>
        </p:nvCxnSpPr>
        <p:spPr>
          <a:xfrm flipH="1">
            <a:off x="770929" y="5363176"/>
            <a:ext cx="1274370" cy="0"/>
          </a:xfrm>
          <a:prstGeom prst="line">
            <a:avLst/>
          </a:prstGeom>
          <a:noFill/>
          <a:ln w="6350" cap="flat" cmpd="sng" algn="ctr">
            <a:solidFill>
              <a:sysClr val="window" lastClr="FFFFFF">
                <a:lumMod val="85000"/>
              </a:sysClr>
            </a:solidFill>
            <a:prstDash val="solid"/>
            <a:miter lim="800000"/>
          </a:ln>
          <a:effectLst/>
        </p:spPr>
      </p:cxnSp>
      <p:pic>
        <p:nvPicPr>
          <p:cNvPr id="1440" name="Graphic 1439">
            <a:extLst>
              <a:ext uri="{FF2B5EF4-FFF2-40B4-BE49-F238E27FC236}">
                <a16:creationId xmlns:a16="http://schemas.microsoft.com/office/drawing/2014/main" id="{F5CC6891-6573-0E73-A98B-F860CBFA6EB8}"/>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7426" y="3990951"/>
            <a:ext cx="298278" cy="289113"/>
          </a:xfrm>
          <a:prstGeom prst="rect">
            <a:avLst/>
          </a:prstGeom>
        </p:spPr>
      </p:pic>
      <p:sp>
        <p:nvSpPr>
          <p:cNvPr id="1441" name="Freeform: Shape 1440">
            <a:extLst>
              <a:ext uri="{FF2B5EF4-FFF2-40B4-BE49-F238E27FC236}">
                <a16:creationId xmlns:a16="http://schemas.microsoft.com/office/drawing/2014/main" id="{0D5CFF3D-69C0-B9BB-41E4-7224EF4278D9}"/>
              </a:ext>
            </a:extLst>
          </p:cNvPr>
          <p:cNvSpPr/>
          <p:nvPr/>
        </p:nvSpPr>
        <p:spPr>
          <a:xfrm>
            <a:off x="496839" y="5041498"/>
            <a:ext cx="46629" cy="50566"/>
          </a:xfrm>
          <a:custGeom>
            <a:avLst/>
            <a:gdLst>
              <a:gd name="connsiteX0" fmla="*/ 25520 w 51039"/>
              <a:gd name="connsiteY0" fmla="*/ 40464 h 40463"/>
              <a:gd name="connsiteX1" fmla="*/ 0 w 51039"/>
              <a:gd name="connsiteY1" fmla="*/ 20232 h 40463"/>
              <a:gd name="connsiteX2" fmla="*/ 25520 w 51039"/>
              <a:gd name="connsiteY2" fmla="*/ 0 h 40463"/>
              <a:gd name="connsiteX3" fmla="*/ 51039 w 51039"/>
              <a:gd name="connsiteY3" fmla="*/ 20232 h 40463"/>
              <a:gd name="connsiteX4" fmla="*/ 25520 w 51039"/>
              <a:gd name="connsiteY4" fmla="*/ 40464 h 40463"/>
              <a:gd name="connsiteX5" fmla="*/ 25520 w 51039"/>
              <a:gd name="connsiteY5" fmla="*/ 6844 h 40463"/>
              <a:gd name="connsiteX6" fmla="*/ 8525 w 51039"/>
              <a:gd name="connsiteY6" fmla="*/ 20232 h 40463"/>
              <a:gd name="connsiteX7" fmla="*/ 25412 w 51039"/>
              <a:gd name="connsiteY7" fmla="*/ 33705 h 40463"/>
              <a:gd name="connsiteX8" fmla="*/ 42407 w 51039"/>
              <a:gd name="connsiteY8" fmla="*/ 20317 h 40463"/>
              <a:gd name="connsiteX9" fmla="*/ 42407 w 51039"/>
              <a:gd name="connsiteY9" fmla="*/ 20232 h 40463"/>
              <a:gd name="connsiteX10" fmla="*/ 25520 w 51039"/>
              <a:gd name="connsiteY10" fmla="*/ 6844 h 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039" h="40463">
                <a:moveTo>
                  <a:pt x="25520" y="40464"/>
                </a:moveTo>
                <a:cubicBezTo>
                  <a:pt x="11426" y="40464"/>
                  <a:pt x="0" y="31406"/>
                  <a:pt x="0" y="20232"/>
                </a:cubicBezTo>
                <a:cubicBezTo>
                  <a:pt x="0" y="9058"/>
                  <a:pt x="11426" y="0"/>
                  <a:pt x="25520" y="0"/>
                </a:cubicBezTo>
                <a:cubicBezTo>
                  <a:pt x="39614" y="0"/>
                  <a:pt x="51039" y="9058"/>
                  <a:pt x="51039" y="20232"/>
                </a:cubicBezTo>
                <a:cubicBezTo>
                  <a:pt x="51039" y="31406"/>
                  <a:pt x="39614" y="40464"/>
                  <a:pt x="25520" y="40464"/>
                </a:cubicBezTo>
                <a:close/>
                <a:moveTo>
                  <a:pt x="25520" y="6844"/>
                </a:moveTo>
                <a:cubicBezTo>
                  <a:pt x="16163" y="6820"/>
                  <a:pt x="8554" y="12814"/>
                  <a:pt x="8525" y="20232"/>
                </a:cubicBezTo>
                <a:cubicBezTo>
                  <a:pt x="8495" y="27650"/>
                  <a:pt x="16056" y="33682"/>
                  <a:pt x="25412" y="33705"/>
                </a:cubicBezTo>
                <a:cubicBezTo>
                  <a:pt x="34768" y="33729"/>
                  <a:pt x="42377" y="27735"/>
                  <a:pt x="42407" y="20317"/>
                </a:cubicBezTo>
                <a:cubicBezTo>
                  <a:pt x="42407" y="20289"/>
                  <a:pt x="42407" y="20261"/>
                  <a:pt x="42407" y="20232"/>
                </a:cubicBezTo>
                <a:cubicBezTo>
                  <a:pt x="42407" y="12838"/>
                  <a:pt x="34847" y="6844"/>
                  <a:pt x="25520" y="684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2" name="Freeform: Shape 1441">
            <a:extLst>
              <a:ext uri="{FF2B5EF4-FFF2-40B4-BE49-F238E27FC236}">
                <a16:creationId xmlns:a16="http://schemas.microsoft.com/office/drawing/2014/main" id="{36A5AAEB-58F4-DE13-E5D3-B19452E9EC1A}"/>
              </a:ext>
            </a:extLst>
          </p:cNvPr>
          <p:cNvSpPr/>
          <p:nvPr/>
        </p:nvSpPr>
        <p:spPr>
          <a:xfrm>
            <a:off x="499304" y="5096126"/>
            <a:ext cx="99548" cy="189169"/>
          </a:xfrm>
          <a:custGeom>
            <a:avLst/>
            <a:gdLst>
              <a:gd name="connsiteX0" fmla="*/ 55949 w 108961"/>
              <a:gd name="connsiteY0" fmla="*/ 151375 h 151375"/>
              <a:gd name="connsiteX1" fmla="*/ 14621 w 108961"/>
              <a:gd name="connsiteY1" fmla="*/ 151375 h 151375"/>
              <a:gd name="connsiteX2" fmla="*/ 10305 w 108961"/>
              <a:gd name="connsiteY2" fmla="*/ 147953 h 151375"/>
              <a:gd name="connsiteX3" fmla="*/ 10305 w 108961"/>
              <a:gd name="connsiteY3" fmla="*/ 80970 h 151375"/>
              <a:gd name="connsiteX4" fmla="*/ 0 w 108961"/>
              <a:gd name="connsiteY4" fmla="*/ 69122 h 151375"/>
              <a:gd name="connsiteX5" fmla="*/ 0 w 108961"/>
              <a:gd name="connsiteY5" fmla="*/ 14971 h 151375"/>
              <a:gd name="connsiteX6" fmla="*/ 18884 w 108961"/>
              <a:gd name="connsiteY6" fmla="*/ 0 h 151375"/>
              <a:gd name="connsiteX7" fmla="*/ 25250 w 108961"/>
              <a:gd name="connsiteY7" fmla="*/ 0 h 151375"/>
              <a:gd name="connsiteX8" fmla="*/ 40842 w 108961"/>
              <a:gd name="connsiteY8" fmla="*/ 12319 h 151375"/>
              <a:gd name="connsiteX9" fmla="*/ 40842 w 108961"/>
              <a:gd name="connsiteY9" fmla="*/ 16382 h 151375"/>
              <a:gd name="connsiteX10" fmla="*/ 61452 w 108961"/>
              <a:gd name="connsiteY10" fmla="*/ 30797 h 151375"/>
              <a:gd name="connsiteX11" fmla="*/ 95227 w 108961"/>
              <a:gd name="connsiteY11" fmla="*/ 30797 h 151375"/>
              <a:gd name="connsiteX12" fmla="*/ 108934 w 108961"/>
              <a:gd name="connsiteY12" fmla="*/ 43071 h 151375"/>
              <a:gd name="connsiteX13" fmla="*/ 95227 w 108961"/>
              <a:gd name="connsiteY13" fmla="*/ 53937 h 151375"/>
              <a:gd name="connsiteX14" fmla="*/ 55949 w 108961"/>
              <a:gd name="connsiteY14" fmla="*/ 53937 h 151375"/>
              <a:gd name="connsiteX15" fmla="*/ 46292 w 108961"/>
              <a:gd name="connsiteY15" fmla="*/ 51029 h 151375"/>
              <a:gd name="connsiteX16" fmla="*/ 40896 w 108961"/>
              <a:gd name="connsiteY16" fmla="*/ 47222 h 151375"/>
              <a:gd name="connsiteX17" fmla="*/ 40896 w 108961"/>
              <a:gd name="connsiteY17" fmla="*/ 129005 h 151375"/>
              <a:gd name="connsiteX18" fmla="*/ 42677 w 108961"/>
              <a:gd name="connsiteY18" fmla="*/ 129005 h 151375"/>
              <a:gd name="connsiteX19" fmla="*/ 60319 w 108961"/>
              <a:gd name="connsiteY19" fmla="*/ 142992 h 151375"/>
              <a:gd name="connsiteX20" fmla="*/ 60319 w 108961"/>
              <a:gd name="connsiteY20" fmla="*/ 147953 h 151375"/>
              <a:gd name="connsiteX21" fmla="*/ 56004 w 108961"/>
              <a:gd name="connsiteY21" fmla="*/ 151376 h 151375"/>
              <a:gd name="connsiteX22" fmla="*/ 55949 w 108961"/>
              <a:gd name="connsiteY22" fmla="*/ 151375 h 151375"/>
              <a:gd name="connsiteX23" fmla="*/ 18884 w 108961"/>
              <a:gd name="connsiteY23" fmla="*/ 144574 h 151375"/>
              <a:gd name="connsiteX24" fmla="*/ 51687 w 108961"/>
              <a:gd name="connsiteY24" fmla="*/ 144574 h 151375"/>
              <a:gd name="connsiteX25" fmla="*/ 51687 w 108961"/>
              <a:gd name="connsiteY25" fmla="*/ 142992 h 151375"/>
              <a:gd name="connsiteX26" fmla="*/ 42623 w 108961"/>
              <a:gd name="connsiteY26" fmla="*/ 135806 h 151375"/>
              <a:gd name="connsiteX27" fmla="*/ 36526 w 108961"/>
              <a:gd name="connsiteY27" fmla="*/ 135806 h 151375"/>
              <a:gd name="connsiteX28" fmla="*/ 32210 w 108961"/>
              <a:gd name="connsiteY28" fmla="*/ 132470 h 151375"/>
              <a:gd name="connsiteX29" fmla="*/ 32210 w 108961"/>
              <a:gd name="connsiteY29" fmla="*/ 132427 h 151375"/>
              <a:gd name="connsiteX30" fmla="*/ 32210 w 108961"/>
              <a:gd name="connsiteY30" fmla="*/ 39651 h 151375"/>
              <a:gd name="connsiteX31" fmla="*/ 36576 w 108961"/>
              <a:gd name="connsiteY31" fmla="*/ 36269 h 151375"/>
              <a:gd name="connsiteX32" fmla="*/ 39386 w 108961"/>
              <a:gd name="connsiteY32" fmla="*/ 37127 h 151375"/>
              <a:gd name="connsiteX33" fmla="*/ 52011 w 108961"/>
              <a:gd name="connsiteY33" fmla="*/ 45939 h 151375"/>
              <a:gd name="connsiteX34" fmla="*/ 55949 w 108961"/>
              <a:gd name="connsiteY34" fmla="*/ 47136 h 151375"/>
              <a:gd name="connsiteX35" fmla="*/ 95227 w 108961"/>
              <a:gd name="connsiteY35" fmla="*/ 47136 h 151375"/>
              <a:gd name="connsiteX36" fmla="*/ 100672 w 108961"/>
              <a:gd name="connsiteY36" fmla="*/ 41915 h 151375"/>
              <a:gd name="connsiteX37" fmla="*/ 95227 w 108961"/>
              <a:gd name="connsiteY37" fmla="*/ 37598 h 151375"/>
              <a:gd name="connsiteX38" fmla="*/ 59834 w 108961"/>
              <a:gd name="connsiteY38" fmla="*/ 37598 h 151375"/>
              <a:gd name="connsiteX39" fmla="*/ 57028 w 108961"/>
              <a:gd name="connsiteY39" fmla="*/ 36785 h 151375"/>
              <a:gd name="connsiteX40" fmla="*/ 33667 w 108961"/>
              <a:gd name="connsiteY40" fmla="*/ 20488 h 151375"/>
              <a:gd name="connsiteX41" fmla="*/ 32210 w 108961"/>
              <a:gd name="connsiteY41" fmla="*/ 17922 h 151375"/>
              <a:gd name="connsiteX42" fmla="*/ 32210 w 108961"/>
              <a:gd name="connsiteY42" fmla="*/ 12319 h 151375"/>
              <a:gd name="connsiteX43" fmla="*/ 25250 w 108961"/>
              <a:gd name="connsiteY43" fmla="*/ 6801 h 151375"/>
              <a:gd name="connsiteX44" fmla="*/ 18884 w 108961"/>
              <a:gd name="connsiteY44" fmla="*/ 6801 h 151375"/>
              <a:gd name="connsiteX45" fmla="*/ 8632 w 108961"/>
              <a:gd name="connsiteY45" fmla="*/ 14928 h 151375"/>
              <a:gd name="connsiteX46" fmla="*/ 8632 w 108961"/>
              <a:gd name="connsiteY46" fmla="*/ 14971 h 151375"/>
              <a:gd name="connsiteX47" fmla="*/ 8632 w 108961"/>
              <a:gd name="connsiteY47" fmla="*/ 69122 h 151375"/>
              <a:gd name="connsiteX48" fmla="*/ 14621 w 108961"/>
              <a:gd name="connsiteY48" fmla="*/ 74768 h 151375"/>
              <a:gd name="connsiteX49" fmla="*/ 18884 w 108961"/>
              <a:gd name="connsiteY49" fmla="*/ 78147 h 151375"/>
              <a:gd name="connsiteX50" fmla="*/ 18884 w 108961"/>
              <a:gd name="connsiteY50" fmla="*/ 78190 h 15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8961" h="151375">
                <a:moveTo>
                  <a:pt x="55949" y="151375"/>
                </a:moveTo>
                <a:lnTo>
                  <a:pt x="14621" y="151375"/>
                </a:lnTo>
                <a:cubicBezTo>
                  <a:pt x="12238" y="151375"/>
                  <a:pt x="10305" y="149843"/>
                  <a:pt x="10305" y="147953"/>
                </a:cubicBezTo>
                <a:lnTo>
                  <a:pt x="10305" y="80970"/>
                </a:lnTo>
                <a:cubicBezTo>
                  <a:pt x="4137" y="79063"/>
                  <a:pt x="55" y="74371"/>
                  <a:pt x="0" y="69122"/>
                </a:cubicBezTo>
                <a:lnTo>
                  <a:pt x="0" y="14971"/>
                </a:lnTo>
                <a:cubicBezTo>
                  <a:pt x="0" y="6703"/>
                  <a:pt x="8454" y="0"/>
                  <a:pt x="18884" y="0"/>
                </a:cubicBezTo>
                <a:lnTo>
                  <a:pt x="25250" y="0"/>
                </a:lnTo>
                <a:cubicBezTo>
                  <a:pt x="33840" y="0"/>
                  <a:pt x="40813" y="5508"/>
                  <a:pt x="40842" y="12319"/>
                </a:cubicBezTo>
                <a:lnTo>
                  <a:pt x="40842" y="16382"/>
                </a:lnTo>
                <a:lnTo>
                  <a:pt x="61452" y="30797"/>
                </a:lnTo>
                <a:lnTo>
                  <a:pt x="95227" y="30797"/>
                </a:lnTo>
                <a:cubicBezTo>
                  <a:pt x="103287" y="31186"/>
                  <a:pt x="109424" y="36681"/>
                  <a:pt x="108934" y="43071"/>
                </a:cubicBezTo>
                <a:cubicBezTo>
                  <a:pt x="108485" y="48919"/>
                  <a:pt x="102603" y="53581"/>
                  <a:pt x="95227" y="53937"/>
                </a:cubicBezTo>
                <a:lnTo>
                  <a:pt x="55949" y="53937"/>
                </a:lnTo>
                <a:cubicBezTo>
                  <a:pt x="52390" y="53936"/>
                  <a:pt x="48955" y="52901"/>
                  <a:pt x="46292" y="51029"/>
                </a:cubicBezTo>
                <a:lnTo>
                  <a:pt x="40896" y="47222"/>
                </a:lnTo>
                <a:lnTo>
                  <a:pt x="40896" y="129005"/>
                </a:lnTo>
                <a:lnTo>
                  <a:pt x="42677" y="129005"/>
                </a:lnTo>
                <a:cubicBezTo>
                  <a:pt x="52408" y="129028"/>
                  <a:pt x="60290" y="135277"/>
                  <a:pt x="60319" y="142992"/>
                </a:cubicBezTo>
                <a:lnTo>
                  <a:pt x="60319" y="147953"/>
                </a:lnTo>
                <a:cubicBezTo>
                  <a:pt x="60319" y="149843"/>
                  <a:pt x="58387" y="151375"/>
                  <a:pt x="56004" y="151376"/>
                </a:cubicBezTo>
                <a:cubicBezTo>
                  <a:pt x="55985" y="151376"/>
                  <a:pt x="55968" y="151375"/>
                  <a:pt x="55949" y="151375"/>
                </a:cubicBezTo>
                <a:close/>
                <a:moveTo>
                  <a:pt x="18884" y="144574"/>
                </a:moveTo>
                <a:lnTo>
                  <a:pt x="51687" y="144574"/>
                </a:lnTo>
                <a:lnTo>
                  <a:pt x="51687" y="142992"/>
                </a:lnTo>
                <a:cubicBezTo>
                  <a:pt x="51687" y="139023"/>
                  <a:pt x="47629" y="135806"/>
                  <a:pt x="42623" y="135806"/>
                </a:cubicBezTo>
                <a:lnTo>
                  <a:pt x="36526" y="135806"/>
                </a:lnTo>
                <a:cubicBezTo>
                  <a:pt x="34172" y="135829"/>
                  <a:pt x="32240" y="134336"/>
                  <a:pt x="32210" y="132470"/>
                </a:cubicBezTo>
                <a:cubicBezTo>
                  <a:pt x="32210" y="132455"/>
                  <a:pt x="32210" y="132441"/>
                  <a:pt x="32210" y="132427"/>
                </a:cubicBezTo>
                <a:lnTo>
                  <a:pt x="32210" y="39651"/>
                </a:lnTo>
                <a:cubicBezTo>
                  <a:pt x="32237" y="37761"/>
                  <a:pt x="34192" y="36247"/>
                  <a:pt x="36576" y="36269"/>
                </a:cubicBezTo>
                <a:cubicBezTo>
                  <a:pt x="37612" y="36278"/>
                  <a:pt x="38609" y="36583"/>
                  <a:pt x="39386" y="37127"/>
                </a:cubicBezTo>
                <a:lnTo>
                  <a:pt x="52011" y="45939"/>
                </a:lnTo>
                <a:cubicBezTo>
                  <a:pt x="53091" y="46710"/>
                  <a:pt x="54495" y="47137"/>
                  <a:pt x="55949" y="47136"/>
                </a:cubicBezTo>
                <a:lnTo>
                  <a:pt x="95227" y="47136"/>
                </a:lnTo>
                <a:cubicBezTo>
                  <a:pt x="98549" y="46887"/>
                  <a:pt x="100987" y="44549"/>
                  <a:pt x="100672" y="41915"/>
                </a:cubicBezTo>
                <a:cubicBezTo>
                  <a:pt x="100399" y="39627"/>
                  <a:pt x="98113" y="37815"/>
                  <a:pt x="95227" y="37598"/>
                </a:cubicBezTo>
                <a:lnTo>
                  <a:pt x="59834" y="37598"/>
                </a:lnTo>
                <a:cubicBezTo>
                  <a:pt x="58807" y="37597"/>
                  <a:pt x="57814" y="37309"/>
                  <a:pt x="57028" y="36785"/>
                </a:cubicBezTo>
                <a:lnTo>
                  <a:pt x="33667" y="20488"/>
                </a:lnTo>
                <a:cubicBezTo>
                  <a:pt x="32751" y="19832"/>
                  <a:pt x="32222" y="18901"/>
                  <a:pt x="32210" y="17922"/>
                </a:cubicBezTo>
                <a:lnTo>
                  <a:pt x="32210" y="12319"/>
                </a:lnTo>
                <a:cubicBezTo>
                  <a:pt x="32210" y="9272"/>
                  <a:pt x="29094" y="6801"/>
                  <a:pt x="25250" y="6801"/>
                </a:cubicBezTo>
                <a:lnTo>
                  <a:pt x="18884" y="6801"/>
                </a:lnTo>
                <a:cubicBezTo>
                  <a:pt x="13222" y="6801"/>
                  <a:pt x="8632" y="10439"/>
                  <a:pt x="8632" y="14928"/>
                </a:cubicBezTo>
                <a:cubicBezTo>
                  <a:pt x="8632" y="14942"/>
                  <a:pt x="8632" y="14957"/>
                  <a:pt x="8632" y="14971"/>
                </a:cubicBezTo>
                <a:lnTo>
                  <a:pt x="8632" y="69122"/>
                </a:lnTo>
                <a:cubicBezTo>
                  <a:pt x="8610" y="71914"/>
                  <a:pt x="11148" y="74306"/>
                  <a:pt x="14621" y="74768"/>
                </a:cubicBezTo>
                <a:cubicBezTo>
                  <a:pt x="16975" y="74768"/>
                  <a:pt x="18884" y="76280"/>
                  <a:pt x="18884" y="78147"/>
                </a:cubicBezTo>
                <a:cubicBezTo>
                  <a:pt x="18884" y="78161"/>
                  <a:pt x="18884" y="78175"/>
                  <a:pt x="18884" y="78190"/>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3" name="Freeform: Shape 1442">
            <a:extLst>
              <a:ext uri="{FF2B5EF4-FFF2-40B4-BE49-F238E27FC236}">
                <a16:creationId xmlns:a16="http://schemas.microsoft.com/office/drawing/2014/main" id="{3B0A4FC9-1443-1C79-E84D-BF4103B3DA54}"/>
              </a:ext>
            </a:extLst>
          </p:cNvPr>
          <p:cNvSpPr/>
          <p:nvPr/>
        </p:nvSpPr>
        <p:spPr>
          <a:xfrm>
            <a:off x="519013" y="5132240"/>
            <a:ext cx="17390" cy="17714"/>
          </a:xfrm>
          <a:custGeom>
            <a:avLst/>
            <a:gdLst>
              <a:gd name="connsiteX0" fmla="*/ 14953 w 19034"/>
              <a:gd name="connsiteY0" fmla="*/ 14174 h 14175"/>
              <a:gd name="connsiteX1" fmla="*/ 12094 w 19034"/>
              <a:gd name="connsiteY1" fmla="*/ 13319 h 14175"/>
              <a:gd name="connsiteX2" fmla="*/ 980 w 19034"/>
              <a:gd name="connsiteY2" fmla="*/ 5534 h 14175"/>
              <a:gd name="connsiteX3" fmla="*/ 1544 w 19034"/>
              <a:gd name="connsiteY3" fmla="*/ 776 h 14175"/>
              <a:gd name="connsiteX4" fmla="*/ 6375 w 19034"/>
              <a:gd name="connsiteY4" fmla="*/ 444 h 14175"/>
              <a:gd name="connsiteX5" fmla="*/ 17543 w 19034"/>
              <a:gd name="connsiteY5" fmla="*/ 8229 h 14175"/>
              <a:gd name="connsiteX6" fmla="*/ 18010 w 19034"/>
              <a:gd name="connsiteY6" fmla="*/ 12993 h 14175"/>
              <a:gd name="connsiteX7" fmla="*/ 14684 w 19034"/>
              <a:gd name="connsiteY7" fmla="*/ 14174 h 1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 h="14175">
                <a:moveTo>
                  <a:pt x="14953" y="14174"/>
                </a:moveTo>
                <a:cubicBezTo>
                  <a:pt x="13901" y="14171"/>
                  <a:pt x="12886" y="13868"/>
                  <a:pt x="12094" y="13319"/>
                </a:cubicBezTo>
                <a:lnTo>
                  <a:pt x="980" y="5534"/>
                </a:lnTo>
                <a:cubicBezTo>
                  <a:pt x="-522" y="4097"/>
                  <a:pt x="-269" y="1966"/>
                  <a:pt x="1544" y="776"/>
                </a:cubicBezTo>
                <a:cubicBezTo>
                  <a:pt x="2910" y="-120"/>
                  <a:pt x="4834" y="-253"/>
                  <a:pt x="6375" y="444"/>
                </a:cubicBezTo>
                <a:lnTo>
                  <a:pt x="17543" y="8229"/>
                </a:lnTo>
                <a:cubicBezTo>
                  <a:pt x="19332" y="9442"/>
                  <a:pt x="19540" y="11576"/>
                  <a:pt x="18010" y="12993"/>
                </a:cubicBezTo>
                <a:cubicBezTo>
                  <a:pt x="17180" y="13762"/>
                  <a:pt x="15960" y="14195"/>
                  <a:pt x="14684" y="1417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4" name="Freeform: Shape 1443">
            <a:extLst>
              <a:ext uri="{FF2B5EF4-FFF2-40B4-BE49-F238E27FC236}">
                <a16:creationId xmlns:a16="http://schemas.microsoft.com/office/drawing/2014/main" id="{B19A014C-CB43-CAA3-6F7F-71F5C89484FC}"/>
              </a:ext>
            </a:extLst>
          </p:cNvPr>
          <p:cNvSpPr/>
          <p:nvPr/>
        </p:nvSpPr>
        <p:spPr>
          <a:xfrm>
            <a:off x="528632" y="5106069"/>
            <a:ext cx="165275" cy="179227"/>
          </a:xfrm>
          <a:custGeom>
            <a:avLst/>
            <a:gdLst>
              <a:gd name="connsiteX0" fmla="*/ 102672 w 180904"/>
              <a:gd name="connsiteY0" fmla="*/ 143419 h 143419"/>
              <a:gd name="connsiteX1" fmla="*/ 78178 w 180904"/>
              <a:gd name="connsiteY1" fmla="*/ 143419 h 143419"/>
              <a:gd name="connsiteX2" fmla="*/ 65445 w 180904"/>
              <a:gd name="connsiteY2" fmla="*/ 133325 h 143419"/>
              <a:gd name="connsiteX3" fmla="*/ 65445 w 180904"/>
              <a:gd name="connsiteY3" fmla="*/ 119552 h 143419"/>
              <a:gd name="connsiteX4" fmla="*/ 53305 w 180904"/>
              <a:gd name="connsiteY4" fmla="*/ 129261 h 143419"/>
              <a:gd name="connsiteX5" fmla="*/ 35231 w 180904"/>
              <a:gd name="connsiteY5" fmla="*/ 129261 h 143419"/>
              <a:gd name="connsiteX6" fmla="*/ 17912 w 180904"/>
              <a:gd name="connsiteY6" fmla="*/ 115531 h 143419"/>
              <a:gd name="connsiteX7" fmla="*/ 17912 w 180904"/>
              <a:gd name="connsiteY7" fmla="*/ 101245 h 143419"/>
              <a:gd name="connsiteX8" fmla="*/ 30160 w 180904"/>
              <a:gd name="connsiteY8" fmla="*/ 91535 h 143419"/>
              <a:gd name="connsiteX9" fmla="*/ 12733 w 180904"/>
              <a:gd name="connsiteY9" fmla="*/ 91535 h 143419"/>
              <a:gd name="connsiteX10" fmla="*/ 0 w 180904"/>
              <a:gd name="connsiteY10" fmla="*/ 81398 h 143419"/>
              <a:gd name="connsiteX11" fmla="*/ 0 w 180904"/>
              <a:gd name="connsiteY11" fmla="*/ 61979 h 143419"/>
              <a:gd name="connsiteX12" fmla="*/ 12733 w 180904"/>
              <a:gd name="connsiteY12" fmla="*/ 51884 h 143419"/>
              <a:gd name="connsiteX13" fmla="*/ 35987 w 180904"/>
              <a:gd name="connsiteY13" fmla="*/ 51884 h 143419"/>
              <a:gd name="connsiteX14" fmla="*/ 40758 w 180904"/>
              <a:gd name="connsiteY14" fmla="*/ 54903 h 143419"/>
              <a:gd name="connsiteX15" fmla="*/ 36950 w 180904"/>
              <a:gd name="connsiteY15" fmla="*/ 58685 h 143419"/>
              <a:gd name="connsiteX16" fmla="*/ 35987 w 180904"/>
              <a:gd name="connsiteY16" fmla="*/ 58685 h 143419"/>
              <a:gd name="connsiteX17" fmla="*/ 12733 w 180904"/>
              <a:gd name="connsiteY17" fmla="*/ 58685 h 143419"/>
              <a:gd name="connsiteX18" fmla="*/ 8579 w 180904"/>
              <a:gd name="connsiteY18" fmla="*/ 61979 h 143419"/>
              <a:gd name="connsiteX19" fmla="*/ 8579 w 180904"/>
              <a:gd name="connsiteY19" fmla="*/ 81398 h 143419"/>
              <a:gd name="connsiteX20" fmla="*/ 12678 w 180904"/>
              <a:gd name="connsiteY20" fmla="*/ 84734 h 143419"/>
              <a:gd name="connsiteX21" fmla="*/ 12733 w 180904"/>
              <a:gd name="connsiteY21" fmla="*/ 84734 h 143419"/>
              <a:gd name="connsiteX22" fmla="*/ 35987 w 180904"/>
              <a:gd name="connsiteY22" fmla="*/ 84734 h 143419"/>
              <a:gd name="connsiteX23" fmla="*/ 40033 w 180904"/>
              <a:gd name="connsiteY23" fmla="*/ 86916 h 143419"/>
              <a:gd name="connsiteX24" fmla="*/ 41220 w 180904"/>
              <a:gd name="connsiteY24" fmla="*/ 89225 h 143419"/>
              <a:gd name="connsiteX25" fmla="*/ 40303 w 180904"/>
              <a:gd name="connsiteY25" fmla="*/ 93032 h 143419"/>
              <a:gd name="connsiteX26" fmla="*/ 24117 w 180904"/>
              <a:gd name="connsiteY26" fmla="*/ 105864 h 143419"/>
              <a:gd name="connsiteX27" fmla="*/ 22876 w 180904"/>
              <a:gd name="connsiteY27" fmla="*/ 108174 h 143419"/>
              <a:gd name="connsiteX28" fmla="*/ 24117 w 180904"/>
              <a:gd name="connsiteY28" fmla="*/ 110527 h 143419"/>
              <a:gd name="connsiteX29" fmla="*/ 41436 w 180904"/>
              <a:gd name="connsiteY29" fmla="*/ 124257 h 143419"/>
              <a:gd name="connsiteX30" fmla="*/ 47317 w 180904"/>
              <a:gd name="connsiteY30" fmla="*/ 124257 h 143419"/>
              <a:gd name="connsiteX31" fmla="*/ 63503 w 180904"/>
              <a:gd name="connsiteY31" fmla="*/ 111425 h 143419"/>
              <a:gd name="connsiteX32" fmla="*/ 68304 w 180904"/>
              <a:gd name="connsiteY32" fmla="*/ 110741 h 143419"/>
              <a:gd name="connsiteX33" fmla="*/ 71218 w 180904"/>
              <a:gd name="connsiteY33" fmla="*/ 111682 h 143419"/>
              <a:gd name="connsiteX34" fmla="*/ 73969 w 180904"/>
              <a:gd name="connsiteY34" fmla="*/ 114847 h 143419"/>
              <a:gd name="connsiteX35" fmla="*/ 73969 w 180904"/>
              <a:gd name="connsiteY35" fmla="*/ 133325 h 143419"/>
              <a:gd name="connsiteX36" fmla="*/ 78124 w 180904"/>
              <a:gd name="connsiteY36" fmla="*/ 136618 h 143419"/>
              <a:gd name="connsiteX37" fmla="*/ 102618 w 180904"/>
              <a:gd name="connsiteY37" fmla="*/ 136618 h 143419"/>
              <a:gd name="connsiteX38" fmla="*/ 106773 w 180904"/>
              <a:gd name="connsiteY38" fmla="*/ 133325 h 143419"/>
              <a:gd name="connsiteX39" fmla="*/ 106773 w 180904"/>
              <a:gd name="connsiteY39" fmla="*/ 114847 h 143419"/>
              <a:gd name="connsiteX40" fmla="*/ 109578 w 180904"/>
              <a:gd name="connsiteY40" fmla="*/ 111682 h 143419"/>
              <a:gd name="connsiteX41" fmla="*/ 112492 w 180904"/>
              <a:gd name="connsiteY41" fmla="*/ 110741 h 143419"/>
              <a:gd name="connsiteX42" fmla="*/ 117294 w 180904"/>
              <a:gd name="connsiteY42" fmla="*/ 111425 h 143419"/>
              <a:gd name="connsiteX43" fmla="*/ 133480 w 180904"/>
              <a:gd name="connsiteY43" fmla="*/ 124257 h 143419"/>
              <a:gd name="connsiteX44" fmla="*/ 139414 w 180904"/>
              <a:gd name="connsiteY44" fmla="*/ 124257 h 143419"/>
              <a:gd name="connsiteX45" fmla="*/ 156733 w 180904"/>
              <a:gd name="connsiteY45" fmla="*/ 110527 h 143419"/>
              <a:gd name="connsiteX46" fmla="*/ 156739 w 180904"/>
              <a:gd name="connsiteY46" fmla="*/ 105869 h 143419"/>
              <a:gd name="connsiteX47" fmla="*/ 156733 w 180904"/>
              <a:gd name="connsiteY47" fmla="*/ 105864 h 143419"/>
              <a:gd name="connsiteX48" fmla="*/ 140547 w 180904"/>
              <a:gd name="connsiteY48" fmla="*/ 93032 h 143419"/>
              <a:gd name="connsiteX49" fmla="*/ 139684 w 180904"/>
              <a:gd name="connsiteY49" fmla="*/ 89225 h 143419"/>
              <a:gd name="connsiteX50" fmla="*/ 140871 w 180904"/>
              <a:gd name="connsiteY50" fmla="*/ 86916 h 143419"/>
              <a:gd name="connsiteX51" fmla="*/ 144864 w 180904"/>
              <a:gd name="connsiteY51" fmla="*/ 84734 h 143419"/>
              <a:gd name="connsiteX52" fmla="*/ 168117 w 180904"/>
              <a:gd name="connsiteY52" fmla="*/ 84734 h 143419"/>
              <a:gd name="connsiteX53" fmla="*/ 172326 w 180904"/>
              <a:gd name="connsiteY53" fmla="*/ 81398 h 143419"/>
              <a:gd name="connsiteX54" fmla="*/ 172326 w 180904"/>
              <a:gd name="connsiteY54" fmla="*/ 61979 h 143419"/>
              <a:gd name="connsiteX55" fmla="*/ 168117 w 180904"/>
              <a:gd name="connsiteY55" fmla="*/ 58685 h 143419"/>
              <a:gd name="connsiteX56" fmla="*/ 145025 w 180904"/>
              <a:gd name="connsiteY56" fmla="*/ 58685 h 143419"/>
              <a:gd name="connsiteX57" fmla="*/ 141033 w 180904"/>
              <a:gd name="connsiteY57" fmla="*/ 56504 h 143419"/>
              <a:gd name="connsiteX58" fmla="*/ 139846 w 180904"/>
              <a:gd name="connsiteY58" fmla="*/ 54194 h 143419"/>
              <a:gd name="connsiteX59" fmla="*/ 140709 w 180904"/>
              <a:gd name="connsiteY59" fmla="*/ 50387 h 143419"/>
              <a:gd name="connsiteX60" fmla="*/ 156895 w 180904"/>
              <a:gd name="connsiteY60" fmla="*/ 37555 h 143419"/>
              <a:gd name="connsiteX61" fmla="*/ 156901 w 180904"/>
              <a:gd name="connsiteY61" fmla="*/ 32898 h 143419"/>
              <a:gd name="connsiteX62" fmla="*/ 156895 w 180904"/>
              <a:gd name="connsiteY62" fmla="*/ 32893 h 143419"/>
              <a:gd name="connsiteX63" fmla="*/ 139630 w 180904"/>
              <a:gd name="connsiteY63" fmla="*/ 18949 h 143419"/>
              <a:gd name="connsiteX64" fmla="*/ 133695 w 180904"/>
              <a:gd name="connsiteY64" fmla="*/ 18949 h 143419"/>
              <a:gd name="connsiteX65" fmla="*/ 117509 w 180904"/>
              <a:gd name="connsiteY65" fmla="*/ 31995 h 143419"/>
              <a:gd name="connsiteX66" fmla="*/ 112708 w 180904"/>
              <a:gd name="connsiteY66" fmla="*/ 32679 h 143419"/>
              <a:gd name="connsiteX67" fmla="*/ 109794 w 180904"/>
              <a:gd name="connsiteY67" fmla="*/ 31738 h 143419"/>
              <a:gd name="connsiteX68" fmla="*/ 106989 w 180904"/>
              <a:gd name="connsiteY68" fmla="*/ 28530 h 143419"/>
              <a:gd name="connsiteX69" fmla="*/ 106989 w 180904"/>
              <a:gd name="connsiteY69" fmla="*/ 10095 h 143419"/>
              <a:gd name="connsiteX70" fmla="*/ 102834 w 180904"/>
              <a:gd name="connsiteY70" fmla="*/ 6801 h 143419"/>
              <a:gd name="connsiteX71" fmla="*/ 78178 w 180904"/>
              <a:gd name="connsiteY71" fmla="*/ 6801 h 143419"/>
              <a:gd name="connsiteX72" fmla="*/ 74023 w 180904"/>
              <a:gd name="connsiteY72" fmla="*/ 10095 h 143419"/>
              <a:gd name="connsiteX73" fmla="*/ 74023 w 180904"/>
              <a:gd name="connsiteY73" fmla="*/ 14372 h 143419"/>
              <a:gd name="connsiteX74" fmla="*/ 69707 w 180904"/>
              <a:gd name="connsiteY74" fmla="*/ 17751 h 143419"/>
              <a:gd name="connsiteX75" fmla="*/ 65445 w 180904"/>
              <a:gd name="connsiteY75" fmla="*/ 14372 h 143419"/>
              <a:gd name="connsiteX76" fmla="*/ 65445 w 180904"/>
              <a:gd name="connsiteY76" fmla="*/ 10095 h 143419"/>
              <a:gd name="connsiteX77" fmla="*/ 78178 w 180904"/>
              <a:gd name="connsiteY77" fmla="*/ 0 h 143419"/>
              <a:gd name="connsiteX78" fmla="*/ 102672 w 180904"/>
              <a:gd name="connsiteY78" fmla="*/ 0 h 143419"/>
              <a:gd name="connsiteX79" fmla="*/ 115459 w 180904"/>
              <a:gd name="connsiteY79" fmla="*/ 10095 h 143419"/>
              <a:gd name="connsiteX80" fmla="*/ 115459 w 180904"/>
              <a:gd name="connsiteY80" fmla="*/ 23825 h 143419"/>
              <a:gd name="connsiteX81" fmla="*/ 127707 w 180904"/>
              <a:gd name="connsiteY81" fmla="*/ 14115 h 143419"/>
              <a:gd name="connsiteX82" fmla="*/ 145727 w 180904"/>
              <a:gd name="connsiteY82" fmla="*/ 14115 h 143419"/>
              <a:gd name="connsiteX83" fmla="*/ 163046 w 180904"/>
              <a:gd name="connsiteY83" fmla="*/ 27846 h 143419"/>
              <a:gd name="connsiteX84" fmla="*/ 163046 w 180904"/>
              <a:gd name="connsiteY84" fmla="*/ 42175 h 143419"/>
              <a:gd name="connsiteX85" fmla="*/ 150798 w 180904"/>
              <a:gd name="connsiteY85" fmla="*/ 51884 h 143419"/>
              <a:gd name="connsiteX86" fmla="*/ 168117 w 180904"/>
              <a:gd name="connsiteY86" fmla="*/ 51884 h 143419"/>
              <a:gd name="connsiteX87" fmla="*/ 180904 w 180904"/>
              <a:gd name="connsiteY87" fmla="*/ 61979 h 143419"/>
              <a:gd name="connsiteX88" fmla="*/ 180904 w 180904"/>
              <a:gd name="connsiteY88" fmla="*/ 81398 h 143419"/>
              <a:gd name="connsiteX89" fmla="*/ 168117 w 180904"/>
              <a:gd name="connsiteY89" fmla="*/ 91535 h 143419"/>
              <a:gd name="connsiteX90" fmla="*/ 150798 w 180904"/>
              <a:gd name="connsiteY90" fmla="*/ 91535 h 143419"/>
              <a:gd name="connsiteX91" fmla="*/ 163046 w 180904"/>
              <a:gd name="connsiteY91" fmla="*/ 101245 h 143419"/>
              <a:gd name="connsiteX92" fmla="*/ 163046 w 180904"/>
              <a:gd name="connsiteY92" fmla="*/ 115531 h 143419"/>
              <a:gd name="connsiteX93" fmla="*/ 145727 w 180904"/>
              <a:gd name="connsiteY93" fmla="*/ 129261 h 143419"/>
              <a:gd name="connsiteX94" fmla="*/ 127796 w 180904"/>
              <a:gd name="connsiteY94" fmla="*/ 129332 h 143419"/>
              <a:gd name="connsiteX95" fmla="*/ 127707 w 180904"/>
              <a:gd name="connsiteY95" fmla="*/ 129261 h 143419"/>
              <a:gd name="connsiteX96" fmla="*/ 115459 w 180904"/>
              <a:gd name="connsiteY96" fmla="*/ 119552 h 143419"/>
              <a:gd name="connsiteX97" fmla="*/ 115459 w 180904"/>
              <a:gd name="connsiteY97" fmla="*/ 133325 h 143419"/>
              <a:gd name="connsiteX98" fmla="*/ 102672 w 180904"/>
              <a:gd name="connsiteY98" fmla="*/ 143419 h 14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80904" h="143419">
                <a:moveTo>
                  <a:pt x="102672" y="143419"/>
                </a:moveTo>
                <a:lnTo>
                  <a:pt x="78178" y="143419"/>
                </a:lnTo>
                <a:cubicBezTo>
                  <a:pt x="71146" y="143419"/>
                  <a:pt x="65445" y="138900"/>
                  <a:pt x="65445" y="133325"/>
                </a:cubicBezTo>
                <a:lnTo>
                  <a:pt x="65445" y="119552"/>
                </a:lnTo>
                <a:lnTo>
                  <a:pt x="53305" y="129261"/>
                </a:lnTo>
                <a:cubicBezTo>
                  <a:pt x="48254" y="133102"/>
                  <a:pt x="40282" y="133102"/>
                  <a:pt x="35231" y="129261"/>
                </a:cubicBezTo>
                <a:lnTo>
                  <a:pt x="17912" y="115531"/>
                </a:lnTo>
                <a:cubicBezTo>
                  <a:pt x="12961" y="111578"/>
                  <a:pt x="12961" y="105198"/>
                  <a:pt x="17912" y="101245"/>
                </a:cubicBezTo>
                <a:lnTo>
                  <a:pt x="30160" y="91535"/>
                </a:lnTo>
                <a:lnTo>
                  <a:pt x="12733" y="91535"/>
                </a:lnTo>
                <a:cubicBezTo>
                  <a:pt x="5692" y="91512"/>
                  <a:pt x="0" y="86980"/>
                  <a:pt x="0" y="81398"/>
                </a:cubicBezTo>
                <a:lnTo>
                  <a:pt x="0" y="61979"/>
                </a:lnTo>
                <a:cubicBezTo>
                  <a:pt x="0" y="56404"/>
                  <a:pt x="5701" y="51884"/>
                  <a:pt x="12733" y="51884"/>
                </a:cubicBezTo>
                <a:lnTo>
                  <a:pt x="35987" y="51884"/>
                </a:lnTo>
                <a:cubicBezTo>
                  <a:pt x="38356" y="51673"/>
                  <a:pt x="40492" y="53025"/>
                  <a:pt x="40758" y="54903"/>
                </a:cubicBezTo>
                <a:cubicBezTo>
                  <a:pt x="41024" y="56781"/>
                  <a:pt x="39319" y="58474"/>
                  <a:pt x="36950" y="58685"/>
                </a:cubicBezTo>
                <a:cubicBezTo>
                  <a:pt x="36630" y="58714"/>
                  <a:pt x="36307" y="58714"/>
                  <a:pt x="35987" y="58685"/>
                </a:cubicBezTo>
                <a:lnTo>
                  <a:pt x="12733" y="58685"/>
                </a:lnTo>
                <a:cubicBezTo>
                  <a:pt x="10438" y="58685"/>
                  <a:pt x="8579" y="60160"/>
                  <a:pt x="8579" y="61979"/>
                </a:cubicBezTo>
                <a:lnTo>
                  <a:pt x="8579" y="81398"/>
                </a:lnTo>
                <a:cubicBezTo>
                  <a:pt x="8549" y="83217"/>
                  <a:pt x="10384" y="84710"/>
                  <a:pt x="12678" y="84734"/>
                </a:cubicBezTo>
                <a:cubicBezTo>
                  <a:pt x="12697" y="84734"/>
                  <a:pt x="12715" y="84734"/>
                  <a:pt x="12733" y="84734"/>
                </a:cubicBezTo>
                <a:lnTo>
                  <a:pt x="35987" y="84734"/>
                </a:lnTo>
                <a:cubicBezTo>
                  <a:pt x="37775" y="84727"/>
                  <a:pt x="39385" y="85594"/>
                  <a:pt x="40033" y="86916"/>
                </a:cubicBezTo>
                <a:cubicBezTo>
                  <a:pt x="40411" y="87686"/>
                  <a:pt x="40788" y="88456"/>
                  <a:pt x="41220" y="89225"/>
                </a:cubicBezTo>
                <a:cubicBezTo>
                  <a:pt x="41938" y="90523"/>
                  <a:pt x="41573" y="92036"/>
                  <a:pt x="40303" y="93032"/>
                </a:cubicBezTo>
                <a:lnTo>
                  <a:pt x="24117" y="105864"/>
                </a:lnTo>
                <a:cubicBezTo>
                  <a:pt x="23320" y="106466"/>
                  <a:pt x="22871" y="107302"/>
                  <a:pt x="22876" y="108174"/>
                </a:cubicBezTo>
                <a:cubicBezTo>
                  <a:pt x="22868" y="109060"/>
                  <a:pt x="23316" y="109909"/>
                  <a:pt x="24117" y="110527"/>
                </a:cubicBezTo>
                <a:lnTo>
                  <a:pt x="41436" y="124257"/>
                </a:lnTo>
                <a:cubicBezTo>
                  <a:pt x="43082" y="125501"/>
                  <a:pt x="45671" y="125501"/>
                  <a:pt x="47317" y="124257"/>
                </a:cubicBezTo>
                <a:lnTo>
                  <a:pt x="63503" y="111425"/>
                </a:lnTo>
                <a:cubicBezTo>
                  <a:pt x="64764" y="110421"/>
                  <a:pt x="66681" y="110148"/>
                  <a:pt x="68304" y="110741"/>
                </a:cubicBezTo>
                <a:cubicBezTo>
                  <a:pt x="69222" y="111083"/>
                  <a:pt x="70247" y="111382"/>
                  <a:pt x="71218" y="111682"/>
                </a:cubicBezTo>
                <a:cubicBezTo>
                  <a:pt x="72876" y="112180"/>
                  <a:pt x="73972" y="113440"/>
                  <a:pt x="73969" y="114847"/>
                </a:cubicBezTo>
                <a:lnTo>
                  <a:pt x="73969" y="133325"/>
                </a:lnTo>
                <a:cubicBezTo>
                  <a:pt x="73999" y="135134"/>
                  <a:pt x="75842" y="136595"/>
                  <a:pt x="78124" y="136618"/>
                </a:cubicBezTo>
                <a:lnTo>
                  <a:pt x="102618" y="136618"/>
                </a:lnTo>
                <a:cubicBezTo>
                  <a:pt x="104913" y="136618"/>
                  <a:pt x="106773" y="135144"/>
                  <a:pt x="106773" y="133325"/>
                </a:cubicBezTo>
                <a:lnTo>
                  <a:pt x="106773" y="114847"/>
                </a:lnTo>
                <a:cubicBezTo>
                  <a:pt x="106794" y="113434"/>
                  <a:pt x="107909" y="112176"/>
                  <a:pt x="109578" y="111682"/>
                </a:cubicBezTo>
                <a:lnTo>
                  <a:pt x="112492" y="110741"/>
                </a:lnTo>
                <a:cubicBezTo>
                  <a:pt x="114117" y="110161"/>
                  <a:pt x="116025" y="110433"/>
                  <a:pt x="117294" y="111425"/>
                </a:cubicBezTo>
                <a:lnTo>
                  <a:pt x="133480" y="124257"/>
                </a:lnTo>
                <a:cubicBezTo>
                  <a:pt x="135121" y="125551"/>
                  <a:pt x="137773" y="125551"/>
                  <a:pt x="139414" y="124257"/>
                </a:cubicBezTo>
                <a:lnTo>
                  <a:pt x="156733" y="110527"/>
                </a:lnTo>
                <a:cubicBezTo>
                  <a:pt x="158357" y="109242"/>
                  <a:pt x="158360" y="107157"/>
                  <a:pt x="156739" y="105869"/>
                </a:cubicBezTo>
                <a:cubicBezTo>
                  <a:pt x="156737" y="105867"/>
                  <a:pt x="156735" y="105866"/>
                  <a:pt x="156733" y="105864"/>
                </a:cubicBezTo>
                <a:lnTo>
                  <a:pt x="140547" y="93032"/>
                </a:lnTo>
                <a:cubicBezTo>
                  <a:pt x="139296" y="92026"/>
                  <a:pt x="138953" y="90514"/>
                  <a:pt x="139684" y="89225"/>
                </a:cubicBezTo>
                <a:cubicBezTo>
                  <a:pt x="140116" y="88456"/>
                  <a:pt x="140493" y="87686"/>
                  <a:pt x="140871" y="86916"/>
                </a:cubicBezTo>
                <a:cubicBezTo>
                  <a:pt x="141500" y="85601"/>
                  <a:pt x="143090" y="84732"/>
                  <a:pt x="144864" y="84734"/>
                </a:cubicBezTo>
                <a:lnTo>
                  <a:pt x="168117" y="84734"/>
                </a:lnTo>
                <a:cubicBezTo>
                  <a:pt x="170442" y="84734"/>
                  <a:pt x="172326" y="83241"/>
                  <a:pt x="172326" y="81398"/>
                </a:cubicBezTo>
                <a:lnTo>
                  <a:pt x="172326" y="61979"/>
                </a:lnTo>
                <a:cubicBezTo>
                  <a:pt x="172296" y="60153"/>
                  <a:pt x="170421" y="58685"/>
                  <a:pt x="168117" y="58685"/>
                </a:cubicBezTo>
                <a:lnTo>
                  <a:pt x="145025" y="58685"/>
                </a:lnTo>
                <a:cubicBezTo>
                  <a:pt x="143251" y="58687"/>
                  <a:pt x="141661" y="57819"/>
                  <a:pt x="141033" y="56504"/>
                </a:cubicBezTo>
                <a:cubicBezTo>
                  <a:pt x="140655" y="55734"/>
                  <a:pt x="140278" y="54964"/>
                  <a:pt x="139846" y="54194"/>
                </a:cubicBezTo>
                <a:cubicBezTo>
                  <a:pt x="139099" y="52907"/>
                  <a:pt x="139443" y="51387"/>
                  <a:pt x="140709" y="50387"/>
                </a:cubicBezTo>
                <a:lnTo>
                  <a:pt x="156895" y="37555"/>
                </a:lnTo>
                <a:cubicBezTo>
                  <a:pt x="158519" y="36270"/>
                  <a:pt x="158522" y="34185"/>
                  <a:pt x="156901" y="32898"/>
                </a:cubicBezTo>
                <a:cubicBezTo>
                  <a:pt x="156899" y="32896"/>
                  <a:pt x="156897" y="32895"/>
                  <a:pt x="156895" y="32893"/>
                </a:cubicBezTo>
                <a:lnTo>
                  <a:pt x="139630" y="18949"/>
                </a:lnTo>
                <a:cubicBezTo>
                  <a:pt x="137988" y="17654"/>
                  <a:pt x="135337" y="17654"/>
                  <a:pt x="133695" y="18949"/>
                </a:cubicBezTo>
                <a:lnTo>
                  <a:pt x="117509" y="31995"/>
                </a:lnTo>
                <a:cubicBezTo>
                  <a:pt x="116226" y="32965"/>
                  <a:pt x="114336" y="33234"/>
                  <a:pt x="112708" y="32679"/>
                </a:cubicBezTo>
                <a:lnTo>
                  <a:pt x="109794" y="31738"/>
                </a:lnTo>
                <a:cubicBezTo>
                  <a:pt x="108106" y="31238"/>
                  <a:pt x="106987" y="29959"/>
                  <a:pt x="106989" y="28530"/>
                </a:cubicBezTo>
                <a:lnTo>
                  <a:pt x="106989" y="10095"/>
                </a:lnTo>
                <a:cubicBezTo>
                  <a:pt x="106989" y="8275"/>
                  <a:pt x="105129" y="6801"/>
                  <a:pt x="102834" y="6801"/>
                </a:cubicBezTo>
                <a:lnTo>
                  <a:pt x="78178" y="6801"/>
                </a:lnTo>
                <a:cubicBezTo>
                  <a:pt x="75896" y="6824"/>
                  <a:pt x="74053" y="8285"/>
                  <a:pt x="74023" y="10095"/>
                </a:cubicBezTo>
                <a:lnTo>
                  <a:pt x="74023" y="14372"/>
                </a:lnTo>
                <a:cubicBezTo>
                  <a:pt x="73994" y="16245"/>
                  <a:pt x="72070" y="17751"/>
                  <a:pt x="69707" y="17751"/>
                </a:cubicBezTo>
                <a:cubicBezTo>
                  <a:pt x="67353" y="17751"/>
                  <a:pt x="65445" y="16238"/>
                  <a:pt x="65445" y="14372"/>
                </a:cubicBezTo>
                <a:lnTo>
                  <a:pt x="65445" y="10095"/>
                </a:lnTo>
                <a:cubicBezTo>
                  <a:pt x="65445" y="4519"/>
                  <a:pt x="71146" y="0"/>
                  <a:pt x="78178" y="0"/>
                </a:cubicBezTo>
                <a:lnTo>
                  <a:pt x="102672" y="0"/>
                </a:lnTo>
                <a:cubicBezTo>
                  <a:pt x="109713" y="0"/>
                  <a:pt x="115430" y="4513"/>
                  <a:pt x="115459" y="10095"/>
                </a:cubicBezTo>
                <a:lnTo>
                  <a:pt x="115459" y="23825"/>
                </a:lnTo>
                <a:lnTo>
                  <a:pt x="127707" y="14115"/>
                </a:lnTo>
                <a:cubicBezTo>
                  <a:pt x="132693" y="10189"/>
                  <a:pt x="140740" y="10189"/>
                  <a:pt x="145727" y="14115"/>
                </a:cubicBezTo>
                <a:lnTo>
                  <a:pt x="163046" y="27846"/>
                </a:lnTo>
                <a:cubicBezTo>
                  <a:pt x="168003" y="31813"/>
                  <a:pt x="168003" y="38207"/>
                  <a:pt x="163046" y="42175"/>
                </a:cubicBezTo>
                <a:lnTo>
                  <a:pt x="150798" y="51884"/>
                </a:lnTo>
                <a:lnTo>
                  <a:pt x="168117" y="51884"/>
                </a:lnTo>
                <a:cubicBezTo>
                  <a:pt x="175158" y="51884"/>
                  <a:pt x="180874" y="56397"/>
                  <a:pt x="180904" y="61979"/>
                </a:cubicBezTo>
                <a:lnTo>
                  <a:pt x="180904" y="81398"/>
                </a:lnTo>
                <a:cubicBezTo>
                  <a:pt x="180904" y="86997"/>
                  <a:pt x="175179" y="91535"/>
                  <a:pt x="168117" y="91535"/>
                </a:cubicBezTo>
                <a:lnTo>
                  <a:pt x="150798" y="91535"/>
                </a:lnTo>
                <a:lnTo>
                  <a:pt x="163046" y="101245"/>
                </a:lnTo>
                <a:cubicBezTo>
                  <a:pt x="167998" y="105198"/>
                  <a:pt x="167998" y="111578"/>
                  <a:pt x="163046" y="115531"/>
                </a:cubicBezTo>
                <a:lnTo>
                  <a:pt x="145727" y="129261"/>
                </a:lnTo>
                <a:cubicBezTo>
                  <a:pt x="140800" y="133206"/>
                  <a:pt x="132773" y="133239"/>
                  <a:pt x="127796" y="129332"/>
                </a:cubicBezTo>
                <a:cubicBezTo>
                  <a:pt x="127766" y="129309"/>
                  <a:pt x="127736" y="129285"/>
                  <a:pt x="127707" y="129261"/>
                </a:cubicBezTo>
                <a:lnTo>
                  <a:pt x="115459" y="119552"/>
                </a:lnTo>
                <a:lnTo>
                  <a:pt x="115459" y="133325"/>
                </a:lnTo>
                <a:cubicBezTo>
                  <a:pt x="115430" y="138907"/>
                  <a:pt x="109713" y="143419"/>
                  <a:pt x="102672" y="143419"/>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5" name="Freeform: Shape 1444">
            <a:extLst>
              <a:ext uri="{FF2B5EF4-FFF2-40B4-BE49-F238E27FC236}">
                <a16:creationId xmlns:a16="http://schemas.microsoft.com/office/drawing/2014/main" id="{CF0288DD-5338-6AA3-B505-A1A70083F899}"/>
              </a:ext>
            </a:extLst>
          </p:cNvPr>
          <p:cNvSpPr/>
          <p:nvPr/>
        </p:nvSpPr>
        <p:spPr>
          <a:xfrm>
            <a:off x="578861" y="5160536"/>
            <a:ext cx="64768" cy="70236"/>
          </a:xfrm>
          <a:custGeom>
            <a:avLst/>
            <a:gdLst>
              <a:gd name="connsiteX0" fmla="*/ 35447 w 70893"/>
              <a:gd name="connsiteY0" fmla="*/ 56204 h 56204"/>
              <a:gd name="connsiteX1" fmla="*/ 0 w 70893"/>
              <a:gd name="connsiteY1" fmla="*/ 28102 h 56204"/>
              <a:gd name="connsiteX2" fmla="*/ 35447 w 70893"/>
              <a:gd name="connsiteY2" fmla="*/ 0 h 56204"/>
              <a:gd name="connsiteX3" fmla="*/ 70894 w 70893"/>
              <a:gd name="connsiteY3" fmla="*/ 27974 h 56204"/>
              <a:gd name="connsiteX4" fmla="*/ 35609 w 70893"/>
              <a:gd name="connsiteY4" fmla="*/ 56204 h 56204"/>
              <a:gd name="connsiteX5" fmla="*/ 35447 w 70893"/>
              <a:gd name="connsiteY5" fmla="*/ 56204 h 56204"/>
              <a:gd name="connsiteX6" fmla="*/ 35447 w 70893"/>
              <a:gd name="connsiteY6" fmla="*/ 6844 h 56204"/>
              <a:gd name="connsiteX7" fmla="*/ 8470 w 70893"/>
              <a:gd name="connsiteY7" fmla="*/ 28231 h 56204"/>
              <a:gd name="connsiteX8" fmla="*/ 35447 w 70893"/>
              <a:gd name="connsiteY8" fmla="*/ 49617 h 56204"/>
              <a:gd name="connsiteX9" fmla="*/ 62423 w 70893"/>
              <a:gd name="connsiteY9" fmla="*/ 28231 h 56204"/>
              <a:gd name="connsiteX10" fmla="*/ 35447 w 70893"/>
              <a:gd name="connsiteY10" fmla="*/ 6844 h 5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93" h="56204">
                <a:moveTo>
                  <a:pt x="35447" y="56204"/>
                </a:moveTo>
                <a:cubicBezTo>
                  <a:pt x="15870" y="56204"/>
                  <a:pt x="-1" y="43622"/>
                  <a:pt x="0" y="28102"/>
                </a:cubicBezTo>
                <a:cubicBezTo>
                  <a:pt x="0" y="12581"/>
                  <a:pt x="15870" y="0"/>
                  <a:pt x="35447" y="0"/>
                </a:cubicBezTo>
                <a:cubicBezTo>
                  <a:pt x="54961" y="0"/>
                  <a:pt x="70805" y="12504"/>
                  <a:pt x="70894" y="27974"/>
                </a:cubicBezTo>
                <a:cubicBezTo>
                  <a:pt x="70983" y="43494"/>
                  <a:pt x="55185" y="56133"/>
                  <a:pt x="35609" y="56204"/>
                </a:cubicBezTo>
                <a:cubicBezTo>
                  <a:pt x="35554" y="56204"/>
                  <a:pt x="35500" y="56204"/>
                  <a:pt x="35447" y="56204"/>
                </a:cubicBezTo>
                <a:close/>
                <a:moveTo>
                  <a:pt x="35447" y="6844"/>
                </a:moveTo>
                <a:cubicBezTo>
                  <a:pt x="20548" y="6844"/>
                  <a:pt x="8470" y="16419"/>
                  <a:pt x="8470" y="28231"/>
                </a:cubicBezTo>
                <a:cubicBezTo>
                  <a:pt x="8470" y="40042"/>
                  <a:pt x="20548" y="49617"/>
                  <a:pt x="35447" y="49617"/>
                </a:cubicBezTo>
                <a:cubicBezTo>
                  <a:pt x="50345" y="49617"/>
                  <a:pt x="62423" y="40042"/>
                  <a:pt x="62423" y="28231"/>
                </a:cubicBezTo>
                <a:cubicBezTo>
                  <a:pt x="62423" y="16419"/>
                  <a:pt x="50345" y="6844"/>
                  <a:pt x="35447" y="684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6" name="Freeform: Shape 1445">
            <a:extLst>
              <a:ext uri="{FF2B5EF4-FFF2-40B4-BE49-F238E27FC236}">
                <a16:creationId xmlns:a16="http://schemas.microsoft.com/office/drawing/2014/main" id="{5267A587-5D84-4B8F-C155-36802D9CEB9D}"/>
              </a:ext>
            </a:extLst>
          </p:cNvPr>
          <p:cNvSpPr/>
          <p:nvPr/>
        </p:nvSpPr>
        <p:spPr>
          <a:xfrm>
            <a:off x="490332" y="5276796"/>
            <a:ext cx="203574" cy="8499"/>
          </a:xfrm>
          <a:custGeom>
            <a:avLst/>
            <a:gdLst>
              <a:gd name="connsiteX0" fmla="*/ 218509 w 222825"/>
              <a:gd name="connsiteY0" fmla="*/ 6801 h 6801"/>
              <a:gd name="connsiteX1" fmla="*/ 4316 w 222825"/>
              <a:gd name="connsiteY1" fmla="*/ 6801 h 6801"/>
              <a:gd name="connsiteX2" fmla="*/ 0 w 222825"/>
              <a:gd name="connsiteY2" fmla="*/ 3380 h 6801"/>
              <a:gd name="connsiteX3" fmla="*/ 4262 w 222825"/>
              <a:gd name="connsiteY3" fmla="*/ 0 h 6801"/>
              <a:gd name="connsiteX4" fmla="*/ 4316 w 222825"/>
              <a:gd name="connsiteY4" fmla="*/ 0 h 6801"/>
              <a:gd name="connsiteX5" fmla="*/ 218509 w 222825"/>
              <a:gd name="connsiteY5" fmla="*/ 0 h 6801"/>
              <a:gd name="connsiteX6" fmla="*/ 222825 w 222825"/>
              <a:gd name="connsiteY6" fmla="*/ 3336 h 6801"/>
              <a:gd name="connsiteX7" fmla="*/ 222826 w 222825"/>
              <a:gd name="connsiteY7" fmla="*/ 3380 h 6801"/>
              <a:gd name="connsiteX8" fmla="*/ 218509 w 222825"/>
              <a:gd name="connsiteY8" fmla="*/ 6801 h 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25" h="6801">
                <a:moveTo>
                  <a:pt x="218509" y="6801"/>
                </a:moveTo>
                <a:lnTo>
                  <a:pt x="4316" y="6801"/>
                </a:lnTo>
                <a:cubicBezTo>
                  <a:pt x="1933" y="6801"/>
                  <a:pt x="0" y="5269"/>
                  <a:pt x="0" y="3380"/>
                </a:cubicBezTo>
                <a:cubicBezTo>
                  <a:pt x="0" y="1513"/>
                  <a:pt x="1908" y="0"/>
                  <a:pt x="4262" y="0"/>
                </a:cubicBezTo>
                <a:cubicBezTo>
                  <a:pt x="4280" y="0"/>
                  <a:pt x="4298" y="0"/>
                  <a:pt x="4316" y="0"/>
                </a:cubicBezTo>
                <a:lnTo>
                  <a:pt x="218509" y="0"/>
                </a:lnTo>
                <a:cubicBezTo>
                  <a:pt x="220863" y="-23"/>
                  <a:pt x="222795" y="1471"/>
                  <a:pt x="222825" y="3336"/>
                </a:cubicBezTo>
                <a:cubicBezTo>
                  <a:pt x="222826" y="3351"/>
                  <a:pt x="222826" y="3365"/>
                  <a:pt x="222826" y="3380"/>
                </a:cubicBezTo>
                <a:cubicBezTo>
                  <a:pt x="222826" y="5269"/>
                  <a:pt x="220893" y="6801"/>
                  <a:pt x="218509"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7" name="Freeform: Shape 1446">
            <a:extLst>
              <a:ext uri="{FF2B5EF4-FFF2-40B4-BE49-F238E27FC236}">
                <a16:creationId xmlns:a16="http://schemas.microsoft.com/office/drawing/2014/main" id="{A19DA0DA-A2EA-0681-6EB9-51E16086A651}"/>
              </a:ext>
            </a:extLst>
          </p:cNvPr>
          <p:cNvSpPr/>
          <p:nvPr/>
        </p:nvSpPr>
        <p:spPr>
          <a:xfrm>
            <a:off x="569101" y="5065657"/>
            <a:ext cx="7837" cy="14165"/>
          </a:xfrm>
          <a:custGeom>
            <a:avLst/>
            <a:gdLst>
              <a:gd name="connsiteX0" fmla="*/ 4316 w 8578"/>
              <a:gd name="connsiteY0" fmla="*/ 11335 h 11335"/>
              <a:gd name="connsiteX1" fmla="*/ 0 w 8578"/>
              <a:gd name="connsiteY1" fmla="*/ 7914 h 11335"/>
              <a:gd name="connsiteX2" fmla="*/ 0 w 8578"/>
              <a:gd name="connsiteY2" fmla="*/ 3380 h 11335"/>
              <a:gd name="connsiteX3" fmla="*/ 4262 w 8578"/>
              <a:gd name="connsiteY3" fmla="*/ 0 h 11335"/>
              <a:gd name="connsiteX4" fmla="*/ 4316 w 8578"/>
              <a:gd name="connsiteY4" fmla="*/ 0 h 11335"/>
              <a:gd name="connsiteX5" fmla="*/ 8579 w 8578"/>
              <a:gd name="connsiteY5" fmla="*/ 3380 h 11335"/>
              <a:gd name="connsiteX6" fmla="*/ 8579 w 8578"/>
              <a:gd name="connsiteY6" fmla="*/ 7914 h 11335"/>
              <a:gd name="connsiteX7" fmla="*/ 4371 w 8578"/>
              <a:gd name="connsiteY7" fmla="*/ 11335 h 11335"/>
              <a:gd name="connsiteX8" fmla="*/ 4316 w 8578"/>
              <a:gd name="connsiteY8" fmla="*/ 11335 h 1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8" h="11335">
                <a:moveTo>
                  <a:pt x="4316" y="11335"/>
                </a:moveTo>
                <a:cubicBezTo>
                  <a:pt x="1933" y="11335"/>
                  <a:pt x="0" y="9803"/>
                  <a:pt x="0" y="7914"/>
                </a:cubicBezTo>
                <a:lnTo>
                  <a:pt x="0" y="3380"/>
                </a:lnTo>
                <a:cubicBezTo>
                  <a:pt x="0" y="1513"/>
                  <a:pt x="1908" y="0"/>
                  <a:pt x="4262" y="0"/>
                </a:cubicBezTo>
                <a:cubicBezTo>
                  <a:pt x="4280" y="0"/>
                  <a:pt x="4298" y="0"/>
                  <a:pt x="4316" y="0"/>
                </a:cubicBezTo>
                <a:cubicBezTo>
                  <a:pt x="6670" y="0"/>
                  <a:pt x="8579" y="1513"/>
                  <a:pt x="8579" y="3380"/>
                </a:cubicBezTo>
                <a:lnTo>
                  <a:pt x="8579" y="7914"/>
                </a:lnTo>
                <a:cubicBezTo>
                  <a:pt x="8608" y="9780"/>
                  <a:pt x="6724" y="11311"/>
                  <a:pt x="4371" y="11335"/>
                </a:cubicBezTo>
                <a:cubicBezTo>
                  <a:pt x="4352" y="11335"/>
                  <a:pt x="4335" y="11335"/>
                  <a:pt x="4316" y="1133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8" name="Freeform: Shape 1447">
            <a:extLst>
              <a:ext uri="{FF2B5EF4-FFF2-40B4-BE49-F238E27FC236}">
                <a16:creationId xmlns:a16="http://schemas.microsoft.com/office/drawing/2014/main" id="{40B79A67-4BE6-4927-4950-C742937E1018}"/>
              </a:ext>
            </a:extLst>
          </p:cNvPr>
          <p:cNvSpPr/>
          <p:nvPr/>
        </p:nvSpPr>
        <p:spPr>
          <a:xfrm>
            <a:off x="569101" y="5085275"/>
            <a:ext cx="7837" cy="14005"/>
          </a:xfrm>
          <a:custGeom>
            <a:avLst/>
            <a:gdLst>
              <a:gd name="connsiteX0" fmla="*/ 4316 w 8578"/>
              <a:gd name="connsiteY0" fmla="*/ 11207 h 11207"/>
              <a:gd name="connsiteX1" fmla="*/ 0 w 8578"/>
              <a:gd name="connsiteY1" fmla="*/ 7785 h 11207"/>
              <a:gd name="connsiteX2" fmla="*/ 0 w 8578"/>
              <a:gd name="connsiteY2" fmla="*/ 3380 h 11207"/>
              <a:gd name="connsiteX3" fmla="*/ 4262 w 8578"/>
              <a:gd name="connsiteY3" fmla="*/ 0 h 11207"/>
              <a:gd name="connsiteX4" fmla="*/ 4316 w 8578"/>
              <a:gd name="connsiteY4" fmla="*/ 0 h 11207"/>
              <a:gd name="connsiteX5" fmla="*/ 8579 w 8578"/>
              <a:gd name="connsiteY5" fmla="*/ 3380 h 11207"/>
              <a:gd name="connsiteX6" fmla="*/ 8579 w 8578"/>
              <a:gd name="connsiteY6" fmla="*/ 7914 h 11207"/>
              <a:gd name="connsiteX7" fmla="*/ 4316 w 8578"/>
              <a:gd name="connsiteY7" fmla="*/ 11207 h 1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 h="11207">
                <a:moveTo>
                  <a:pt x="4316" y="11207"/>
                </a:moveTo>
                <a:cubicBezTo>
                  <a:pt x="1933" y="11207"/>
                  <a:pt x="0" y="9675"/>
                  <a:pt x="0" y="7785"/>
                </a:cubicBezTo>
                <a:lnTo>
                  <a:pt x="0" y="3380"/>
                </a:lnTo>
                <a:cubicBezTo>
                  <a:pt x="0" y="1513"/>
                  <a:pt x="1908" y="0"/>
                  <a:pt x="4262" y="0"/>
                </a:cubicBezTo>
                <a:cubicBezTo>
                  <a:pt x="4280" y="0"/>
                  <a:pt x="4298" y="0"/>
                  <a:pt x="4316" y="0"/>
                </a:cubicBezTo>
                <a:cubicBezTo>
                  <a:pt x="6670" y="0"/>
                  <a:pt x="8579" y="1513"/>
                  <a:pt x="8579" y="3380"/>
                </a:cubicBezTo>
                <a:lnTo>
                  <a:pt x="8579" y="7914"/>
                </a:lnTo>
                <a:cubicBezTo>
                  <a:pt x="8520" y="9746"/>
                  <a:pt x="6629" y="11208"/>
                  <a:pt x="4316" y="1120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49" name="Freeform: Shape 1448">
            <a:extLst>
              <a:ext uri="{FF2B5EF4-FFF2-40B4-BE49-F238E27FC236}">
                <a16:creationId xmlns:a16="http://schemas.microsoft.com/office/drawing/2014/main" id="{BB3E3CA4-02A8-814E-80B2-9E94C0BF24A9}"/>
              </a:ext>
            </a:extLst>
          </p:cNvPr>
          <p:cNvSpPr/>
          <p:nvPr/>
        </p:nvSpPr>
        <p:spPr>
          <a:xfrm>
            <a:off x="575557" y="5078273"/>
            <a:ext cx="13062" cy="8499"/>
          </a:xfrm>
          <a:custGeom>
            <a:avLst/>
            <a:gdLst>
              <a:gd name="connsiteX0" fmla="*/ 9982 w 14297"/>
              <a:gd name="connsiteY0" fmla="*/ 6801 h 6801"/>
              <a:gd name="connsiteX1" fmla="*/ 4263 w 14297"/>
              <a:gd name="connsiteY1" fmla="*/ 6801 h 6801"/>
              <a:gd name="connsiteX2" fmla="*/ 0 w 14297"/>
              <a:gd name="connsiteY2" fmla="*/ 3422 h 6801"/>
              <a:gd name="connsiteX3" fmla="*/ 4208 w 14297"/>
              <a:gd name="connsiteY3" fmla="*/ 0 h 6801"/>
              <a:gd name="connsiteX4" fmla="*/ 4263 w 14297"/>
              <a:gd name="connsiteY4" fmla="*/ 0 h 6801"/>
              <a:gd name="connsiteX5" fmla="*/ 9982 w 14297"/>
              <a:gd name="connsiteY5" fmla="*/ 0 h 6801"/>
              <a:gd name="connsiteX6" fmla="*/ 14298 w 14297"/>
              <a:gd name="connsiteY6" fmla="*/ 3422 h 6801"/>
              <a:gd name="connsiteX7" fmla="*/ 10036 w 14297"/>
              <a:gd name="connsiteY7" fmla="*/ 6801 h 6801"/>
              <a:gd name="connsiteX8" fmla="*/ 9982 w 14297"/>
              <a:gd name="connsiteY8" fmla="*/ 6801 h 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7" h="6801">
                <a:moveTo>
                  <a:pt x="9982" y="6801"/>
                </a:moveTo>
                <a:lnTo>
                  <a:pt x="4263" y="6801"/>
                </a:lnTo>
                <a:cubicBezTo>
                  <a:pt x="1909" y="6801"/>
                  <a:pt x="0" y="5288"/>
                  <a:pt x="0" y="3422"/>
                </a:cubicBezTo>
                <a:cubicBezTo>
                  <a:pt x="-29" y="1556"/>
                  <a:pt x="1855" y="24"/>
                  <a:pt x="4208" y="0"/>
                </a:cubicBezTo>
                <a:cubicBezTo>
                  <a:pt x="4226" y="0"/>
                  <a:pt x="4244" y="0"/>
                  <a:pt x="4263" y="0"/>
                </a:cubicBezTo>
                <a:lnTo>
                  <a:pt x="9982" y="0"/>
                </a:lnTo>
                <a:cubicBezTo>
                  <a:pt x="12365" y="0"/>
                  <a:pt x="14298" y="1532"/>
                  <a:pt x="14298" y="3422"/>
                </a:cubicBezTo>
                <a:cubicBezTo>
                  <a:pt x="14298" y="5288"/>
                  <a:pt x="12390" y="6801"/>
                  <a:pt x="10036" y="6801"/>
                </a:cubicBezTo>
                <a:cubicBezTo>
                  <a:pt x="10018" y="6801"/>
                  <a:pt x="10000" y="6801"/>
                  <a:pt x="9982"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0" name="Freeform: Shape 1449">
            <a:extLst>
              <a:ext uri="{FF2B5EF4-FFF2-40B4-BE49-F238E27FC236}">
                <a16:creationId xmlns:a16="http://schemas.microsoft.com/office/drawing/2014/main" id="{76AB0E6C-25AE-6C4D-AD95-94C457DAD856}"/>
              </a:ext>
            </a:extLst>
          </p:cNvPr>
          <p:cNvSpPr/>
          <p:nvPr/>
        </p:nvSpPr>
        <p:spPr>
          <a:xfrm>
            <a:off x="557468" y="5078273"/>
            <a:ext cx="13062" cy="8499"/>
          </a:xfrm>
          <a:custGeom>
            <a:avLst/>
            <a:gdLst>
              <a:gd name="connsiteX0" fmla="*/ 9982 w 14297"/>
              <a:gd name="connsiteY0" fmla="*/ 6801 h 6801"/>
              <a:gd name="connsiteX1" fmla="*/ 4263 w 14297"/>
              <a:gd name="connsiteY1" fmla="*/ 6801 h 6801"/>
              <a:gd name="connsiteX2" fmla="*/ 0 w 14297"/>
              <a:gd name="connsiteY2" fmla="*/ 3422 h 6801"/>
              <a:gd name="connsiteX3" fmla="*/ 4208 w 14297"/>
              <a:gd name="connsiteY3" fmla="*/ 0 h 6801"/>
              <a:gd name="connsiteX4" fmla="*/ 4263 w 14297"/>
              <a:gd name="connsiteY4" fmla="*/ 0 h 6801"/>
              <a:gd name="connsiteX5" fmla="*/ 9982 w 14297"/>
              <a:gd name="connsiteY5" fmla="*/ 0 h 6801"/>
              <a:gd name="connsiteX6" fmla="*/ 14298 w 14297"/>
              <a:gd name="connsiteY6" fmla="*/ 3422 h 6801"/>
              <a:gd name="connsiteX7" fmla="*/ 10036 w 14297"/>
              <a:gd name="connsiteY7" fmla="*/ 6801 h 6801"/>
              <a:gd name="connsiteX8" fmla="*/ 9982 w 14297"/>
              <a:gd name="connsiteY8" fmla="*/ 6801 h 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7" h="6801">
                <a:moveTo>
                  <a:pt x="9982" y="6801"/>
                </a:moveTo>
                <a:lnTo>
                  <a:pt x="4263" y="6801"/>
                </a:lnTo>
                <a:cubicBezTo>
                  <a:pt x="1909" y="6801"/>
                  <a:pt x="0" y="5288"/>
                  <a:pt x="0" y="3422"/>
                </a:cubicBezTo>
                <a:cubicBezTo>
                  <a:pt x="-29" y="1556"/>
                  <a:pt x="1855" y="24"/>
                  <a:pt x="4208" y="0"/>
                </a:cubicBezTo>
                <a:cubicBezTo>
                  <a:pt x="4226" y="0"/>
                  <a:pt x="4244" y="0"/>
                  <a:pt x="4263" y="0"/>
                </a:cubicBezTo>
                <a:lnTo>
                  <a:pt x="9982" y="0"/>
                </a:lnTo>
                <a:cubicBezTo>
                  <a:pt x="12365" y="0"/>
                  <a:pt x="14298" y="1532"/>
                  <a:pt x="14298" y="3422"/>
                </a:cubicBezTo>
                <a:cubicBezTo>
                  <a:pt x="14298" y="5288"/>
                  <a:pt x="12390" y="6801"/>
                  <a:pt x="10036" y="6801"/>
                </a:cubicBezTo>
                <a:cubicBezTo>
                  <a:pt x="10018" y="6801"/>
                  <a:pt x="10000" y="6801"/>
                  <a:pt x="9982"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1" name="Freeform: Shape 1450">
            <a:extLst>
              <a:ext uri="{FF2B5EF4-FFF2-40B4-BE49-F238E27FC236}">
                <a16:creationId xmlns:a16="http://schemas.microsoft.com/office/drawing/2014/main" id="{77C6C984-10C3-26D5-C36E-6DB5E04274BF}"/>
              </a:ext>
            </a:extLst>
          </p:cNvPr>
          <p:cNvSpPr/>
          <p:nvPr/>
        </p:nvSpPr>
        <p:spPr>
          <a:xfrm>
            <a:off x="635915" y="5047861"/>
            <a:ext cx="7887" cy="14643"/>
          </a:xfrm>
          <a:custGeom>
            <a:avLst/>
            <a:gdLst>
              <a:gd name="connsiteX0" fmla="*/ 4290 w 8632"/>
              <a:gd name="connsiteY0" fmla="*/ 11717 h 11717"/>
              <a:gd name="connsiteX1" fmla="*/ 27 w 8632"/>
              <a:gd name="connsiteY1" fmla="*/ 8338 h 11717"/>
              <a:gd name="connsiteX2" fmla="*/ 27 w 8632"/>
              <a:gd name="connsiteY2" fmla="*/ 3804 h 11717"/>
              <a:gd name="connsiteX3" fmla="*/ 3835 w 8632"/>
              <a:gd name="connsiteY3" fmla="*/ 22 h 11717"/>
              <a:gd name="connsiteX4" fmla="*/ 8606 w 8632"/>
              <a:gd name="connsiteY4" fmla="*/ 3040 h 11717"/>
              <a:gd name="connsiteX5" fmla="*/ 8606 w 8632"/>
              <a:gd name="connsiteY5" fmla="*/ 3804 h 11717"/>
              <a:gd name="connsiteX6" fmla="*/ 8606 w 8632"/>
              <a:gd name="connsiteY6" fmla="*/ 8338 h 11717"/>
              <a:gd name="connsiteX7" fmla="*/ 4344 w 8632"/>
              <a:gd name="connsiteY7" fmla="*/ 11718 h 11717"/>
              <a:gd name="connsiteX8" fmla="*/ 4290 w 8632"/>
              <a:gd name="connsiteY8" fmla="*/ 11717 h 1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2" h="11717">
                <a:moveTo>
                  <a:pt x="4290" y="11717"/>
                </a:moveTo>
                <a:cubicBezTo>
                  <a:pt x="1936" y="11717"/>
                  <a:pt x="27" y="10204"/>
                  <a:pt x="27" y="8338"/>
                </a:cubicBezTo>
                <a:lnTo>
                  <a:pt x="27" y="3804"/>
                </a:lnTo>
                <a:cubicBezTo>
                  <a:pt x="-239" y="1926"/>
                  <a:pt x="1466" y="233"/>
                  <a:pt x="3835" y="22"/>
                </a:cubicBezTo>
                <a:cubicBezTo>
                  <a:pt x="6204" y="-189"/>
                  <a:pt x="8340" y="1162"/>
                  <a:pt x="8606" y="3040"/>
                </a:cubicBezTo>
                <a:cubicBezTo>
                  <a:pt x="8642" y="3294"/>
                  <a:pt x="8642" y="3550"/>
                  <a:pt x="8606" y="3804"/>
                </a:cubicBezTo>
                <a:lnTo>
                  <a:pt x="8606" y="8338"/>
                </a:lnTo>
                <a:cubicBezTo>
                  <a:pt x="8606" y="10204"/>
                  <a:pt x="6698" y="11717"/>
                  <a:pt x="4344" y="11718"/>
                </a:cubicBezTo>
                <a:cubicBezTo>
                  <a:pt x="4326" y="11718"/>
                  <a:pt x="4308" y="11717"/>
                  <a:pt x="4290" y="1171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2" name="Freeform: Shape 1451">
            <a:extLst>
              <a:ext uri="{FF2B5EF4-FFF2-40B4-BE49-F238E27FC236}">
                <a16:creationId xmlns:a16="http://schemas.microsoft.com/office/drawing/2014/main" id="{31E1CD73-050A-FDC7-CDB3-A60B5FD7C094}"/>
              </a:ext>
            </a:extLst>
          </p:cNvPr>
          <p:cNvSpPr/>
          <p:nvPr/>
        </p:nvSpPr>
        <p:spPr>
          <a:xfrm>
            <a:off x="635915" y="5067478"/>
            <a:ext cx="7887" cy="14695"/>
          </a:xfrm>
          <a:custGeom>
            <a:avLst/>
            <a:gdLst>
              <a:gd name="connsiteX0" fmla="*/ 4290 w 8632"/>
              <a:gd name="connsiteY0" fmla="*/ 11760 h 11759"/>
              <a:gd name="connsiteX1" fmla="*/ 27 w 8632"/>
              <a:gd name="connsiteY1" fmla="*/ 8338 h 11759"/>
              <a:gd name="connsiteX2" fmla="*/ 27 w 8632"/>
              <a:gd name="connsiteY2" fmla="*/ 3804 h 11759"/>
              <a:gd name="connsiteX3" fmla="*/ 3835 w 8632"/>
              <a:gd name="connsiteY3" fmla="*/ 22 h 11759"/>
              <a:gd name="connsiteX4" fmla="*/ 8606 w 8632"/>
              <a:gd name="connsiteY4" fmla="*/ 3040 h 11759"/>
              <a:gd name="connsiteX5" fmla="*/ 8606 w 8632"/>
              <a:gd name="connsiteY5" fmla="*/ 3804 h 11759"/>
              <a:gd name="connsiteX6" fmla="*/ 8606 w 8632"/>
              <a:gd name="connsiteY6" fmla="*/ 8338 h 11759"/>
              <a:gd name="connsiteX7" fmla="*/ 4290 w 8632"/>
              <a:gd name="connsiteY7" fmla="*/ 11760 h 1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2" h="11759">
                <a:moveTo>
                  <a:pt x="4290" y="11760"/>
                </a:moveTo>
                <a:cubicBezTo>
                  <a:pt x="1927" y="11736"/>
                  <a:pt x="27" y="10212"/>
                  <a:pt x="27" y="8338"/>
                </a:cubicBezTo>
                <a:lnTo>
                  <a:pt x="27" y="3804"/>
                </a:lnTo>
                <a:cubicBezTo>
                  <a:pt x="-239" y="1926"/>
                  <a:pt x="1466" y="233"/>
                  <a:pt x="3835" y="22"/>
                </a:cubicBezTo>
                <a:cubicBezTo>
                  <a:pt x="6204" y="-189"/>
                  <a:pt x="8340" y="1162"/>
                  <a:pt x="8606" y="3040"/>
                </a:cubicBezTo>
                <a:cubicBezTo>
                  <a:pt x="8642" y="3294"/>
                  <a:pt x="8642" y="3550"/>
                  <a:pt x="8606" y="3804"/>
                </a:cubicBezTo>
                <a:lnTo>
                  <a:pt x="8606" y="8338"/>
                </a:lnTo>
                <a:cubicBezTo>
                  <a:pt x="8606" y="10228"/>
                  <a:pt x="6673" y="11760"/>
                  <a:pt x="4290" y="11760"/>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3" name="Freeform: Shape 1452">
            <a:extLst>
              <a:ext uri="{FF2B5EF4-FFF2-40B4-BE49-F238E27FC236}">
                <a16:creationId xmlns:a16="http://schemas.microsoft.com/office/drawing/2014/main" id="{E26697DA-DE86-133D-7AD8-877F4A593011}"/>
              </a:ext>
            </a:extLst>
          </p:cNvPr>
          <p:cNvSpPr/>
          <p:nvPr/>
        </p:nvSpPr>
        <p:spPr>
          <a:xfrm>
            <a:off x="642398" y="5061008"/>
            <a:ext cx="13111" cy="8499"/>
          </a:xfrm>
          <a:custGeom>
            <a:avLst/>
            <a:gdLst>
              <a:gd name="connsiteX0" fmla="*/ 9981 w 14351"/>
              <a:gd name="connsiteY0" fmla="*/ 6801 h 6801"/>
              <a:gd name="connsiteX1" fmla="*/ 4316 w 14351"/>
              <a:gd name="connsiteY1" fmla="*/ 6801 h 6801"/>
              <a:gd name="connsiteX2" fmla="*/ 0 w 14351"/>
              <a:gd name="connsiteY2" fmla="*/ 3380 h 6801"/>
              <a:gd name="connsiteX3" fmla="*/ 4262 w 14351"/>
              <a:gd name="connsiteY3" fmla="*/ 0 h 6801"/>
              <a:gd name="connsiteX4" fmla="*/ 4316 w 14351"/>
              <a:gd name="connsiteY4" fmla="*/ 0 h 6801"/>
              <a:gd name="connsiteX5" fmla="*/ 10035 w 14351"/>
              <a:gd name="connsiteY5" fmla="*/ 0 h 6801"/>
              <a:gd name="connsiteX6" fmla="*/ 14351 w 14351"/>
              <a:gd name="connsiteY6" fmla="*/ 3336 h 6801"/>
              <a:gd name="connsiteX7" fmla="*/ 14351 w 14351"/>
              <a:gd name="connsiteY7" fmla="*/ 3380 h 6801"/>
              <a:gd name="connsiteX8" fmla="*/ 10036 w 14351"/>
              <a:gd name="connsiteY8" fmla="*/ 6802 h 6801"/>
              <a:gd name="connsiteX9" fmla="*/ 9981 w 14351"/>
              <a:gd name="connsiteY9" fmla="*/ 6801 h 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51" h="6801">
                <a:moveTo>
                  <a:pt x="9981" y="6801"/>
                </a:moveTo>
                <a:lnTo>
                  <a:pt x="4316" y="6801"/>
                </a:lnTo>
                <a:cubicBezTo>
                  <a:pt x="1933" y="6801"/>
                  <a:pt x="0" y="5269"/>
                  <a:pt x="0" y="3380"/>
                </a:cubicBezTo>
                <a:cubicBezTo>
                  <a:pt x="0" y="1513"/>
                  <a:pt x="1908" y="0"/>
                  <a:pt x="4262" y="0"/>
                </a:cubicBezTo>
                <a:cubicBezTo>
                  <a:pt x="4280" y="0"/>
                  <a:pt x="4298" y="0"/>
                  <a:pt x="4316" y="0"/>
                </a:cubicBezTo>
                <a:lnTo>
                  <a:pt x="10035" y="0"/>
                </a:lnTo>
                <a:cubicBezTo>
                  <a:pt x="12389" y="-23"/>
                  <a:pt x="14321" y="1471"/>
                  <a:pt x="14351" y="3336"/>
                </a:cubicBezTo>
                <a:cubicBezTo>
                  <a:pt x="14351" y="3351"/>
                  <a:pt x="14351" y="3365"/>
                  <a:pt x="14351" y="3380"/>
                </a:cubicBezTo>
                <a:cubicBezTo>
                  <a:pt x="14351" y="5269"/>
                  <a:pt x="12419" y="6801"/>
                  <a:pt x="10036" y="6802"/>
                </a:cubicBezTo>
                <a:cubicBezTo>
                  <a:pt x="10017" y="6802"/>
                  <a:pt x="10000" y="6801"/>
                  <a:pt x="9981"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4" name="Freeform: Shape 1453">
            <a:extLst>
              <a:ext uri="{FF2B5EF4-FFF2-40B4-BE49-F238E27FC236}">
                <a16:creationId xmlns:a16="http://schemas.microsoft.com/office/drawing/2014/main" id="{2A5E066B-F031-66A1-45C5-2B25B2E6FA55}"/>
              </a:ext>
            </a:extLst>
          </p:cNvPr>
          <p:cNvSpPr/>
          <p:nvPr/>
        </p:nvSpPr>
        <p:spPr>
          <a:xfrm>
            <a:off x="624258" y="5061008"/>
            <a:ext cx="13111" cy="8499"/>
          </a:xfrm>
          <a:custGeom>
            <a:avLst/>
            <a:gdLst>
              <a:gd name="connsiteX0" fmla="*/ 10035 w 14351"/>
              <a:gd name="connsiteY0" fmla="*/ 6801 h 6801"/>
              <a:gd name="connsiteX1" fmla="*/ 4316 w 14351"/>
              <a:gd name="connsiteY1" fmla="*/ 6801 h 6801"/>
              <a:gd name="connsiteX2" fmla="*/ 0 w 14351"/>
              <a:gd name="connsiteY2" fmla="*/ 3380 h 6801"/>
              <a:gd name="connsiteX3" fmla="*/ 4262 w 14351"/>
              <a:gd name="connsiteY3" fmla="*/ 0 h 6801"/>
              <a:gd name="connsiteX4" fmla="*/ 4316 w 14351"/>
              <a:gd name="connsiteY4" fmla="*/ 0 h 6801"/>
              <a:gd name="connsiteX5" fmla="*/ 10035 w 14351"/>
              <a:gd name="connsiteY5" fmla="*/ 0 h 6801"/>
              <a:gd name="connsiteX6" fmla="*/ 14351 w 14351"/>
              <a:gd name="connsiteY6" fmla="*/ 3336 h 6801"/>
              <a:gd name="connsiteX7" fmla="*/ 14351 w 14351"/>
              <a:gd name="connsiteY7" fmla="*/ 3380 h 6801"/>
              <a:gd name="connsiteX8" fmla="*/ 10035 w 14351"/>
              <a:gd name="connsiteY8" fmla="*/ 6801 h 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1" h="6801">
                <a:moveTo>
                  <a:pt x="10035" y="6801"/>
                </a:moveTo>
                <a:lnTo>
                  <a:pt x="4316" y="6801"/>
                </a:lnTo>
                <a:cubicBezTo>
                  <a:pt x="1933" y="6801"/>
                  <a:pt x="0" y="5269"/>
                  <a:pt x="0" y="3380"/>
                </a:cubicBezTo>
                <a:cubicBezTo>
                  <a:pt x="0" y="1513"/>
                  <a:pt x="1908" y="0"/>
                  <a:pt x="4262" y="0"/>
                </a:cubicBezTo>
                <a:cubicBezTo>
                  <a:pt x="4280" y="0"/>
                  <a:pt x="4298" y="0"/>
                  <a:pt x="4316" y="0"/>
                </a:cubicBezTo>
                <a:lnTo>
                  <a:pt x="10035" y="0"/>
                </a:lnTo>
                <a:cubicBezTo>
                  <a:pt x="12389" y="-23"/>
                  <a:pt x="14321" y="1471"/>
                  <a:pt x="14351" y="3336"/>
                </a:cubicBezTo>
                <a:cubicBezTo>
                  <a:pt x="14351" y="3351"/>
                  <a:pt x="14351" y="3365"/>
                  <a:pt x="14351" y="3380"/>
                </a:cubicBezTo>
                <a:cubicBezTo>
                  <a:pt x="14351" y="5269"/>
                  <a:pt x="12419" y="6801"/>
                  <a:pt x="10035"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5" name="Freeform: Shape 1454">
            <a:extLst>
              <a:ext uri="{FF2B5EF4-FFF2-40B4-BE49-F238E27FC236}">
                <a16:creationId xmlns:a16="http://schemas.microsoft.com/office/drawing/2014/main" id="{305F3ABF-5569-2BAD-68CA-3E2828CD9358}"/>
              </a:ext>
            </a:extLst>
          </p:cNvPr>
          <p:cNvSpPr/>
          <p:nvPr/>
        </p:nvSpPr>
        <p:spPr>
          <a:xfrm>
            <a:off x="652453" y="4827948"/>
            <a:ext cx="54178" cy="43909"/>
          </a:xfrm>
          <a:custGeom>
            <a:avLst/>
            <a:gdLst>
              <a:gd name="connsiteX0" fmla="*/ 26275 w 52712"/>
              <a:gd name="connsiteY0" fmla="*/ 35545 h 35545"/>
              <a:gd name="connsiteX1" fmla="*/ 2158 w 52712"/>
              <a:gd name="connsiteY1" fmla="*/ 30369 h 35545"/>
              <a:gd name="connsiteX2" fmla="*/ 0 w 52712"/>
              <a:gd name="connsiteY2" fmla="*/ 27418 h 35545"/>
              <a:gd name="connsiteX3" fmla="*/ 0 w 52712"/>
              <a:gd name="connsiteY3" fmla="*/ 11335 h 35545"/>
              <a:gd name="connsiteX4" fmla="*/ 14298 w 52712"/>
              <a:gd name="connsiteY4" fmla="*/ 0 h 35545"/>
              <a:gd name="connsiteX5" fmla="*/ 38414 w 52712"/>
              <a:gd name="connsiteY5" fmla="*/ 0 h 35545"/>
              <a:gd name="connsiteX6" fmla="*/ 52712 w 52712"/>
              <a:gd name="connsiteY6" fmla="*/ 11335 h 35545"/>
              <a:gd name="connsiteX7" fmla="*/ 52712 w 52712"/>
              <a:gd name="connsiteY7" fmla="*/ 27461 h 35545"/>
              <a:gd name="connsiteX8" fmla="*/ 50608 w 52712"/>
              <a:gd name="connsiteY8" fmla="*/ 30412 h 35545"/>
              <a:gd name="connsiteX9" fmla="*/ 26275 w 52712"/>
              <a:gd name="connsiteY9" fmla="*/ 35545 h 35545"/>
              <a:gd name="connsiteX10" fmla="*/ 8579 w 52712"/>
              <a:gd name="connsiteY10" fmla="*/ 25407 h 35545"/>
              <a:gd name="connsiteX11" fmla="*/ 43918 w 52712"/>
              <a:gd name="connsiteY11" fmla="*/ 25407 h 35545"/>
              <a:gd name="connsiteX12" fmla="*/ 43918 w 52712"/>
              <a:gd name="connsiteY12" fmla="*/ 11335 h 35545"/>
              <a:gd name="connsiteX13" fmla="*/ 38414 w 52712"/>
              <a:gd name="connsiteY13" fmla="*/ 6801 h 35545"/>
              <a:gd name="connsiteX14" fmla="*/ 14298 w 52712"/>
              <a:gd name="connsiteY14" fmla="*/ 6801 h 35545"/>
              <a:gd name="connsiteX15" fmla="*/ 8579 w 52712"/>
              <a:gd name="connsiteY15" fmla="*/ 11335 h 3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12" h="35545">
                <a:moveTo>
                  <a:pt x="26275" y="35545"/>
                </a:moveTo>
                <a:cubicBezTo>
                  <a:pt x="17801" y="35539"/>
                  <a:pt x="9479" y="33753"/>
                  <a:pt x="2158" y="30369"/>
                </a:cubicBezTo>
                <a:cubicBezTo>
                  <a:pt x="835" y="29754"/>
                  <a:pt x="16" y="28634"/>
                  <a:pt x="0" y="27418"/>
                </a:cubicBezTo>
                <a:lnTo>
                  <a:pt x="0" y="11335"/>
                </a:lnTo>
                <a:cubicBezTo>
                  <a:pt x="0" y="5075"/>
                  <a:pt x="6401" y="0"/>
                  <a:pt x="14298" y="0"/>
                </a:cubicBezTo>
                <a:lnTo>
                  <a:pt x="38414" y="0"/>
                </a:lnTo>
                <a:cubicBezTo>
                  <a:pt x="46311" y="0"/>
                  <a:pt x="52712" y="5075"/>
                  <a:pt x="52712" y="11335"/>
                </a:cubicBezTo>
                <a:lnTo>
                  <a:pt x="52712" y="27461"/>
                </a:lnTo>
                <a:cubicBezTo>
                  <a:pt x="52697" y="28665"/>
                  <a:pt x="51902" y="29780"/>
                  <a:pt x="50608" y="30412"/>
                </a:cubicBezTo>
                <a:cubicBezTo>
                  <a:pt x="43213" y="33801"/>
                  <a:pt x="34816" y="35572"/>
                  <a:pt x="26275" y="35545"/>
                </a:cubicBezTo>
                <a:close/>
                <a:moveTo>
                  <a:pt x="8579" y="25407"/>
                </a:moveTo>
                <a:cubicBezTo>
                  <a:pt x="19715" y="29772"/>
                  <a:pt x="32781" y="29772"/>
                  <a:pt x="43918" y="25407"/>
                </a:cubicBezTo>
                <a:lnTo>
                  <a:pt x="43918" y="11335"/>
                </a:lnTo>
                <a:cubicBezTo>
                  <a:pt x="43920" y="8896"/>
                  <a:pt x="41488" y="6893"/>
                  <a:pt x="38414" y="6801"/>
                </a:cubicBezTo>
                <a:lnTo>
                  <a:pt x="14298" y="6801"/>
                </a:lnTo>
                <a:cubicBezTo>
                  <a:pt x="11151" y="6824"/>
                  <a:pt x="8608" y="8840"/>
                  <a:pt x="8579" y="1133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6" name="Freeform: Shape 1455">
            <a:extLst>
              <a:ext uri="{FF2B5EF4-FFF2-40B4-BE49-F238E27FC236}">
                <a16:creationId xmlns:a16="http://schemas.microsoft.com/office/drawing/2014/main" id="{ECEE7E49-FBB4-066A-3F65-4391A613BF54}"/>
              </a:ext>
            </a:extLst>
          </p:cNvPr>
          <p:cNvSpPr/>
          <p:nvPr/>
        </p:nvSpPr>
        <p:spPr>
          <a:xfrm>
            <a:off x="629939" y="4777593"/>
            <a:ext cx="98929" cy="94261"/>
          </a:xfrm>
          <a:custGeom>
            <a:avLst/>
            <a:gdLst>
              <a:gd name="connsiteX0" fmla="*/ 48180 w 96252"/>
              <a:gd name="connsiteY0" fmla="*/ 76308 h 76307"/>
              <a:gd name="connsiteX1" fmla="*/ 0 w 96252"/>
              <a:gd name="connsiteY1" fmla="*/ 38197 h 76307"/>
              <a:gd name="connsiteX2" fmla="*/ 48072 w 96252"/>
              <a:gd name="connsiteY2" fmla="*/ 0 h 76307"/>
              <a:gd name="connsiteX3" fmla="*/ 96252 w 96252"/>
              <a:gd name="connsiteY3" fmla="*/ 38111 h 76307"/>
              <a:gd name="connsiteX4" fmla="*/ 96252 w 96252"/>
              <a:gd name="connsiteY4" fmla="*/ 38197 h 76307"/>
              <a:gd name="connsiteX5" fmla="*/ 48180 w 96252"/>
              <a:gd name="connsiteY5" fmla="*/ 76308 h 76307"/>
              <a:gd name="connsiteX6" fmla="*/ 48180 w 96252"/>
              <a:gd name="connsiteY6" fmla="*/ 6844 h 76307"/>
              <a:gd name="connsiteX7" fmla="*/ 8579 w 96252"/>
              <a:gd name="connsiteY7" fmla="*/ 38154 h 76307"/>
              <a:gd name="connsiteX8" fmla="*/ 48072 w 96252"/>
              <a:gd name="connsiteY8" fmla="*/ 69550 h 76307"/>
              <a:gd name="connsiteX9" fmla="*/ 87674 w 96252"/>
              <a:gd name="connsiteY9" fmla="*/ 38240 h 76307"/>
              <a:gd name="connsiteX10" fmla="*/ 87674 w 96252"/>
              <a:gd name="connsiteY10" fmla="*/ 38197 h 76307"/>
              <a:gd name="connsiteX11" fmla="*/ 48180 w 96252"/>
              <a:gd name="connsiteY11" fmla="*/ 6972 h 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252" h="76307">
                <a:moveTo>
                  <a:pt x="48180" y="76308"/>
                </a:moveTo>
                <a:cubicBezTo>
                  <a:pt x="21601" y="76331"/>
                  <a:pt x="30" y="59269"/>
                  <a:pt x="0" y="38197"/>
                </a:cubicBezTo>
                <a:cubicBezTo>
                  <a:pt x="-30" y="17125"/>
                  <a:pt x="21493" y="24"/>
                  <a:pt x="48072" y="0"/>
                </a:cubicBezTo>
                <a:cubicBezTo>
                  <a:pt x="74651" y="-24"/>
                  <a:pt x="96222" y="17039"/>
                  <a:pt x="96252" y="38111"/>
                </a:cubicBezTo>
                <a:cubicBezTo>
                  <a:pt x="96252" y="38140"/>
                  <a:pt x="96252" y="38168"/>
                  <a:pt x="96252" y="38197"/>
                </a:cubicBezTo>
                <a:cubicBezTo>
                  <a:pt x="96193" y="59225"/>
                  <a:pt x="74705" y="76261"/>
                  <a:pt x="48180" y="76308"/>
                </a:cubicBezTo>
                <a:close/>
                <a:moveTo>
                  <a:pt x="48180" y="6844"/>
                </a:moveTo>
                <a:cubicBezTo>
                  <a:pt x="26339" y="6820"/>
                  <a:pt x="8608" y="20838"/>
                  <a:pt x="8579" y="38154"/>
                </a:cubicBezTo>
                <a:cubicBezTo>
                  <a:pt x="8549" y="55470"/>
                  <a:pt x="26231" y="69526"/>
                  <a:pt x="48072" y="69550"/>
                </a:cubicBezTo>
                <a:cubicBezTo>
                  <a:pt x="69913" y="69573"/>
                  <a:pt x="87644" y="55555"/>
                  <a:pt x="87674" y="38240"/>
                </a:cubicBezTo>
                <a:cubicBezTo>
                  <a:pt x="87674" y="38225"/>
                  <a:pt x="87674" y="38211"/>
                  <a:pt x="87674" y="38197"/>
                </a:cubicBezTo>
                <a:cubicBezTo>
                  <a:pt x="87555" y="20957"/>
                  <a:pt x="69925" y="7019"/>
                  <a:pt x="48180" y="6972"/>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7" name="Freeform: Shape 1456">
            <a:extLst>
              <a:ext uri="{FF2B5EF4-FFF2-40B4-BE49-F238E27FC236}">
                <a16:creationId xmlns:a16="http://schemas.microsoft.com/office/drawing/2014/main" id="{FD93C3D2-522B-88C9-C20D-E31722C8E705}"/>
              </a:ext>
            </a:extLst>
          </p:cNvPr>
          <p:cNvSpPr/>
          <p:nvPr/>
        </p:nvSpPr>
        <p:spPr>
          <a:xfrm>
            <a:off x="656413" y="4735865"/>
            <a:ext cx="27318" cy="50341"/>
          </a:xfrm>
          <a:custGeom>
            <a:avLst/>
            <a:gdLst>
              <a:gd name="connsiteX0" fmla="*/ 22422 w 26579"/>
              <a:gd name="connsiteY0" fmla="*/ 40752 h 40752"/>
              <a:gd name="connsiteX1" fmla="*/ 18106 w 26579"/>
              <a:gd name="connsiteY1" fmla="*/ 37416 h 40752"/>
              <a:gd name="connsiteX2" fmla="*/ 18106 w 26579"/>
              <a:gd name="connsiteY2" fmla="*/ 37373 h 40752"/>
              <a:gd name="connsiteX3" fmla="*/ 18106 w 26579"/>
              <a:gd name="connsiteY3" fmla="*/ 27449 h 40752"/>
              <a:gd name="connsiteX4" fmla="*/ 355 w 26579"/>
              <a:gd name="connsiteY4" fmla="*/ 4779 h 40752"/>
              <a:gd name="connsiteX5" fmla="*/ 2605 w 26579"/>
              <a:gd name="connsiteY5" fmla="*/ 281 h 40752"/>
              <a:gd name="connsiteX6" fmla="*/ 7585 w 26579"/>
              <a:gd name="connsiteY6" fmla="*/ 1186 h 40752"/>
              <a:gd name="connsiteX7" fmla="*/ 25929 w 26579"/>
              <a:gd name="connsiteY7" fmla="*/ 24712 h 40752"/>
              <a:gd name="connsiteX8" fmla="*/ 26576 w 26579"/>
              <a:gd name="connsiteY8" fmla="*/ 26508 h 40752"/>
              <a:gd name="connsiteX9" fmla="*/ 26576 w 26579"/>
              <a:gd name="connsiteY9" fmla="*/ 37244 h 40752"/>
              <a:gd name="connsiteX10" fmla="*/ 22480 w 26579"/>
              <a:gd name="connsiteY10" fmla="*/ 40750 h 40752"/>
              <a:gd name="connsiteX11" fmla="*/ 22422 w 26579"/>
              <a:gd name="connsiteY11" fmla="*/ 40752 h 4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79" h="40752">
                <a:moveTo>
                  <a:pt x="22422" y="40752"/>
                </a:moveTo>
                <a:cubicBezTo>
                  <a:pt x="20068" y="40775"/>
                  <a:pt x="18136" y="39282"/>
                  <a:pt x="18106" y="37416"/>
                </a:cubicBezTo>
                <a:cubicBezTo>
                  <a:pt x="18106" y="37401"/>
                  <a:pt x="18106" y="37387"/>
                  <a:pt x="18106" y="37373"/>
                </a:cubicBezTo>
                <a:lnTo>
                  <a:pt x="18106" y="27449"/>
                </a:lnTo>
                <a:lnTo>
                  <a:pt x="355" y="4779"/>
                </a:lnTo>
                <a:cubicBezTo>
                  <a:pt x="-590" y="3044"/>
                  <a:pt x="417" y="1031"/>
                  <a:pt x="2605" y="281"/>
                </a:cubicBezTo>
                <a:cubicBezTo>
                  <a:pt x="4337" y="-312"/>
                  <a:pt x="6352" y="54"/>
                  <a:pt x="7585" y="1186"/>
                </a:cubicBezTo>
                <a:lnTo>
                  <a:pt x="25929" y="24712"/>
                </a:lnTo>
                <a:cubicBezTo>
                  <a:pt x="26361" y="25247"/>
                  <a:pt x="26587" y="25872"/>
                  <a:pt x="26576" y="26508"/>
                </a:cubicBezTo>
                <a:lnTo>
                  <a:pt x="26576" y="37244"/>
                </a:lnTo>
                <a:cubicBezTo>
                  <a:pt x="26666" y="39109"/>
                  <a:pt x="24832" y="40679"/>
                  <a:pt x="22480" y="40750"/>
                </a:cubicBezTo>
                <a:cubicBezTo>
                  <a:pt x="22461" y="40751"/>
                  <a:pt x="22441" y="40751"/>
                  <a:pt x="22422" y="40752"/>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8" name="Freeform: Shape 1457">
            <a:extLst>
              <a:ext uri="{FF2B5EF4-FFF2-40B4-BE49-F238E27FC236}">
                <a16:creationId xmlns:a16="http://schemas.microsoft.com/office/drawing/2014/main" id="{5D7FCFBF-2A00-1218-3DBF-3E4E5C1AAA30}"/>
              </a:ext>
            </a:extLst>
          </p:cNvPr>
          <p:cNvSpPr/>
          <p:nvPr/>
        </p:nvSpPr>
        <p:spPr>
          <a:xfrm>
            <a:off x="477831" y="4827948"/>
            <a:ext cx="53734" cy="43907"/>
          </a:xfrm>
          <a:custGeom>
            <a:avLst/>
            <a:gdLst>
              <a:gd name="connsiteX0" fmla="*/ 26221 w 52280"/>
              <a:gd name="connsiteY0" fmla="*/ 35545 h 35544"/>
              <a:gd name="connsiteX1" fmla="*/ 2104 w 52280"/>
              <a:gd name="connsiteY1" fmla="*/ 30369 h 35544"/>
              <a:gd name="connsiteX2" fmla="*/ 0 w 52280"/>
              <a:gd name="connsiteY2" fmla="*/ 27418 h 35544"/>
              <a:gd name="connsiteX3" fmla="*/ 0 w 52280"/>
              <a:gd name="connsiteY3" fmla="*/ 11335 h 35544"/>
              <a:gd name="connsiteX4" fmla="*/ 14082 w 52280"/>
              <a:gd name="connsiteY4" fmla="*/ 0 h 35544"/>
              <a:gd name="connsiteX5" fmla="*/ 37983 w 52280"/>
              <a:gd name="connsiteY5" fmla="*/ 0 h 35544"/>
              <a:gd name="connsiteX6" fmla="*/ 52280 w 52280"/>
              <a:gd name="connsiteY6" fmla="*/ 11335 h 35544"/>
              <a:gd name="connsiteX7" fmla="*/ 52280 w 52280"/>
              <a:gd name="connsiteY7" fmla="*/ 27461 h 35544"/>
              <a:gd name="connsiteX8" fmla="*/ 50122 w 52280"/>
              <a:gd name="connsiteY8" fmla="*/ 30412 h 35544"/>
              <a:gd name="connsiteX9" fmla="*/ 26221 w 52280"/>
              <a:gd name="connsiteY9" fmla="*/ 35545 h 35544"/>
              <a:gd name="connsiteX10" fmla="*/ 8686 w 52280"/>
              <a:gd name="connsiteY10" fmla="*/ 25407 h 35544"/>
              <a:gd name="connsiteX11" fmla="*/ 44026 w 52280"/>
              <a:gd name="connsiteY11" fmla="*/ 25407 h 35544"/>
              <a:gd name="connsiteX12" fmla="*/ 44026 w 52280"/>
              <a:gd name="connsiteY12" fmla="*/ 11335 h 35544"/>
              <a:gd name="connsiteX13" fmla="*/ 38307 w 52280"/>
              <a:gd name="connsiteY13" fmla="*/ 6801 h 35544"/>
              <a:gd name="connsiteX14" fmla="*/ 14082 w 52280"/>
              <a:gd name="connsiteY14" fmla="*/ 6801 h 35544"/>
              <a:gd name="connsiteX15" fmla="*/ 8686 w 52280"/>
              <a:gd name="connsiteY15" fmla="*/ 11335 h 3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280" h="35544">
                <a:moveTo>
                  <a:pt x="26221" y="35545"/>
                </a:moveTo>
                <a:cubicBezTo>
                  <a:pt x="17748" y="35529"/>
                  <a:pt x="9430" y="33744"/>
                  <a:pt x="2104" y="30369"/>
                </a:cubicBezTo>
                <a:cubicBezTo>
                  <a:pt x="810" y="29737"/>
                  <a:pt x="15" y="28623"/>
                  <a:pt x="0" y="27418"/>
                </a:cubicBezTo>
                <a:lnTo>
                  <a:pt x="0" y="11335"/>
                </a:lnTo>
                <a:cubicBezTo>
                  <a:pt x="-1" y="5141"/>
                  <a:pt x="6270" y="94"/>
                  <a:pt x="14082" y="0"/>
                </a:cubicBezTo>
                <a:lnTo>
                  <a:pt x="37983" y="0"/>
                </a:lnTo>
                <a:cubicBezTo>
                  <a:pt x="45879" y="0"/>
                  <a:pt x="52280" y="5075"/>
                  <a:pt x="52280" y="11335"/>
                </a:cubicBezTo>
                <a:lnTo>
                  <a:pt x="52280" y="27461"/>
                </a:lnTo>
                <a:cubicBezTo>
                  <a:pt x="52264" y="28677"/>
                  <a:pt x="51445" y="29796"/>
                  <a:pt x="50122" y="30412"/>
                </a:cubicBezTo>
                <a:cubicBezTo>
                  <a:pt x="42859" y="33752"/>
                  <a:pt x="34617" y="35522"/>
                  <a:pt x="26221" y="35545"/>
                </a:cubicBezTo>
                <a:close/>
                <a:moveTo>
                  <a:pt x="8686" y="25407"/>
                </a:moveTo>
                <a:cubicBezTo>
                  <a:pt x="19823" y="29772"/>
                  <a:pt x="32889" y="29772"/>
                  <a:pt x="44026" y="25407"/>
                </a:cubicBezTo>
                <a:lnTo>
                  <a:pt x="44026" y="11335"/>
                </a:lnTo>
                <a:cubicBezTo>
                  <a:pt x="43996" y="8840"/>
                  <a:pt x="41453" y="6824"/>
                  <a:pt x="38307" y="6801"/>
                </a:cubicBezTo>
                <a:lnTo>
                  <a:pt x="14082" y="6801"/>
                </a:lnTo>
                <a:cubicBezTo>
                  <a:pt x="11050" y="6937"/>
                  <a:pt x="8682" y="8928"/>
                  <a:pt x="8686" y="1133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59" name="Freeform: Shape 1458">
            <a:extLst>
              <a:ext uri="{FF2B5EF4-FFF2-40B4-BE49-F238E27FC236}">
                <a16:creationId xmlns:a16="http://schemas.microsoft.com/office/drawing/2014/main" id="{7F27CA03-27B0-37B5-43F0-2AEAB8FADDAF}"/>
              </a:ext>
            </a:extLst>
          </p:cNvPr>
          <p:cNvSpPr/>
          <p:nvPr/>
        </p:nvSpPr>
        <p:spPr>
          <a:xfrm>
            <a:off x="455371" y="4777751"/>
            <a:ext cx="98955" cy="94263"/>
          </a:xfrm>
          <a:custGeom>
            <a:avLst/>
            <a:gdLst>
              <a:gd name="connsiteX0" fmla="*/ 48073 w 96278"/>
              <a:gd name="connsiteY0" fmla="*/ 76180 h 76308"/>
              <a:gd name="connsiteX1" fmla="*/ 1 w 96278"/>
              <a:gd name="connsiteY1" fmla="*/ 38069 h 76308"/>
              <a:gd name="connsiteX2" fmla="*/ 1188 w 96278"/>
              <a:gd name="connsiteY2" fmla="*/ 29514 h 76308"/>
              <a:gd name="connsiteX3" fmla="*/ 6313 w 96278"/>
              <a:gd name="connsiteY3" fmla="*/ 26948 h 76308"/>
              <a:gd name="connsiteX4" fmla="*/ 9550 w 96278"/>
              <a:gd name="connsiteY4" fmla="*/ 31011 h 76308"/>
              <a:gd name="connsiteX5" fmla="*/ 38981 w 96278"/>
              <a:gd name="connsiteY5" fmla="*/ 68716 h 76308"/>
              <a:gd name="connsiteX6" fmla="*/ 86540 w 96278"/>
              <a:gd name="connsiteY6" fmla="*/ 45383 h 76308"/>
              <a:gd name="connsiteX7" fmla="*/ 57109 w 96278"/>
              <a:gd name="connsiteY7" fmla="*/ 7679 h 76308"/>
              <a:gd name="connsiteX8" fmla="*/ 48073 w 96278"/>
              <a:gd name="connsiteY8" fmla="*/ 6844 h 76308"/>
              <a:gd name="connsiteX9" fmla="*/ 22499 w 96278"/>
              <a:gd name="connsiteY9" fmla="*/ 14330 h 76308"/>
              <a:gd name="connsiteX10" fmla="*/ 16492 w 96278"/>
              <a:gd name="connsiteY10" fmla="*/ 13936 h 76308"/>
              <a:gd name="connsiteX11" fmla="*/ 16456 w 96278"/>
              <a:gd name="connsiteY11" fmla="*/ 13902 h 76308"/>
              <a:gd name="connsiteX12" fmla="*/ 16942 w 96278"/>
              <a:gd name="connsiteY12" fmla="*/ 9111 h 76308"/>
              <a:gd name="connsiteX13" fmla="*/ 84786 w 96278"/>
              <a:gd name="connsiteY13" fmla="*/ 13412 h 76308"/>
              <a:gd name="connsiteX14" fmla="*/ 79362 w 96278"/>
              <a:gd name="connsiteY14" fmla="*/ 67198 h 76308"/>
              <a:gd name="connsiteX15" fmla="*/ 48073 w 96278"/>
              <a:gd name="connsiteY15" fmla="*/ 76309 h 7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278" h="76308">
                <a:moveTo>
                  <a:pt x="48073" y="76180"/>
                </a:moveTo>
                <a:cubicBezTo>
                  <a:pt x="21535" y="76157"/>
                  <a:pt x="30" y="59108"/>
                  <a:pt x="1" y="38069"/>
                </a:cubicBezTo>
                <a:cubicBezTo>
                  <a:pt x="-19" y="35191"/>
                  <a:pt x="379" y="32320"/>
                  <a:pt x="1188" y="29514"/>
                </a:cubicBezTo>
                <a:cubicBezTo>
                  <a:pt x="1709" y="27684"/>
                  <a:pt x="4004" y="26534"/>
                  <a:pt x="6313" y="26948"/>
                </a:cubicBezTo>
                <a:cubicBezTo>
                  <a:pt x="8622" y="27361"/>
                  <a:pt x="10072" y="29181"/>
                  <a:pt x="9550" y="31011"/>
                </a:cubicBezTo>
                <a:cubicBezTo>
                  <a:pt x="4545" y="47866"/>
                  <a:pt x="17721" y="64747"/>
                  <a:pt x="38981" y="68716"/>
                </a:cubicBezTo>
                <a:cubicBezTo>
                  <a:pt x="60241" y="72684"/>
                  <a:pt x="81534" y="62238"/>
                  <a:pt x="86540" y="45383"/>
                </a:cubicBezTo>
                <a:cubicBezTo>
                  <a:pt x="91546" y="28528"/>
                  <a:pt x="78369" y="11648"/>
                  <a:pt x="57109" y="7679"/>
                </a:cubicBezTo>
                <a:cubicBezTo>
                  <a:pt x="54148" y="7126"/>
                  <a:pt x="51115" y="6846"/>
                  <a:pt x="48073" y="6844"/>
                </a:cubicBezTo>
                <a:cubicBezTo>
                  <a:pt x="38696" y="6847"/>
                  <a:pt x="29628" y="9501"/>
                  <a:pt x="22499" y="14330"/>
                </a:cubicBezTo>
                <a:cubicBezTo>
                  <a:pt x="20703" y="15536"/>
                  <a:pt x="18013" y="15360"/>
                  <a:pt x="16492" y="13936"/>
                </a:cubicBezTo>
                <a:cubicBezTo>
                  <a:pt x="16480" y="13925"/>
                  <a:pt x="16468" y="13913"/>
                  <a:pt x="16456" y="13902"/>
                </a:cubicBezTo>
                <a:cubicBezTo>
                  <a:pt x="14939" y="12469"/>
                  <a:pt x="15155" y="10334"/>
                  <a:pt x="16942" y="9111"/>
                </a:cubicBezTo>
                <a:cubicBezTo>
                  <a:pt x="37174" y="-4554"/>
                  <a:pt x="67549" y="-2628"/>
                  <a:pt x="84786" y="13412"/>
                </a:cubicBezTo>
                <a:cubicBezTo>
                  <a:pt x="102022" y="29452"/>
                  <a:pt x="99594" y="53533"/>
                  <a:pt x="79362" y="67198"/>
                </a:cubicBezTo>
                <a:cubicBezTo>
                  <a:pt x="70634" y="73093"/>
                  <a:pt x="59538" y="76323"/>
                  <a:pt x="48073" y="76309"/>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0" name="Freeform: Shape 1459">
            <a:extLst>
              <a:ext uri="{FF2B5EF4-FFF2-40B4-BE49-F238E27FC236}">
                <a16:creationId xmlns:a16="http://schemas.microsoft.com/office/drawing/2014/main" id="{F8FD914A-BD27-A6B8-2ED0-D7DACA396859}"/>
              </a:ext>
            </a:extLst>
          </p:cNvPr>
          <p:cNvSpPr/>
          <p:nvPr/>
        </p:nvSpPr>
        <p:spPr>
          <a:xfrm>
            <a:off x="500401" y="4735332"/>
            <a:ext cx="27757" cy="50875"/>
          </a:xfrm>
          <a:custGeom>
            <a:avLst/>
            <a:gdLst>
              <a:gd name="connsiteX0" fmla="*/ 4263 w 27006"/>
              <a:gd name="connsiteY0" fmla="*/ 41184 h 41185"/>
              <a:gd name="connsiteX1" fmla="*/ 0 w 27006"/>
              <a:gd name="connsiteY1" fmla="*/ 37805 h 41185"/>
              <a:gd name="connsiteX2" fmla="*/ 0 w 27006"/>
              <a:gd name="connsiteY2" fmla="*/ 26940 h 41185"/>
              <a:gd name="connsiteX3" fmla="*/ 648 w 27006"/>
              <a:gd name="connsiteY3" fmla="*/ 25144 h 41185"/>
              <a:gd name="connsiteX4" fmla="*/ 19100 w 27006"/>
              <a:gd name="connsiteY4" fmla="*/ 1619 h 41185"/>
              <a:gd name="connsiteX5" fmla="*/ 24959 w 27006"/>
              <a:gd name="connsiteY5" fmla="*/ 496 h 41185"/>
              <a:gd name="connsiteX6" fmla="*/ 24981 w 27006"/>
              <a:gd name="connsiteY6" fmla="*/ 506 h 41185"/>
              <a:gd name="connsiteX7" fmla="*/ 26383 w 27006"/>
              <a:gd name="connsiteY7" fmla="*/ 5212 h 41185"/>
              <a:gd name="connsiteX8" fmla="*/ 8633 w 27006"/>
              <a:gd name="connsiteY8" fmla="*/ 27881 h 41185"/>
              <a:gd name="connsiteX9" fmla="*/ 8633 w 27006"/>
              <a:gd name="connsiteY9" fmla="*/ 37677 h 41185"/>
              <a:gd name="connsiteX10" fmla="*/ 4537 w 27006"/>
              <a:gd name="connsiteY10" fmla="*/ 41183 h 41185"/>
              <a:gd name="connsiteX11" fmla="*/ 4263 w 27006"/>
              <a:gd name="connsiteY11" fmla="*/ 41184 h 4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06" h="41185">
                <a:moveTo>
                  <a:pt x="4263" y="41184"/>
                </a:moveTo>
                <a:cubicBezTo>
                  <a:pt x="1909" y="41184"/>
                  <a:pt x="0" y="39671"/>
                  <a:pt x="0" y="37805"/>
                </a:cubicBezTo>
                <a:lnTo>
                  <a:pt x="0" y="26940"/>
                </a:lnTo>
                <a:cubicBezTo>
                  <a:pt x="-10" y="26304"/>
                  <a:pt x="215" y="25679"/>
                  <a:pt x="648" y="25144"/>
                </a:cubicBezTo>
                <a:lnTo>
                  <a:pt x="19100" y="1619"/>
                </a:lnTo>
                <a:cubicBezTo>
                  <a:pt x="20327" y="26"/>
                  <a:pt x="22950" y="-477"/>
                  <a:pt x="24959" y="496"/>
                </a:cubicBezTo>
                <a:cubicBezTo>
                  <a:pt x="24966" y="499"/>
                  <a:pt x="24974" y="503"/>
                  <a:pt x="24981" y="506"/>
                </a:cubicBezTo>
                <a:cubicBezTo>
                  <a:pt x="26980" y="1514"/>
                  <a:pt x="27602" y="3601"/>
                  <a:pt x="26383" y="5212"/>
                </a:cubicBezTo>
                <a:lnTo>
                  <a:pt x="8633" y="27881"/>
                </a:lnTo>
                <a:lnTo>
                  <a:pt x="8633" y="37677"/>
                </a:lnTo>
                <a:cubicBezTo>
                  <a:pt x="8723" y="39542"/>
                  <a:pt x="6889" y="41111"/>
                  <a:pt x="4537" y="41183"/>
                </a:cubicBezTo>
                <a:cubicBezTo>
                  <a:pt x="4446" y="41185"/>
                  <a:pt x="4354" y="41186"/>
                  <a:pt x="4263" y="4118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1" name="Freeform: Shape 1460">
            <a:extLst>
              <a:ext uri="{FF2B5EF4-FFF2-40B4-BE49-F238E27FC236}">
                <a16:creationId xmlns:a16="http://schemas.microsoft.com/office/drawing/2014/main" id="{61CD231D-F4E4-53FD-4B0F-D9D4B8A4CFF8}"/>
              </a:ext>
            </a:extLst>
          </p:cNvPr>
          <p:cNvSpPr/>
          <p:nvPr/>
        </p:nvSpPr>
        <p:spPr>
          <a:xfrm>
            <a:off x="545427" y="4820551"/>
            <a:ext cx="93384" cy="8400"/>
          </a:xfrm>
          <a:custGeom>
            <a:avLst/>
            <a:gdLst>
              <a:gd name="connsiteX0" fmla="*/ 86595 w 90857"/>
              <a:gd name="connsiteY0" fmla="*/ 6801 h 6800"/>
              <a:gd name="connsiteX1" fmla="*/ 4263 w 90857"/>
              <a:gd name="connsiteY1" fmla="*/ 6801 h 6800"/>
              <a:gd name="connsiteX2" fmla="*/ 0 w 90857"/>
              <a:gd name="connsiteY2" fmla="*/ 3422 h 6800"/>
              <a:gd name="connsiteX3" fmla="*/ 4208 w 90857"/>
              <a:gd name="connsiteY3" fmla="*/ 0 h 6800"/>
              <a:gd name="connsiteX4" fmla="*/ 4263 w 90857"/>
              <a:gd name="connsiteY4" fmla="*/ 0 h 6800"/>
              <a:gd name="connsiteX5" fmla="*/ 86595 w 90857"/>
              <a:gd name="connsiteY5" fmla="*/ 0 h 6800"/>
              <a:gd name="connsiteX6" fmla="*/ 90858 w 90857"/>
              <a:gd name="connsiteY6" fmla="*/ 3379 h 6800"/>
              <a:gd name="connsiteX7" fmla="*/ 90857 w 90857"/>
              <a:gd name="connsiteY7" fmla="*/ 3422 h 6800"/>
              <a:gd name="connsiteX8" fmla="*/ 86595 w 90857"/>
              <a:gd name="connsiteY8" fmla="*/ 6801 h 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857" h="6800">
                <a:moveTo>
                  <a:pt x="86595" y="6801"/>
                </a:moveTo>
                <a:lnTo>
                  <a:pt x="4263" y="6801"/>
                </a:lnTo>
                <a:cubicBezTo>
                  <a:pt x="1909" y="6801"/>
                  <a:pt x="0" y="5288"/>
                  <a:pt x="0" y="3422"/>
                </a:cubicBezTo>
                <a:cubicBezTo>
                  <a:pt x="-29" y="1556"/>
                  <a:pt x="1855" y="24"/>
                  <a:pt x="4208" y="0"/>
                </a:cubicBezTo>
                <a:cubicBezTo>
                  <a:pt x="4226" y="0"/>
                  <a:pt x="4244" y="0"/>
                  <a:pt x="4263" y="0"/>
                </a:cubicBezTo>
                <a:lnTo>
                  <a:pt x="86595" y="0"/>
                </a:lnTo>
                <a:cubicBezTo>
                  <a:pt x="88949" y="0"/>
                  <a:pt x="90857" y="1512"/>
                  <a:pt x="90858" y="3379"/>
                </a:cubicBezTo>
                <a:cubicBezTo>
                  <a:pt x="90858" y="3393"/>
                  <a:pt x="90857" y="3407"/>
                  <a:pt x="90857" y="3422"/>
                </a:cubicBezTo>
                <a:cubicBezTo>
                  <a:pt x="90857" y="5288"/>
                  <a:pt x="88949" y="6801"/>
                  <a:pt x="86595" y="6801"/>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2" name="Freeform: Shape 1461">
            <a:extLst>
              <a:ext uri="{FF2B5EF4-FFF2-40B4-BE49-F238E27FC236}">
                <a16:creationId xmlns:a16="http://schemas.microsoft.com/office/drawing/2014/main" id="{3B54887A-B291-8F62-B2DF-02DBD0DE19A5}"/>
              </a:ext>
            </a:extLst>
          </p:cNvPr>
          <p:cNvSpPr/>
          <p:nvPr/>
        </p:nvSpPr>
        <p:spPr>
          <a:xfrm>
            <a:off x="533063" y="4655010"/>
            <a:ext cx="118115" cy="112544"/>
          </a:xfrm>
          <a:custGeom>
            <a:avLst/>
            <a:gdLst>
              <a:gd name="connsiteX0" fmla="*/ 57460 w 114919"/>
              <a:gd name="connsiteY0" fmla="*/ 91108 h 91107"/>
              <a:gd name="connsiteX1" fmla="*/ 0 w 114919"/>
              <a:gd name="connsiteY1" fmla="*/ 45554 h 91107"/>
              <a:gd name="connsiteX2" fmla="*/ 57460 w 114919"/>
              <a:gd name="connsiteY2" fmla="*/ 0 h 91107"/>
              <a:gd name="connsiteX3" fmla="*/ 114920 w 114919"/>
              <a:gd name="connsiteY3" fmla="*/ 45554 h 91107"/>
              <a:gd name="connsiteX4" fmla="*/ 114920 w 114919"/>
              <a:gd name="connsiteY4" fmla="*/ 45597 h 91107"/>
              <a:gd name="connsiteX5" fmla="*/ 57460 w 114919"/>
              <a:gd name="connsiteY5" fmla="*/ 91108 h 91107"/>
              <a:gd name="connsiteX6" fmla="*/ 57460 w 114919"/>
              <a:gd name="connsiteY6" fmla="*/ 6844 h 91107"/>
              <a:gd name="connsiteX7" fmla="*/ 8256 w 114919"/>
              <a:gd name="connsiteY7" fmla="*/ 45339 h 91107"/>
              <a:gd name="connsiteX8" fmla="*/ 56812 w 114919"/>
              <a:gd name="connsiteY8" fmla="*/ 84348 h 91107"/>
              <a:gd name="connsiteX9" fmla="*/ 106016 w 114919"/>
              <a:gd name="connsiteY9" fmla="*/ 45852 h 91107"/>
              <a:gd name="connsiteX10" fmla="*/ 106017 w 114919"/>
              <a:gd name="connsiteY10" fmla="*/ 45597 h 91107"/>
              <a:gd name="connsiteX11" fmla="*/ 57460 w 114919"/>
              <a:gd name="connsiteY11" fmla="*/ 6844 h 9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919" h="91107">
                <a:moveTo>
                  <a:pt x="57460" y="91108"/>
                </a:moveTo>
                <a:cubicBezTo>
                  <a:pt x="25726" y="91108"/>
                  <a:pt x="0" y="70712"/>
                  <a:pt x="0" y="45554"/>
                </a:cubicBezTo>
                <a:cubicBezTo>
                  <a:pt x="0" y="20395"/>
                  <a:pt x="25726" y="0"/>
                  <a:pt x="57460" y="0"/>
                </a:cubicBezTo>
                <a:cubicBezTo>
                  <a:pt x="89194" y="0"/>
                  <a:pt x="114920" y="20395"/>
                  <a:pt x="114920" y="45554"/>
                </a:cubicBezTo>
                <a:cubicBezTo>
                  <a:pt x="114920" y="45568"/>
                  <a:pt x="114920" y="45582"/>
                  <a:pt x="114920" y="45597"/>
                </a:cubicBezTo>
                <a:cubicBezTo>
                  <a:pt x="114860" y="70729"/>
                  <a:pt x="89160" y="91084"/>
                  <a:pt x="57460" y="91108"/>
                </a:cubicBezTo>
                <a:close/>
                <a:moveTo>
                  <a:pt x="57460" y="6844"/>
                </a:moveTo>
                <a:cubicBezTo>
                  <a:pt x="30464" y="6702"/>
                  <a:pt x="8434" y="23937"/>
                  <a:pt x="8256" y="45339"/>
                </a:cubicBezTo>
                <a:cubicBezTo>
                  <a:pt x="8077" y="66741"/>
                  <a:pt x="29817" y="84206"/>
                  <a:pt x="56812" y="84348"/>
                </a:cubicBezTo>
                <a:cubicBezTo>
                  <a:pt x="83808" y="84489"/>
                  <a:pt x="105838" y="67254"/>
                  <a:pt x="106016" y="45852"/>
                </a:cubicBezTo>
                <a:cubicBezTo>
                  <a:pt x="106017" y="45767"/>
                  <a:pt x="106017" y="45682"/>
                  <a:pt x="106017" y="45597"/>
                </a:cubicBezTo>
                <a:cubicBezTo>
                  <a:pt x="106018" y="24294"/>
                  <a:pt x="84330" y="6985"/>
                  <a:pt x="57460" y="684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3" name="Freeform: Shape 1462">
            <a:extLst>
              <a:ext uri="{FF2B5EF4-FFF2-40B4-BE49-F238E27FC236}">
                <a16:creationId xmlns:a16="http://schemas.microsoft.com/office/drawing/2014/main" id="{8687341E-099B-40B8-C1A8-94BA406ED898}"/>
              </a:ext>
            </a:extLst>
          </p:cNvPr>
          <p:cNvSpPr/>
          <p:nvPr/>
        </p:nvSpPr>
        <p:spPr>
          <a:xfrm>
            <a:off x="660751" y="4707216"/>
            <a:ext cx="9251" cy="15583"/>
          </a:xfrm>
          <a:custGeom>
            <a:avLst/>
            <a:gdLst>
              <a:gd name="connsiteX0" fmla="*/ 4335 w 9001"/>
              <a:gd name="connsiteY0" fmla="*/ 12615 h 12615"/>
              <a:gd name="connsiteX1" fmla="*/ 3903 w 9001"/>
              <a:gd name="connsiteY1" fmla="*/ 12615 h 12615"/>
              <a:gd name="connsiteX2" fmla="*/ 19 w 9001"/>
              <a:gd name="connsiteY2" fmla="*/ 8894 h 12615"/>
              <a:gd name="connsiteX3" fmla="*/ 396 w 9001"/>
              <a:gd name="connsiteY3" fmla="*/ 3804 h 12615"/>
              <a:gd name="connsiteX4" fmla="*/ 4204 w 9001"/>
              <a:gd name="connsiteY4" fmla="*/ 22 h 12615"/>
              <a:gd name="connsiteX5" fmla="*/ 8975 w 9001"/>
              <a:gd name="connsiteY5" fmla="*/ 3040 h 12615"/>
              <a:gd name="connsiteX6" fmla="*/ 8975 w 9001"/>
              <a:gd name="connsiteY6" fmla="*/ 3804 h 12615"/>
              <a:gd name="connsiteX7" fmla="*/ 8597 w 9001"/>
              <a:gd name="connsiteY7" fmla="*/ 9579 h 12615"/>
              <a:gd name="connsiteX8" fmla="*/ 4335 w 9001"/>
              <a:gd name="connsiteY8" fmla="*/ 12615 h 1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1" h="12615">
                <a:moveTo>
                  <a:pt x="4335" y="12615"/>
                </a:moveTo>
                <a:lnTo>
                  <a:pt x="3903" y="12615"/>
                </a:lnTo>
                <a:cubicBezTo>
                  <a:pt x="1536" y="12435"/>
                  <a:pt x="-200" y="10771"/>
                  <a:pt x="19" y="8894"/>
                </a:cubicBezTo>
                <a:cubicBezTo>
                  <a:pt x="19" y="7183"/>
                  <a:pt x="396" y="5472"/>
                  <a:pt x="396" y="3804"/>
                </a:cubicBezTo>
                <a:cubicBezTo>
                  <a:pt x="130" y="1926"/>
                  <a:pt x="1835" y="233"/>
                  <a:pt x="4204" y="22"/>
                </a:cubicBezTo>
                <a:cubicBezTo>
                  <a:pt x="6573" y="-189"/>
                  <a:pt x="8709" y="1162"/>
                  <a:pt x="8975" y="3040"/>
                </a:cubicBezTo>
                <a:cubicBezTo>
                  <a:pt x="9011" y="3294"/>
                  <a:pt x="9011" y="3550"/>
                  <a:pt x="8975" y="3804"/>
                </a:cubicBezTo>
                <a:cubicBezTo>
                  <a:pt x="8975" y="5729"/>
                  <a:pt x="8975" y="7697"/>
                  <a:pt x="8597" y="9579"/>
                </a:cubicBezTo>
                <a:cubicBezTo>
                  <a:pt x="8351" y="11301"/>
                  <a:pt x="6520" y="12605"/>
                  <a:pt x="4335" y="1261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4" name="Freeform: Shape 1463">
            <a:extLst>
              <a:ext uri="{FF2B5EF4-FFF2-40B4-BE49-F238E27FC236}">
                <a16:creationId xmlns:a16="http://schemas.microsoft.com/office/drawing/2014/main" id="{20A7922E-122C-D04A-3521-A410DD5AEC01}"/>
              </a:ext>
            </a:extLst>
          </p:cNvPr>
          <p:cNvSpPr/>
          <p:nvPr/>
        </p:nvSpPr>
        <p:spPr>
          <a:xfrm>
            <a:off x="620563" y="4644570"/>
            <a:ext cx="44688" cy="46050"/>
          </a:xfrm>
          <a:custGeom>
            <a:avLst/>
            <a:gdLst>
              <a:gd name="connsiteX0" fmla="*/ 39120 w 43479"/>
              <a:gd name="connsiteY0" fmla="*/ 37280 h 37279"/>
              <a:gd name="connsiteX1" fmla="*/ 35127 w 43479"/>
              <a:gd name="connsiteY1" fmla="*/ 35056 h 37279"/>
              <a:gd name="connsiteX2" fmla="*/ 29732 w 43479"/>
              <a:gd name="connsiteY2" fmla="*/ 26244 h 37279"/>
              <a:gd name="connsiteX3" fmla="*/ 30618 w 43479"/>
              <a:gd name="connsiteY3" fmla="*/ 21456 h 37279"/>
              <a:gd name="connsiteX4" fmla="*/ 36657 w 43479"/>
              <a:gd name="connsiteY4" fmla="*/ 22159 h 37279"/>
              <a:gd name="connsiteX5" fmla="*/ 37069 w 43479"/>
              <a:gd name="connsiteY5" fmla="*/ 22694 h 37279"/>
              <a:gd name="connsiteX6" fmla="*/ 43220 w 43479"/>
              <a:gd name="connsiteY6" fmla="*/ 32660 h 37279"/>
              <a:gd name="connsiteX7" fmla="*/ 40738 w 43479"/>
              <a:gd name="connsiteY7" fmla="*/ 36938 h 37279"/>
              <a:gd name="connsiteX8" fmla="*/ 39120 w 43479"/>
              <a:gd name="connsiteY8" fmla="*/ 37280 h 37279"/>
              <a:gd name="connsiteX9" fmla="*/ 15488 w 43479"/>
              <a:gd name="connsiteY9" fmla="*/ 12386 h 37279"/>
              <a:gd name="connsiteX10" fmla="*/ 12898 w 43479"/>
              <a:gd name="connsiteY10" fmla="*/ 11701 h 37279"/>
              <a:gd name="connsiteX11" fmla="*/ 2378 w 43479"/>
              <a:gd name="connsiteY11" fmla="*/ 6483 h 37279"/>
              <a:gd name="connsiteX12" fmla="*/ 462 w 43479"/>
              <a:gd name="connsiteY12" fmla="*/ 1885 h 37279"/>
              <a:gd name="connsiteX13" fmla="*/ 6262 w 43479"/>
              <a:gd name="connsiteY13" fmla="*/ 366 h 37279"/>
              <a:gd name="connsiteX14" fmla="*/ 18132 w 43479"/>
              <a:gd name="connsiteY14" fmla="*/ 6269 h 37279"/>
              <a:gd name="connsiteX15" fmla="*/ 18941 w 43479"/>
              <a:gd name="connsiteY15" fmla="*/ 11060 h 37279"/>
              <a:gd name="connsiteX16" fmla="*/ 15488 w 43479"/>
              <a:gd name="connsiteY16" fmla="*/ 12386 h 3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79" h="37279">
                <a:moveTo>
                  <a:pt x="39120" y="37280"/>
                </a:moveTo>
                <a:cubicBezTo>
                  <a:pt x="37332" y="37276"/>
                  <a:pt x="35738" y="36388"/>
                  <a:pt x="35127" y="35056"/>
                </a:cubicBezTo>
                <a:cubicBezTo>
                  <a:pt x="33655" y="32000"/>
                  <a:pt x="31850" y="29052"/>
                  <a:pt x="29732" y="26244"/>
                </a:cubicBezTo>
                <a:cubicBezTo>
                  <a:pt x="28308" y="24728"/>
                  <a:pt x="28706" y="22585"/>
                  <a:pt x="30618" y="21456"/>
                </a:cubicBezTo>
                <a:cubicBezTo>
                  <a:pt x="32530" y="20328"/>
                  <a:pt x="35234" y="20643"/>
                  <a:pt x="36657" y="22159"/>
                </a:cubicBezTo>
                <a:cubicBezTo>
                  <a:pt x="36815" y="22327"/>
                  <a:pt x="36953" y="22506"/>
                  <a:pt x="37069" y="22694"/>
                </a:cubicBezTo>
                <a:cubicBezTo>
                  <a:pt x="39504" y="25858"/>
                  <a:pt x="41563" y="29195"/>
                  <a:pt x="43220" y="32660"/>
                </a:cubicBezTo>
                <a:cubicBezTo>
                  <a:pt x="44019" y="34385"/>
                  <a:pt x="42910" y="36297"/>
                  <a:pt x="40738" y="36938"/>
                </a:cubicBezTo>
                <a:cubicBezTo>
                  <a:pt x="40237" y="37145"/>
                  <a:pt x="39684" y="37262"/>
                  <a:pt x="39120" y="37280"/>
                </a:cubicBezTo>
                <a:close/>
                <a:moveTo>
                  <a:pt x="15488" y="12386"/>
                </a:moveTo>
                <a:cubicBezTo>
                  <a:pt x="14552" y="12396"/>
                  <a:pt x="13640" y="12154"/>
                  <a:pt x="12898" y="11701"/>
                </a:cubicBezTo>
                <a:cubicBezTo>
                  <a:pt x="9619" y="9689"/>
                  <a:pt x="6094" y="7941"/>
                  <a:pt x="2378" y="6483"/>
                </a:cubicBezTo>
                <a:cubicBezTo>
                  <a:pt x="247" y="5633"/>
                  <a:pt x="-610" y="3574"/>
                  <a:pt x="462" y="1885"/>
                </a:cubicBezTo>
                <a:cubicBezTo>
                  <a:pt x="1535" y="196"/>
                  <a:pt x="4132" y="-484"/>
                  <a:pt x="6262" y="366"/>
                </a:cubicBezTo>
                <a:cubicBezTo>
                  <a:pt x="10430" y="2054"/>
                  <a:pt x="14402" y="4029"/>
                  <a:pt x="18132" y="6269"/>
                </a:cubicBezTo>
                <a:cubicBezTo>
                  <a:pt x="19994" y="7429"/>
                  <a:pt x="20353" y="9553"/>
                  <a:pt x="18941" y="11060"/>
                </a:cubicBezTo>
                <a:cubicBezTo>
                  <a:pt x="18104" y="11895"/>
                  <a:pt x="16834" y="12383"/>
                  <a:pt x="15488" y="12386"/>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5" name="Freeform: Shape 1464">
            <a:extLst>
              <a:ext uri="{FF2B5EF4-FFF2-40B4-BE49-F238E27FC236}">
                <a16:creationId xmlns:a16="http://schemas.microsoft.com/office/drawing/2014/main" id="{43C22BE0-A488-B274-8A32-E8863DC6EEC4}"/>
              </a:ext>
            </a:extLst>
          </p:cNvPr>
          <p:cNvSpPr/>
          <p:nvPr/>
        </p:nvSpPr>
        <p:spPr>
          <a:xfrm>
            <a:off x="587684" y="4637467"/>
            <a:ext cx="15695" cy="8718"/>
          </a:xfrm>
          <a:custGeom>
            <a:avLst/>
            <a:gdLst>
              <a:gd name="connsiteX0" fmla="*/ 11168 w 15270"/>
              <a:gd name="connsiteY0" fmla="*/ 6801 h 7058"/>
              <a:gd name="connsiteX1" fmla="*/ 10791 w 15270"/>
              <a:gd name="connsiteY1" fmla="*/ 6801 h 7058"/>
              <a:gd name="connsiteX2" fmla="*/ 4316 w 15270"/>
              <a:gd name="connsiteY2" fmla="*/ 6801 h 7058"/>
              <a:gd name="connsiteX3" fmla="*/ 0 w 15270"/>
              <a:gd name="connsiteY3" fmla="*/ 3380 h 7058"/>
              <a:gd name="connsiteX4" fmla="*/ 4262 w 15270"/>
              <a:gd name="connsiteY4" fmla="*/ 0 h 7058"/>
              <a:gd name="connsiteX5" fmla="*/ 4316 w 15270"/>
              <a:gd name="connsiteY5" fmla="*/ 0 h 7058"/>
              <a:gd name="connsiteX6" fmla="*/ 11600 w 15270"/>
              <a:gd name="connsiteY6" fmla="*/ 257 h 7058"/>
              <a:gd name="connsiteX7" fmla="*/ 15221 w 15270"/>
              <a:gd name="connsiteY7" fmla="*/ 4152 h 7058"/>
              <a:gd name="connsiteX8" fmla="*/ 11168 w 15270"/>
              <a:gd name="connsiteY8" fmla="*/ 7058 h 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70" h="7058">
                <a:moveTo>
                  <a:pt x="11168" y="6801"/>
                </a:moveTo>
                <a:lnTo>
                  <a:pt x="10791" y="6801"/>
                </a:lnTo>
                <a:cubicBezTo>
                  <a:pt x="8632" y="6801"/>
                  <a:pt x="6474" y="6801"/>
                  <a:pt x="4316" y="6801"/>
                </a:cubicBezTo>
                <a:cubicBezTo>
                  <a:pt x="1933" y="6801"/>
                  <a:pt x="0" y="5269"/>
                  <a:pt x="0" y="3380"/>
                </a:cubicBezTo>
                <a:cubicBezTo>
                  <a:pt x="0" y="1513"/>
                  <a:pt x="1908" y="0"/>
                  <a:pt x="4262" y="0"/>
                </a:cubicBezTo>
                <a:cubicBezTo>
                  <a:pt x="4280" y="0"/>
                  <a:pt x="4298" y="0"/>
                  <a:pt x="4316" y="0"/>
                </a:cubicBezTo>
                <a:cubicBezTo>
                  <a:pt x="6762" y="0"/>
                  <a:pt x="9190" y="86"/>
                  <a:pt x="11600" y="257"/>
                </a:cubicBezTo>
                <a:cubicBezTo>
                  <a:pt x="13957" y="540"/>
                  <a:pt x="15578" y="2284"/>
                  <a:pt x="15221" y="4152"/>
                </a:cubicBezTo>
                <a:cubicBezTo>
                  <a:pt x="14914" y="5762"/>
                  <a:pt x="13219" y="6977"/>
                  <a:pt x="11168" y="7058"/>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6" name="Freeform: Shape 1465">
            <a:extLst>
              <a:ext uri="{FF2B5EF4-FFF2-40B4-BE49-F238E27FC236}">
                <a16:creationId xmlns:a16="http://schemas.microsoft.com/office/drawing/2014/main" id="{F0C27E95-9191-1810-9A84-4C04F0E02382}"/>
              </a:ext>
            </a:extLst>
          </p:cNvPr>
          <p:cNvSpPr/>
          <p:nvPr/>
        </p:nvSpPr>
        <p:spPr>
          <a:xfrm>
            <a:off x="514264" y="4637151"/>
            <a:ext cx="155329" cy="148369"/>
          </a:xfrm>
          <a:custGeom>
            <a:avLst/>
            <a:gdLst>
              <a:gd name="connsiteX0" fmla="*/ 75750 w 151127"/>
              <a:gd name="connsiteY0" fmla="*/ 120108 h 120108"/>
              <a:gd name="connsiteX1" fmla="*/ 0 w 151127"/>
              <a:gd name="connsiteY1" fmla="*/ 60054 h 120108"/>
              <a:gd name="connsiteX2" fmla="*/ 75750 w 151127"/>
              <a:gd name="connsiteY2" fmla="*/ 0 h 120108"/>
              <a:gd name="connsiteX3" fmla="*/ 80066 w 151127"/>
              <a:gd name="connsiteY3" fmla="*/ 3336 h 120108"/>
              <a:gd name="connsiteX4" fmla="*/ 80066 w 151127"/>
              <a:gd name="connsiteY4" fmla="*/ 3379 h 120108"/>
              <a:gd name="connsiteX5" fmla="*/ 75750 w 151127"/>
              <a:gd name="connsiteY5" fmla="*/ 6801 h 120108"/>
              <a:gd name="connsiteX6" fmla="*/ 8551 w 151127"/>
              <a:gd name="connsiteY6" fmla="*/ 60032 h 120108"/>
              <a:gd name="connsiteX7" fmla="*/ 75695 w 151127"/>
              <a:gd name="connsiteY7" fmla="*/ 113307 h 120108"/>
              <a:gd name="connsiteX8" fmla="*/ 142544 w 151127"/>
              <a:gd name="connsiteY8" fmla="*/ 65486 h 120108"/>
              <a:gd name="connsiteX9" fmla="*/ 147456 w 151127"/>
              <a:gd name="connsiteY9" fmla="*/ 62614 h 120108"/>
              <a:gd name="connsiteX10" fmla="*/ 151122 w 151127"/>
              <a:gd name="connsiteY10" fmla="*/ 66171 h 120108"/>
              <a:gd name="connsiteX11" fmla="*/ 75750 w 151127"/>
              <a:gd name="connsiteY11" fmla="*/ 120108 h 12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127" h="120108">
                <a:moveTo>
                  <a:pt x="75750" y="120108"/>
                </a:moveTo>
                <a:cubicBezTo>
                  <a:pt x="33914" y="120108"/>
                  <a:pt x="0" y="93221"/>
                  <a:pt x="0" y="60054"/>
                </a:cubicBezTo>
                <a:cubicBezTo>
                  <a:pt x="0" y="26887"/>
                  <a:pt x="33914" y="0"/>
                  <a:pt x="75750" y="0"/>
                </a:cubicBezTo>
                <a:cubicBezTo>
                  <a:pt x="78104" y="-23"/>
                  <a:pt x="80036" y="1470"/>
                  <a:pt x="80066" y="3336"/>
                </a:cubicBezTo>
                <a:cubicBezTo>
                  <a:pt x="80066" y="3351"/>
                  <a:pt x="80066" y="3365"/>
                  <a:pt x="80066" y="3379"/>
                </a:cubicBezTo>
                <a:cubicBezTo>
                  <a:pt x="80066" y="5269"/>
                  <a:pt x="78134" y="6801"/>
                  <a:pt x="75750" y="6801"/>
                </a:cubicBezTo>
                <a:cubicBezTo>
                  <a:pt x="38652" y="6789"/>
                  <a:pt x="8566" y="30622"/>
                  <a:pt x="8551" y="60032"/>
                </a:cubicBezTo>
                <a:cubicBezTo>
                  <a:pt x="8536" y="89443"/>
                  <a:pt x="38597" y="113295"/>
                  <a:pt x="75695" y="113307"/>
                </a:cubicBezTo>
                <a:cubicBezTo>
                  <a:pt x="110150" y="113318"/>
                  <a:pt x="139029" y="92660"/>
                  <a:pt x="142544" y="65486"/>
                </a:cubicBezTo>
                <a:cubicBezTo>
                  <a:pt x="142900" y="63618"/>
                  <a:pt x="145099" y="62332"/>
                  <a:pt x="147456" y="62614"/>
                </a:cubicBezTo>
                <a:cubicBezTo>
                  <a:pt x="149649" y="62877"/>
                  <a:pt x="151234" y="64415"/>
                  <a:pt x="151122" y="66171"/>
                </a:cubicBezTo>
                <a:cubicBezTo>
                  <a:pt x="147261" y="96853"/>
                  <a:pt x="114643" y="120195"/>
                  <a:pt x="75750" y="120108"/>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7" name="Freeform: Shape 1466">
            <a:extLst>
              <a:ext uri="{FF2B5EF4-FFF2-40B4-BE49-F238E27FC236}">
                <a16:creationId xmlns:a16="http://schemas.microsoft.com/office/drawing/2014/main" id="{702EF197-A293-FB05-6108-13B1BEB951E0}"/>
              </a:ext>
            </a:extLst>
          </p:cNvPr>
          <p:cNvSpPr/>
          <p:nvPr/>
        </p:nvSpPr>
        <p:spPr>
          <a:xfrm>
            <a:off x="487258" y="4792018"/>
            <a:ext cx="35047" cy="33392"/>
          </a:xfrm>
          <a:custGeom>
            <a:avLst/>
            <a:gdLst>
              <a:gd name="connsiteX0" fmla="*/ 17049 w 34098"/>
              <a:gd name="connsiteY0" fmla="*/ 27033 h 27032"/>
              <a:gd name="connsiteX1" fmla="*/ 0 w 34098"/>
              <a:gd name="connsiteY1" fmla="*/ 13516 h 27032"/>
              <a:gd name="connsiteX2" fmla="*/ 17049 w 34098"/>
              <a:gd name="connsiteY2" fmla="*/ 0 h 27032"/>
              <a:gd name="connsiteX3" fmla="*/ 34098 w 34098"/>
              <a:gd name="connsiteY3" fmla="*/ 13516 h 27032"/>
              <a:gd name="connsiteX4" fmla="*/ 17049 w 34098"/>
              <a:gd name="connsiteY4" fmla="*/ 27033 h 27032"/>
              <a:gd name="connsiteX5" fmla="*/ 17049 w 34098"/>
              <a:gd name="connsiteY5" fmla="*/ 6844 h 27032"/>
              <a:gd name="connsiteX6" fmla="*/ 8579 w 34098"/>
              <a:gd name="connsiteY6" fmla="*/ 13559 h 27032"/>
              <a:gd name="connsiteX7" fmla="*/ 17050 w 34098"/>
              <a:gd name="connsiteY7" fmla="*/ 20275 h 27032"/>
              <a:gd name="connsiteX8" fmla="*/ 25520 w 34098"/>
              <a:gd name="connsiteY8" fmla="*/ 13559 h 27032"/>
              <a:gd name="connsiteX9" fmla="*/ 25520 w 34098"/>
              <a:gd name="connsiteY9" fmla="*/ 13516 h 27032"/>
              <a:gd name="connsiteX10" fmla="*/ 17103 w 34098"/>
              <a:gd name="connsiteY10" fmla="*/ 6844 h 27032"/>
              <a:gd name="connsiteX11" fmla="*/ 17049 w 34098"/>
              <a:gd name="connsiteY11" fmla="*/ 6844 h 2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98" h="27032">
                <a:moveTo>
                  <a:pt x="17049" y="27033"/>
                </a:moveTo>
                <a:cubicBezTo>
                  <a:pt x="7633" y="27033"/>
                  <a:pt x="0" y="20981"/>
                  <a:pt x="0" y="13516"/>
                </a:cubicBezTo>
                <a:cubicBezTo>
                  <a:pt x="0" y="6052"/>
                  <a:pt x="7633" y="0"/>
                  <a:pt x="17049" y="0"/>
                </a:cubicBezTo>
                <a:cubicBezTo>
                  <a:pt x="26465" y="0"/>
                  <a:pt x="34098" y="6052"/>
                  <a:pt x="34098" y="13516"/>
                </a:cubicBezTo>
                <a:cubicBezTo>
                  <a:pt x="34098" y="20981"/>
                  <a:pt x="26465" y="27033"/>
                  <a:pt x="17049" y="27033"/>
                </a:cubicBezTo>
                <a:close/>
                <a:moveTo>
                  <a:pt x="17049" y="6844"/>
                </a:moveTo>
                <a:cubicBezTo>
                  <a:pt x="12371" y="6844"/>
                  <a:pt x="8579" y="9850"/>
                  <a:pt x="8579" y="13559"/>
                </a:cubicBezTo>
                <a:cubicBezTo>
                  <a:pt x="8579" y="17268"/>
                  <a:pt x="12371" y="20275"/>
                  <a:pt x="17050" y="20275"/>
                </a:cubicBezTo>
                <a:cubicBezTo>
                  <a:pt x="21728" y="20275"/>
                  <a:pt x="25520" y="17268"/>
                  <a:pt x="25520" y="13559"/>
                </a:cubicBezTo>
                <a:cubicBezTo>
                  <a:pt x="25520" y="13545"/>
                  <a:pt x="25520" y="13531"/>
                  <a:pt x="25520" y="13516"/>
                </a:cubicBezTo>
                <a:cubicBezTo>
                  <a:pt x="25520" y="9831"/>
                  <a:pt x="21752" y="6844"/>
                  <a:pt x="17103" y="6844"/>
                </a:cubicBezTo>
                <a:cubicBezTo>
                  <a:pt x="17085" y="6844"/>
                  <a:pt x="17067" y="6844"/>
                  <a:pt x="17049" y="684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8" name="Freeform: Shape 1467">
            <a:extLst>
              <a:ext uri="{FF2B5EF4-FFF2-40B4-BE49-F238E27FC236}">
                <a16:creationId xmlns:a16="http://schemas.microsoft.com/office/drawing/2014/main" id="{F2DD9792-EE16-3907-8D54-ACD55F1DC373}"/>
              </a:ext>
            </a:extLst>
          </p:cNvPr>
          <p:cNvSpPr/>
          <p:nvPr/>
        </p:nvSpPr>
        <p:spPr>
          <a:xfrm>
            <a:off x="661880" y="4792018"/>
            <a:ext cx="35047" cy="33392"/>
          </a:xfrm>
          <a:custGeom>
            <a:avLst/>
            <a:gdLst>
              <a:gd name="connsiteX0" fmla="*/ 17103 w 34098"/>
              <a:gd name="connsiteY0" fmla="*/ 27033 h 27032"/>
              <a:gd name="connsiteX1" fmla="*/ 0 w 34098"/>
              <a:gd name="connsiteY1" fmla="*/ 13559 h 27032"/>
              <a:gd name="connsiteX2" fmla="*/ 16995 w 34098"/>
              <a:gd name="connsiteY2" fmla="*/ 0 h 27032"/>
              <a:gd name="connsiteX3" fmla="*/ 34098 w 34098"/>
              <a:gd name="connsiteY3" fmla="*/ 13474 h 27032"/>
              <a:gd name="connsiteX4" fmla="*/ 34098 w 34098"/>
              <a:gd name="connsiteY4" fmla="*/ 13516 h 27032"/>
              <a:gd name="connsiteX5" fmla="*/ 17103 w 34098"/>
              <a:gd name="connsiteY5" fmla="*/ 27033 h 27032"/>
              <a:gd name="connsiteX6" fmla="*/ 17103 w 34098"/>
              <a:gd name="connsiteY6" fmla="*/ 6844 h 27032"/>
              <a:gd name="connsiteX7" fmla="*/ 8579 w 34098"/>
              <a:gd name="connsiteY7" fmla="*/ 13516 h 27032"/>
              <a:gd name="connsiteX8" fmla="*/ 16996 w 34098"/>
              <a:gd name="connsiteY8" fmla="*/ 20274 h 27032"/>
              <a:gd name="connsiteX9" fmla="*/ 25520 w 34098"/>
              <a:gd name="connsiteY9" fmla="*/ 13602 h 27032"/>
              <a:gd name="connsiteX10" fmla="*/ 25520 w 34098"/>
              <a:gd name="connsiteY10" fmla="*/ 13516 h 27032"/>
              <a:gd name="connsiteX11" fmla="*/ 17103 w 34098"/>
              <a:gd name="connsiteY11" fmla="*/ 6844 h 2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98" h="27032">
                <a:moveTo>
                  <a:pt x="17103" y="27033"/>
                </a:moveTo>
                <a:cubicBezTo>
                  <a:pt x="7687" y="27056"/>
                  <a:pt x="30" y="21024"/>
                  <a:pt x="0" y="13559"/>
                </a:cubicBezTo>
                <a:cubicBezTo>
                  <a:pt x="-30" y="6094"/>
                  <a:pt x="7579" y="24"/>
                  <a:pt x="16995" y="0"/>
                </a:cubicBezTo>
                <a:cubicBezTo>
                  <a:pt x="26411" y="-23"/>
                  <a:pt x="34069" y="6009"/>
                  <a:pt x="34098" y="13474"/>
                </a:cubicBezTo>
                <a:cubicBezTo>
                  <a:pt x="34098" y="13488"/>
                  <a:pt x="34098" y="13502"/>
                  <a:pt x="34098" y="13516"/>
                </a:cubicBezTo>
                <a:cubicBezTo>
                  <a:pt x="34069" y="20955"/>
                  <a:pt x="26486" y="26986"/>
                  <a:pt x="17103" y="27033"/>
                </a:cubicBezTo>
                <a:close/>
                <a:moveTo>
                  <a:pt x="17103" y="6844"/>
                </a:moveTo>
                <a:cubicBezTo>
                  <a:pt x="12425" y="6820"/>
                  <a:pt x="8609" y="9808"/>
                  <a:pt x="8579" y="13516"/>
                </a:cubicBezTo>
                <a:cubicBezTo>
                  <a:pt x="8549" y="17225"/>
                  <a:pt x="12318" y="20251"/>
                  <a:pt x="16996" y="20274"/>
                </a:cubicBezTo>
                <a:cubicBezTo>
                  <a:pt x="21674" y="20298"/>
                  <a:pt x="25490" y="17310"/>
                  <a:pt x="25520" y="13602"/>
                </a:cubicBezTo>
                <a:cubicBezTo>
                  <a:pt x="25520" y="13573"/>
                  <a:pt x="25520" y="13545"/>
                  <a:pt x="25520" y="13516"/>
                </a:cubicBezTo>
                <a:cubicBezTo>
                  <a:pt x="25520" y="9831"/>
                  <a:pt x="21752" y="6844"/>
                  <a:pt x="17103" y="684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69" name="Freeform: Shape 1468">
            <a:extLst>
              <a:ext uri="{FF2B5EF4-FFF2-40B4-BE49-F238E27FC236}">
                <a16:creationId xmlns:a16="http://schemas.microsoft.com/office/drawing/2014/main" id="{639283F2-FED7-CBBB-95EE-02023FC8DBCA}"/>
              </a:ext>
            </a:extLst>
          </p:cNvPr>
          <p:cNvSpPr/>
          <p:nvPr/>
        </p:nvSpPr>
        <p:spPr>
          <a:xfrm>
            <a:off x="555536" y="4677728"/>
            <a:ext cx="73000" cy="67107"/>
          </a:xfrm>
          <a:custGeom>
            <a:avLst/>
            <a:gdLst>
              <a:gd name="connsiteX0" fmla="*/ 20541 w 71025"/>
              <a:gd name="connsiteY0" fmla="*/ 54323 h 54325"/>
              <a:gd name="connsiteX1" fmla="*/ 13851 w 71025"/>
              <a:gd name="connsiteY1" fmla="*/ 52612 h 54325"/>
              <a:gd name="connsiteX2" fmla="*/ 9751 w 71025"/>
              <a:gd name="connsiteY2" fmla="*/ 42561 h 54325"/>
              <a:gd name="connsiteX3" fmla="*/ 12286 w 71025"/>
              <a:gd name="connsiteY3" fmla="*/ 36487 h 54325"/>
              <a:gd name="connsiteX4" fmla="*/ 11261 w 71025"/>
              <a:gd name="connsiteY4" fmla="*/ 34049 h 54325"/>
              <a:gd name="connsiteX5" fmla="*/ 4679 w 71025"/>
              <a:gd name="connsiteY5" fmla="*/ 30242 h 54325"/>
              <a:gd name="connsiteX6" fmla="*/ 2159 w 71025"/>
              <a:gd name="connsiteY6" fmla="*/ 17697 h 54325"/>
              <a:gd name="connsiteX7" fmla="*/ 11369 w 71025"/>
              <a:gd name="connsiteY7" fmla="*/ 13988 h 54325"/>
              <a:gd name="connsiteX8" fmla="*/ 19408 w 71025"/>
              <a:gd name="connsiteY8" fmla="*/ 13988 h 54325"/>
              <a:gd name="connsiteX9" fmla="*/ 21998 w 71025"/>
              <a:gd name="connsiteY9" fmla="*/ 12491 h 54325"/>
              <a:gd name="connsiteX10" fmla="*/ 24804 w 71025"/>
              <a:gd name="connsiteY10" fmla="*/ 6246 h 54325"/>
              <a:gd name="connsiteX11" fmla="*/ 39049 w 71025"/>
              <a:gd name="connsiteY11" fmla="*/ 430 h 54325"/>
              <a:gd name="connsiteX12" fmla="*/ 46385 w 71025"/>
              <a:gd name="connsiteY12" fmla="*/ 6246 h 54325"/>
              <a:gd name="connsiteX13" fmla="*/ 48921 w 71025"/>
              <a:gd name="connsiteY13" fmla="*/ 12405 h 54325"/>
              <a:gd name="connsiteX14" fmla="*/ 51564 w 71025"/>
              <a:gd name="connsiteY14" fmla="*/ 13902 h 54325"/>
              <a:gd name="connsiteX15" fmla="*/ 59711 w 71025"/>
              <a:gd name="connsiteY15" fmla="*/ 13902 h 54325"/>
              <a:gd name="connsiteX16" fmla="*/ 71026 w 71025"/>
              <a:gd name="connsiteY16" fmla="*/ 22897 h 54325"/>
              <a:gd name="connsiteX17" fmla="*/ 66347 w 71025"/>
              <a:gd name="connsiteY17" fmla="*/ 30156 h 54325"/>
              <a:gd name="connsiteX18" fmla="*/ 59765 w 71025"/>
              <a:gd name="connsiteY18" fmla="*/ 33963 h 54325"/>
              <a:gd name="connsiteX19" fmla="*/ 58740 w 71025"/>
              <a:gd name="connsiteY19" fmla="*/ 36401 h 54325"/>
              <a:gd name="connsiteX20" fmla="*/ 61276 w 71025"/>
              <a:gd name="connsiteY20" fmla="*/ 42561 h 54325"/>
              <a:gd name="connsiteX21" fmla="*/ 54010 w 71025"/>
              <a:gd name="connsiteY21" fmla="*/ 53883 h 54325"/>
              <a:gd name="connsiteX22" fmla="*/ 43849 w 71025"/>
              <a:gd name="connsiteY22" fmla="*/ 52612 h 54325"/>
              <a:gd name="connsiteX23" fmla="*/ 37267 w 71025"/>
              <a:gd name="connsiteY23" fmla="*/ 48806 h 54325"/>
              <a:gd name="connsiteX24" fmla="*/ 34030 w 71025"/>
              <a:gd name="connsiteY24" fmla="*/ 48806 h 54325"/>
              <a:gd name="connsiteX25" fmla="*/ 27393 w 71025"/>
              <a:gd name="connsiteY25" fmla="*/ 52612 h 54325"/>
              <a:gd name="connsiteX26" fmla="*/ 20541 w 71025"/>
              <a:gd name="connsiteY26" fmla="*/ 54323 h 54325"/>
              <a:gd name="connsiteX27" fmla="*/ 35432 w 71025"/>
              <a:gd name="connsiteY27" fmla="*/ 41491 h 54325"/>
              <a:gd name="connsiteX28" fmla="*/ 42068 w 71025"/>
              <a:gd name="connsiteY28" fmla="*/ 43202 h 54325"/>
              <a:gd name="connsiteX29" fmla="*/ 48651 w 71025"/>
              <a:gd name="connsiteY29" fmla="*/ 47009 h 54325"/>
              <a:gd name="connsiteX30" fmla="*/ 51888 w 71025"/>
              <a:gd name="connsiteY30" fmla="*/ 47009 h 54325"/>
              <a:gd name="connsiteX31" fmla="*/ 52913 w 71025"/>
              <a:gd name="connsiteY31" fmla="*/ 44571 h 54325"/>
              <a:gd name="connsiteX32" fmla="*/ 50377 w 71025"/>
              <a:gd name="connsiteY32" fmla="*/ 38412 h 54325"/>
              <a:gd name="connsiteX33" fmla="*/ 54478 w 71025"/>
              <a:gd name="connsiteY33" fmla="*/ 28360 h 54325"/>
              <a:gd name="connsiteX34" fmla="*/ 61114 w 71025"/>
              <a:gd name="connsiteY34" fmla="*/ 24553 h 54325"/>
              <a:gd name="connsiteX35" fmla="*/ 62085 w 71025"/>
              <a:gd name="connsiteY35" fmla="*/ 22115 h 54325"/>
              <a:gd name="connsiteX36" fmla="*/ 59495 w 71025"/>
              <a:gd name="connsiteY36" fmla="*/ 20618 h 54325"/>
              <a:gd name="connsiteX37" fmla="*/ 51348 w 71025"/>
              <a:gd name="connsiteY37" fmla="*/ 20618 h 54325"/>
              <a:gd name="connsiteX38" fmla="*/ 40558 w 71025"/>
              <a:gd name="connsiteY38" fmla="*/ 14416 h 54325"/>
              <a:gd name="connsiteX39" fmla="*/ 38022 w 71025"/>
              <a:gd name="connsiteY39" fmla="*/ 8256 h 54325"/>
              <a:gd name="connsiteX40" fmla="*/ 34782 w 71025"/>
              <a:gd name="connsiteY40" fmla="*/ 6548 h 54325"/>
              <a:gd name="connsiteX41" fmla="*/ 32627 w 71025"/>
              <a:gd name="connsiteY41" fmla="*/ 8256 h 54325"/>
              <a:gd name="connsiteX42" fmla="*/ 30199 w 71025"/>
              <a:gd name="connsiteY42" fmla="*/ 14501 h 54325"/>
              <a:gd name="connsiteX43" fmla="*/ 19408 w 71025"/>
              <a:gd name="connsiteY43" fmla="*/ 20703 h 54325"/>
              <a:gd name="connsiteX44" fmla="*/ 11369 w 71025"/>
              <a:gd name="connsiteY44" fmla="*/ 20703 h 54325"/>
              <a:gd name="connsiteX45" fmla="*/ 8726 w 71025"/>
              <a:gd name="connsiteY45" fmla="*/ 22201 h 54325"/>
              <a:gd name="connsiteX46" fmla="*/ 9751 w 71025"/>
              <a:gd name="connsiteY46" fmla="*/ 24639 h 54325"/>
              <a:gd name="connsiteX47" fmla="*/ 16333 w 71025"/>
              <a:gd name="connsiteY47" fmla="*/ 28445 h 54325"/>
              <a:gd name="connsiteX48" fmla="*/ 20433 w 71025"/>
              <a:gd name="connsiteY48" fmla="*/ 38497 h 54325"/>
              <a:gd name="connsiteX49" fmla="*/ 17898 w 71025"/>
              <a:gd name="connsiteY49" fmla="*/ 44657 h 54325"/>
              <a:gd name="connsiteX50" fmla="*/ 18923 w 71025"/>
              <a:gd name="connsiteY50" fmla="*/ 47095 h 54325"/>
              <a:gd name="connsiteX51" fmla="*/ 22160 w 71025"/>
              <a:gd name="connsiteY51" fmla="*/ 47095 h 54325"/>
              <a:gd name="connsiteX52" fmla="*/ 28742 w 71025"/>
              <a:gd name="connsiteY52" fmla="*/ 43288 h 54325"/>
              <a:gd name="connsiteX53" fmla="*/ 35594 w 71025"/>
              <a:gd name="connsiteY53" fmla="*/ 41577 h 5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025" h="54325">
                <a:moveTo>
                  <a:pt x="20541" y="54323"/>
                </a:moveTo>
                <a:cubicBezTo>
                  <a:pt x="18140" y="54321"/>
                  <a:pt x="15801" y="53723"/>
                  <a:pt x="13851" y="52612"/>
                </a:cubicBezTo>
                <a:cubicBezTo>
                  <a:pt x="9836" y="50346"/>
                  <a:pt x="8170" y="46261"/>
                  <a:pt x="9751" y="42561"/>
                </a:cubicBezTo>
                <a:lnTo>
                  <a:pt x="12286" y="36487"/>
                </a:lnTo>
                <a:cubicBezTo>
                  <a:pt x="12649" y="35584"/>
                  <a:pt x="12235" y="34599"/>
                  <a:pt x="11261" y="34049"/>
                </a:cubicBezTo>
                <a:lnTo>
                  <a:pt x="4679" y="30242"/>
                </a:lnTo>
                <a:cubicBezTo>
                  <a:pt x="-387" y="27329"/>
                  <a:pt x="-1515" y="21713"/>
                  <a:pt x="2159" y="17697"/>
                </a:cubicBezTo>
                <a:cubicBezTo>
                  <a:pt x="4298" y="15358"/>
                  <a:pt x="7725" y="13978"/>
                  <a:pt x="11369" y="13988"/>
                </a:cubicBezTo>
                <a:lnTo>
                  <a:pt x="19408" y="13988"/>
                </a:lnTo>
                <a:cubicBezTo>
                  <a:pt x="20593" y="13994"/>
                  <a:pt x="21643" y="13387"/>
                  <a:pt x="21998" y="12491"/>
                </a:cubicBezTo>
                <a:lnTo>
                  <a:pt x="24804" y="6246"/>
                </a:lnTo>
                <a:cubicBezTo>
                  <a:pt x="26711" y="1521"/>
                  <a:pt x="33089" y="-1082"/>
                  <a:pt x="39049" y="430"/>
                </a:cubicBezTo>
                <a:cubicBezTo>
                  <a:pt x="42536" y="1315"/>
                  <a:pt x="45268" y="3482"/>
                  <a:pt x="46385" y="6246"/>
                </a:cubicBezTo>
                <a:lnTo>
                  <a:pt x="48921" y="12405"/>
                </a:lnTo>
                <a:cubicBezTo>
                  <a:pt x="49311" y="13299"/>
                  <a:pt x="50371" y="13900"/>
                  <a:pt x="51564" y="13902"/>
                </a:cubicBezTo>
                <a:lnTo>
                  <a:pt x="59711" y="13902"/>
                </a:lnTo>
                <a:cubicBezTo>
                  <a:pt x="65969" y="13909"/>
                  <a:pt x="71034" y="17936"/>
                  <a:pt x="71026" y="22897"/>
                </a:cubicBezTo>
                <a:cubicBezTo>
                  <a:pt x="71021" y="25771"/>
                  <a:pt x="69282" y="28469"/>
                  <a:pt x="66347" y="30156"/>
                </a:cubicBezTo>
                <a:lnTo>
                  <a:pt x="59765" y="33963"/>
                </a:lnTo>
                <a:cubicBezTo>
                  <a:pt x="58806" y="34521"/>
                  <a:pt x="58395" y="35498"/>
                  <a:pt x="58740" y="36401"/>
                </a:cubicBezTo>
                <a:lnTo>
                  <a:pt x="61276" y="42561"/>
                </a:lnTo>
                <a:cubicBezTo>
                  <a:pt x="63213" y="47278"/>
                  <a:pt x="59960" y="52347"/>
                  <a:pt x="54010" y="53883"/>
                </a:cubicBezTo>
                <a:cubicBezTo>
                  <a:pt x="50562" y="54773"/>
                  <a:pt x="46785" y="54301"/>
                  <a:pt x="43849" y="52612"/>
                </a:cubicBezTo>
                <a:lnTo>
                  <a:pt x="37267" y="48806"/>
                </a:lnTo>
                <a:cubicBezTo>
                  <a:pt x="36302" y="48249"/>
                  <a:pt x="34994" y="48249"/>
                  <a:pt x="34030" y="48806"/>
                </a:cubicBezTo>
                <a:lnTo>
                  <a:pt x="27393" y="52612"/>
                </a:lnTo>
                <a:cubicBezTo>
                  <a:pt x="25407" y="53763"/>
                  <a:pt x="23000" y="54364"/>
                  <a:pt x="20541" y="54323"/>
                </a:cubicBezTo>
                <a:close/>
                <a:moveTo>
                  <a:pt x="35432" y="41491"/>
                </a:moveTo>
                <a:cubicBezTo>
                  <a:pt x="37818" y="41488"/>
                  <a:pt x="40142" y="42087"/>
                  <a:pt x="42068" y="43202"/>
                </a:cubicBezTo>
                <a:lnTo>
                  <a:pt x="48651" y="47009"/>
                </a:lnTo>
                <a:cubicBezTo>
                  <a:pt x="49615" y="47566"/>
                  <a:pt x="50923" y="47566"/>
                  <a:pt x="51888" y="47009"/>
                </a:cubicBezTo>
                <a:cubicBezTo>
                  <a:pt x="52892" y="46477"/>
                  <a:pt x="53313" y="45474"/>
                  <a:pt x="52913" y="44571"/>
                </a:cubicBezTo>
                <a:lnTo>
                  <a:pt x="50377" y="38412"/>
                </a:lnTo>
                <a:cubicBezTo>
                  <a:pt x="48869" y="34710"/>
                  <a:pt x="50522" y="30660"/>
                  <a:pt x="54478" y="28360"/>
                </a:cubicBezTo>
                <a:lnTo>
                  <a:pt x="61114" y="24553"/>
                </a:lnTo>
                <a:cubicBezTo>
                  <a:pt x="62132" y="24029"/>
                  <a:pt x="62539" y="23007"/>
                  <a:pt x="62085" y="22115"/>
                </a:cubicBezTo>
                <a:cubicBezTo>
                  <a:pt x="61745" y="21211"/>
                  <a:pt x="60685" y="20598"/>
                  <a:pt x="59495" y="20618"/>
                </a:cubicBezTo>
                <a:lnTo>
                  <a:pt x="51348" y="20618"/>
                </a:lnTo>
                <a:cubicBezTo>
                  <a:pt x="46431" y="20637"/>
                  <a:pt x="42064" y="18128"/>
                  <a:pt x="40558" y="14416"/>
                </a:cubicBezTo>
                <a:lnTo>
                  <a:pt x="38022" y="8256"/>
                </a:lnTo>
                <a:cubicBezTo>
                  <a:pt x="37723" y="7075"/>
                  <a:pt x="36272" y="6310"/>
                  <a:pt x="34782" y="6548"/>
                </a:cubicBezTo>
                <a:cubicBezTo>
                  <a:pt x="33695" y="6721"/>
                  <a:pt x="32845" y="7394"/>
                  <a:pt x="32627" y="8256"/>
                </a:cubicBezTo>
                <a:lnTo>
                  <a:pt x="30199" y="14501"/>
                </a:lnTo>
                <a:cubicBezTo>
                  <a:pt x="28708" y="18221"/>
                  <a:pt x="24332" y="20737"/>
                  <a:pt x="19408" y="20703"/>
                </a:cubicBezTo>
                <a:lnTo>
                  <a:pt x="11369" y="20703"/>
                </a:lnTo>
                <a:cubicBezTo>
                  <a:pt x="10160" y="20664"/>
                  <a:pt x="9070" y="21280"/>
                  <a:pt x="8726" y="22201"/>
                </a:cubicBezTo>
                <a:cubicBezTo>
                  <a:pt x="8304" y="23103"/>
                  <a:pt x="8730" y="24117"/>
                  <a:pt x="9751" y="24639"/>
                </a:cubicBezTo>
                <a:lnTo>
                  <a:pt x="16333" y="28445"/>
                </a:lnTo>
                <a:cubicBezTo>
                  <a:pt x="20303" y="30737"/>
                  <a:pt x="21959" y="34796"/>
                  <a:pt x="20433" y="38497"/>
                </a:cubicBezTo>
                <a:lnTo>
                  <a:pt x="17898" y="44657"/>
                </a:lnTo>
                <a:cubicBezTo>
                  <a:pt x="17497" y="45560"/>
                  <a:pt x="17919" y="46563"/>
                  <a:pt x="18923" y="47095"/>
                </a:cubicBezTo>
                <a:cubicBezTo>
                  <a:pt x="19887" y="47651"/>
                  <a:pt x="21195" y="47651"/>
                  <a:pt x="22160" y="47095"/>
                </a:cubicBezTo>
                <a:lnTo>
                  <a:pt x="28742" y="43288"/>
                </a:lnTo>
                <a:cubicBezTo>
                  <a:pt x="30728" y="42138"/>
                  <a:pt x="33136" y="41537"/>
                  <a:pt x="35594" y="4157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0" name="Freeform: Shape 1469">
            <a:extLst>
              <a:ext uri="{FF2B5EF4-FFF2-40B4-BE49-F238E27FC236}">
                <a16:creationId xmlns:a16="http://schemas.microsoft.com/office/drawing/2014/main" id="{98555E6C-2254-2A1C-B822-07993BCCCFC6}"/>
              </a:ext>
            </a:extLst>
          </p:cNvPr>
          <p:cNvSpPr/>
          <p:nvPr/>
        </p:nvSpPr>
        <p:spPr>
          <a:xfrm>
            <a:off x="584350" y="5602561"/>
            <a:ext cx="37826" cy="9587"/>
          </a:xfrm>
          <a:custGeom>
            <a:avLst/>
            <a:gdLst>
              <a:gd name="connsiteX0" fmla="*/ 34700 w 38983"/>
              <a:gd name="connsiteY0" fmla="*/ 6834 h 6834"/>
              <a:gd name="connsiteX1" fmla="*/ 4337 w 38983"/>
              <a:gd name="connsiteY1" fmla="*/ 6834 h 6834"/>
              <a:gd name="connsiteX2" fmla="*/ 1 w 38983"/>
              <a:gd name="connsiteY2" fmla="*/ 3482 h 6834"/>
              <a:gd name="connsiteX3" fmla="*/ 0 w 38983"/>
              <a:gd name="connsiteY3" fmla="*/ 3439 h 6834"/>
              <a:gd name="connsiteX4" fmla="*/ 4337 w 38983"/>
              <a:gd name="connsiteY4" fmla="*/ 0 h 6834"/>
              <a:gd name="connsiteX5" fmla="*/ 34700 w 38983"/>
              <a:gd name="connsiteY5" fmla="*/ 0 h 6834"/>
              <a:gd name="connsiteX6" fmla="*/ 38983 w 38983"/>
              <a:gd name="connsiteY6" fmla="*/ 3395 h 6834"/>
              <a:gd name="connsiteX7" fmla="*/ 38983 w 38983"/>
              <a:gd name="connsiteY7" fmla="*/ 3439 h 6834"/>
              <a:gd name="connsiteX8" fmla="*/ 34700 w 38983"/>
              <a:gd name="connsiteY8" fmla="*/ 6834 h 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83" h="6834">
                <a:moveTo>
                  <a:pt x="34700" y="6834"/>
                </a:moveTo>
                <a:lnTo>
                  <a:pt x="4337" y="6834"/>
                </a:lnTo>
                <a:cubicBezTo>
                  <a:pt x="1972" y="6858"/>
                  <a:pt x="30" y="5357"/>
                  <a:pt x="1" y="3482"/>
                </a:cubicBezTo>
                <a:cubicBezTo>
                  <a:pt x="0" y="3468"/>
                  <a:pt x="0" y="3453"/>
                  <a:pt x="0" y="3439"/>
                </a:cubicBezTo>
                <a:cubicBezTo>
                  <a:pt x="0" y="1540"/>
                  <a:pt x="1942" y="0"/>
                  <a:pt x="4337" y="0"/>
                </a:cubicBezTo>
                <a:lnTo>
                  <a:pt x="34700" y="0"/>
                </a:lnTo>
                <a:cubicBezTo>
                  <a:pt x="37065" y="0"/>
                  <a:pt x="38983" y="1520"/>
                  <a:pt x="38983" y="3395"/>
                </a:cubicBezTo>
                <a:cubicBezTo>
                  <a:pt x="38983" y="3410"/>
                  <a:pt x="38983" y="3424"/>
                  <a:pt x="38983" y="3439"/>
                </a:cubicBezTo>
                <a:cubicBezTo>
                  <a:pt x="38983" y="5314"/>
                  <a:pt x="37065" y="6834"/>
                  <a:pt x="34700" y="683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1" name="Freeform: Shape 1470">
            <a:extLst>
              <a:ext uri="{FF2B5EF4-FFF2-40B4-BE49-F238E27FC236}">
                <a16:creationId xmlns:a16="http://schemas.microsoft.com/office/drawing/2014/main" id="{663056D0-6A85-AA1A-697F-A78C4416129B}"/>
              </a:ext>
            </a:extLst>
          </p:cNvPr>
          <p:cNvSpPr/>
          <p:nvPr/>
        </p:nvSpPr>
        <p:spPr>
          <a:xfrm>
            <a:off x="480550" y="5566681"/>
            <a:ext cx="224799" cy="89189"/>
          </a:xfrm>
          <a:custGeom>
            <a:avLst/>
            <a:gdLst>
              <a:gd name="connsiteX0" fmla="*/ 54167 w 231678"/>
              <a:gd name="connsiteY0" fmla="*/ 63573 h 63572"/>
              <a:gd name="connsiteX1" fmla="*/ 51239 w 231678"/>
              <a:gd name="connsiteY1" fmla="*/ 62627 h 63572"/>
              <a:gd name="connsiteX2" fmla="*/ 49992 w 231678"/>
              <a:gd name="connsiteY2" fmla="*/ 61810 h 63572"/>
              <a:gd name="connsiteX3" fmla="*/ 1792 w 231678"/>
              <a:gd name="connsiteY3" fmla="*/ 33742 h 63572"/>
              <a:gd name="connsiteX4" fmla="*/ 3 w 231678"/>
              <a:gd name="connsiteY4" fmla="*/ 31163 h 63572"/>
              <a:gd name="connsiteX5" fmla="*/ 1467 w 231678"/>
              <a:gd name="connsiteY5" fmla="*/ 28412 h 63572"/>
              <a:gd name="connsiteX6" fmla="*/ 25269 w 231678"/>
              <a:gd name="connsiteY6" fmla="*/ 11992 h 63572"/>
              <a:gd name="connsiteX7" fmla="*/ 48095 w 231678"/>
              <a:gd name="connsiteY7" fmla="*/ 2020 h 63572"/>
              <a:gd name="connsiteX8" fmla="*/ 72330 w 231678"/>
              <a:gd name="connsiteY8" fmla="*/ 301 h 63572"/>
              <a:gd name="connsiteX9" fmla="*/ 120801 w 231678"/>
              <a:gd name="connsiteY9" fmla="*/ 4599 h 63572"/>
              <a:gd name="connsiteX10" fmla="*/ 145850 w 231678"/>
              <a:gd name="connsiteY10" fmla="*/ 23856 h 63572"/>
              <a:gd name="connsiteX11" fmla="*/ 207171 w 231678"/>
              <a:gd name="connsiteY11" fmla="*/ 2020 h 63572"/>
              <a:gd name="connsiteX12" fmla="*/ 228858 w 231678"/>
              <a:gd name="connsiteY12" fmla="*/ 6791 h 63572"/>
              <a:gd name="connsiteX13" fmla="*/ 223805 w 231678"/>
              <a:gd name="connsiteY13" fmla="*/ 25826 h 63572"/>
              <a:gd name="connsiteX14" fmla="*/ 221756 w 231678"/>
              <a:gd name="connsiteY14" fmla="*/ 26736 h 63572"/>
              <a:gd name="connsiteX15" fmla="*/ 161140 w 231678"/>
              <a:gd name="connsiteY15" fmla="*/ 49646 h 63572"/>
              <a:gd name="connsiteX16" fmla="*/ 114512 w 231678"/>
              <a:gd name="connsiteY16" fmla="*/ 55750 h 63572"/>
              <a:gd name="connsiteX17" fmla="*/ 78240 w 231678"/>
              <a:gd name="connsiteY17" fmla="*/ 52569 h 63572"/>
              <a:gd name="connsiteX18" fmla="*/ 57095 w 231678"/>
              <a:gd name="connsiteY18" fmla="*/ 62584 h 63572"/>
              <a:gd name="connsiteX19" fmla="*/ 54167 w 231678"/>
              <a:gd name="connsiteY19" fmla="*/ 63573 h 63572"/>
              <a:gd name="connsiteX20" fmla="*/ 11226 w 231678"/>
              <a:gd name="connsiteY20" fmla="*/ 30776 h 63572"/>
              <a:gd name="connsiteX21" fmla="*/ 53950 w 231678"/>
              <a:gd name="connsiteY21" fmla="*/ 55664 h 63572"/>
              <a:gd name="connsiteX22" fmla="*/ 76559 w 231678"/>
              <a:gd name="connsiteY22" fmla="*/ 45949 h 63572"/>
              <a:gd name="connsiteX23" fmla="*/ 78294 w 231678"/>
              <a:gd name="connsiteY23" fmla="*/ 45949 h 63572"/>
              <a:gd name="connsiteX24" fmla="*/ 115488 w 231678"/>
              <a:gd name="connsiteY24" fmla="*/ 49216 h 63572"/>
              <a:gd name="connsiteX25" fmla="*/ 157453 w 231678"/>
              <a:gd name="connsiteY25" fmla="*/ 43714 h 63572"/>
              <a:gd name="connsiteX26" fmla="*/ 218286 w 231678"/>
              <a:gd name="connsiteY26" fmla="*/ 20718 h 63572"/>
              <a:gd name="connsiteX27" fmla="*/ 222948 w 231678"/>
              <a:gd name="connsiteY27" fmla="*/ 16419 h 63572"/>
              <a:gd name="connsiteX28" fmla="*/ 221864 w 231678"/>
              <a:gd name="connsiteY28" fmla="*/ 10789 h 63572"/>
              <a:gd name="connsiteX29" fmla="*/ 210695 w 231678"/>
              <a:gd name="connsiteY29" fmla="*/ 8467 h 63572"/>
              <a:gd name="connsiteX30" fmla="*/ 143410 w 231678"/>
              <a:gd name="connsiteY30" fmla="*/ 32109 h 63572"/>
              <a:gd name="connsiteX31" fmla="*/ 139127 w 231678"/>
              <a:gd name="connsiteY31" fmla="*/ 31765 h 63572"/>
              <a:gd name="connsiteX32" fmla="*/ 137392 w 231678"/>
              <a:gd name="connsiteY32" fmla="*/ 28627 h 63572"/>
              <a:gd name="connsiteX33" fmla="*/ 119880 w 231678"/>
              <a:gd name="connsiteY33" fmla="*/ 11433 h 63572"/>
              <a:gd name="connsiteX34" fmla="*/ 71354 w 231678"/>
              <a:gd name="connsiteY34" fmla="*/ 7135 h 63572"/>
              <a:gd name="connsiteX35" fmla="*/ 50535 w 231678"/>
              <a:gd name="connsiteY35" fmla="*/ 8639 h 63572"/>
              <a:gd name="connsiteX36" fmla="*/ 30908 w 231678"/>
              <a:gd name="connsiteY36" fmla="*/ 17236 h 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1678" h="63572">
                <a:moveTo>
                  <a:pt x="54167" y="63573"/>
                </a:moveTo>
                <a:cubicBezTo>
                  <a:pt x="53071" y="63579"/>
                  <a:pt x="52018" y="63238"/>
                  <a:pt x="51239" y="62627"/>
                </a:cubicBezTo>
                <a:lnTo>
                  <a:pt x="49992" y="61810"/>
                </a:lnTo>
                <a:lnTo>
                  <a:pt x="1792" y="33742"/>
                </a:lnTo>
                <a:cubicBezTo>
                  <a:pt x="720" y="33151"/>
                  <a:pt x="58" y="32197"/>
                  <a:pt x="3" y="31163"/>
                </a:cubicBezTo>
                <a:cubicBezTo>
                  <a:pt x="-47" y="30119"/>
                  <a:pt x="489" y="29112"/>
                  <a:pt x="1467" y="28412"/>
                </a:cubicBezTo>
                <a:lnTo>
                  <a:pt x="25269" y="11992"/>
                </a:lnTo>
                <a:cubicBezTo>
                  <a:pt x="31895" y="7417"/>
                  <a:pt x="39677" y="4017"/>
                  <a:pt x="48095" y="2020"/>
                </a:cubicBezTo>
                <a:cubicBezTo>
                  <a:pt x="55946" y="162"/>
                  <a:pt x="64188" y="-422"/>
                  <a:pt x="72330" y="301"/>
                </a:cubicBezTo>
                <a:lnTo>
                  <a:pt x="120801" y="4599"/>
                </a:lnTo>
                <a:cubicBezTo>
                  <a:pt x="133734" y="5704"/>
                  <a:pt x="144060" y="13642"/>
                  <a:pt x="145850" y="23856"/>
                </a:cubicBezTo>
                <a:lnTo>
                  <a:pt x="207171" y="2020"/>
                </a:lnTo>
                <a:cubicBezTo>
                  <a:pt x="214910" y="-698"/>
                  <a:pt x="223993" y="1300"/>
                  <a:pt x="228858" y="6791"/>
                </a:cubicBezTo>
                <a:cubicBezTo>
                  <a:pt x="234093" y="13154"/>
                  <a:pt x="231831" y="21676"/>
                  <a:pt x="223805" y="25826"/>
                </a:cubicBezTo>
                <a:cubicBezTo>
                  <a:pt x="223149" y="26166"/>
                  <a:pt x="222464" y="26469"/>
                  <a:pt x="221756" y="26736"/>
                </a:cubicBezTo>
                <a:lnTo>
                  <a:pt x="161140" y="49646"/>
                </a:lnTo>
                <a:cubicBezTo>
                  <a:pt x="146590" y="55013"/>
                  <a:pt x="130466" y="57124"/>
                  <a:pt x="114512" y="55750"/>
                </a:cubicBezTo>
                <a:lnTo>
                  <a:pt x="78240" y="52569"/>
                </a:lnTo>
                <a:cubicBezTo>
                  <a:pt x="70297" y="54543"/>
                  <a:pt x="63053" y="57975"/>
                  <a:pt x="57095" y="62584"/>
                </a:cubicBezTo>
                <a:cubicBezTo>
                  <a:pt x="56306" y="63189"/>
                  <a:pt x="55264" y="63541"/>
                  <a:pt x="54167" y="63573"/>
                </a:cubicBezTo>
                <a:close/>
                <a:moveTo>
                  <a:pt x="11226" y="30776"/>
                </a:moveTo>
                <a:lnTo>
                  <a:pt x="53950" y="55664"/>
                </a:lnTo>
                <a:cubicBezTo>
                  <a:pt x="60542" y="51201"/>
                  <a:pt x="68246" y="47891"/>
                  <a:pt x="76559" y="45949"/>
                </a:cubicBezTo>
                <a:cubicBezTo>
                  <a:pt x="77132" y="45862"/>
                  <a:pt x="77721" y="45862"/>
                  <a:pt x="78294" y="45949"/>
                </a:cubicBezTo>
                <a:lnTo>
                  <a:pt x="115488" y="49216"/>
                </a:lnTo>
                <a:cubicBezTo>
                  <a:pt x="129848" y="50467"/>
                  <a:pt x="144366" y="48564"/>
                  <a:pt x="157453" y="43714"/>
                </a:cubicBezTo>
                <a:lnTo>
                  <a:pt x="218286" y="20718"/>
                </a:lnTo>
                <a:cubicBezTo>
                  <a:pt x="220547" y="19883"/>
                  <a:pt x="222246" y="18317"/>
                  <a:pt x="222948" y="16419"/>
                </a:cubicBezTo>
                <a:cubicBezTo>
                  <a:pt x="223660" y="14508"/>
                  <a:pt x="223263" y="12444"/>
                  <a:pt x="221864" y="10789"/>
                </a:cubicBezTo>
                <a:cubicBezTo>
                  <a:pt x="219327" y="7989"/>
                  <a:pt x="214638" y="7015"/>
                  <a:pt x="210695" y="8467"/>
                </a:cubicBezTo>
                <a:lnTo>
                  <a:pt x="143410" y="32109"/>
                </a:lnTo>
                <a:cubicBezTo>
                  <a:pt x="142010" y="32622"/>
                  <a:pt x="140369" y="32490"/>
                  <a:pt x="139127" y="31765"/>
                </a:cubicBezTo>
                <a:cubicBezTo>
                  <a:pt x="137886" y="31038"/>
                  <a:pt x="137225" y="29843"/>
                  <a:pt x="137392" y="28627"/>
                </a:cubicBezTo>
                <a:cubicBezTo>
                  <a:pt x="138470" y="20063"/>
                  <a:pt x="130666" y="12402"/>
                  <a:pt x="119880" y="11433"/>
                </a:cubicBezTo>
                <a:lnTo>
                  <a:pt x="71354" y="7135"/>
                </a:lnTo>
                <a:cubicBezTo>
                  <a:pt x="64358" y="6515"/>
                  <a:pt x="57275" y="7027"/>
                  <a:pt x="50535" y="8639"/>
                </a:cubicBezTo>
                <a:cubicBezTo>
                  <a:pt x="43292" y="10358"/>
                  <a:pt x="36598" y="13290"/>
                  <a:pt x="30908" y="17236"/>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2" name="Freeform: Shape 1471">
            <a:extLst>
              <a:ext uri="{FF2B5EF4-FFF2-40B4-BE49-F238E27FC236}">
                <a16:creationId xmlns:a16="http://schemas.microsoft.com/office/drawing/2014/main" id="{BB48FC09-4DDF-A7D8-0412-84C2DFEBFC9D}"/>
              </a:ext>
            </a:extLst>
          </p:cNvPr>
          <p:cNvSpPr/>
          <p:nvPr/>
        </p:nvSpPr>
        <p:spPr>
          <a:xfrm>
            <a:off x="450327" y="5597297"/>
            <a:ext cx="92609" cy="93487"/>
          </a:xfrm>
          <a:custGeom>
            <a:avLst/>
            <a:gdLst>
              <a:gd name="connsiteX0" fmla="*/ 82822 w 95443"/>
              <a:gd name="connsiteY0" fmla="*/ 66637 h 66636"/>
              <a:gd name="connsiteX1" fmla="*/ 80274 w 95443"/>
              <a:gd name="connsiteY1" fmla="*/ 65949 h 66636"/>
              <a:gd name="connsiteX2" fmla="*/ 79326 w 95443"/>
              <a:gd name="connsiteY2" fmla="*/ 61206 h 66636"/>
              <a:gd name="connsiteX3" fmla="*/ 79352 w 95443"/>
              <a:gd name="connsiteY3" fmla="*/ 61178 h 66636"/>
              <a:gd name="connsiteX4" fmla="*/ 84286 w 95443"/>
              <a:gd name="connsiteY4" fmla="*/ 55848 h 66636"/>
              <a:gd name="connsiteX5" fmla="*/ 81196 w 95443"/>
              <a:gd name="connsiteY5" fmla="*/ 39987 h 66636"/>
              <a:gd name="connsiteX6" fmla="*/ 28008 w 95443"/>
              <a:gd name="connsiteY6" fmla="*/ 9039 h 66636"/>
              <a:gd name="connsiteX7" fmla="*/ 17164 w 95443"/>
              <a:gd name="connsiteY7" fmla="*/ 6975 h 66636"/>
              <a:gd name="connsiteX8" fmla="*/ 7784 w 95443"/>
              <a:gd name="connsiteY8" fmla="*/ 11489 h 66636"/>
              <a:gd name="connsiteX9" fmla="*/ 1766 w 95443"/>
              <a:gd name="connsiteY9" fmla="*/ 12219 h 66636"/>
              <a:gd name="connsiteX10" fmla="*/ 818 w 95443"/>
              <a:gd name="connsiteY10" fmla="*/ 7476 h 66636"/>
              <a:gd name="connsiteX11" fmla="*/ 844 w 95443"/>
              <a:gd name="connsiteY11" fmla="*/ 7448 h 66636"/>
              <a:gd name="connsiteX12" fmla="*/ 15863 w 95443"/>
              <a:gd name="connsiteY12" fmla="*/ 227 h 66636"/>
              <a:gd name="connsiteX13" fmla="*/ 32887 w 95443"/>
              <a:gd name="connsiteY13" fmla="*/ 3537 h 66636"/>
              <a:gd name="connsiteX14" fmla="*/ 86075 w 95443"/>
              <a:gd name="connsiteY14" fmla="*/ 34485 h 66636"/>
              <a:gd name="connsiteX15" fmla="*/ 91009 w 95443"/>
              <a:gd name="connsiteY15" fmla="*/ 59888 h 66636"/>
              <a:gd name="connsiteX16" fmla="*/ 86075 w 95443"/>
              <a:gd name="connsiteY16" fmla="*/ 65218 h 66636"/>
              <a:gd name="connsiteX17" fmla="*/ 82822 w 95443"/>
              <a:gd name="connsiteY17" fmla="*/ 66637 h 66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443" h="66636">
                <a:moveTo>
                  <a:pt x="82822" y="66637"/>
                </a:moveTo>
                <a:cubicBezTo>
                  <a:pt x="81899" y="66640"/>
                  <a:pt x="81002" y="66398"/>
                  <a:pt x="80274" y="65949"/>
                </a:cubicBezTo>
                <a:cubicBezTo>
                  <a:pt x="78360" y="64847"/>
                  <a:pt x="77936" y="62723"/>
                  <a:pt x="79326" y="61206"/>
                </a:cubicBezTo>
                <a:cubicBezTo>
                  <a:pt x="79335" y="61196"/>
                  <a:pt x="79343" y="61187"/>
                  <a:pt x="79352" y="61178"/>
                </a:cubicBezTo>
                <a:lnTo>
                  <a:pt x="84286" y="55848"/>
                </a:lnTo>
                <a:cubicBezTo>
                  <a:pt x="88927" y="50786"/>
                  <a:pt x="87547" y="43703"/>
                  <a:pt x="81196" y="39987"/>
                </a:cubicBezTo>
                <a:lnTo>
                  <a:pt x="28008" y="9039"/>
                </a:lnTo>
                <a:cubicBezTo>
                  <a:pt x="24883" y="7235"/>
                  <a:pt x="20981" y="6492"/>
                  <a:pt x="17164" y="6975"/>
                </a:cubicBezTo>
                <a:cubicBezTo>
                  <a:pt x="13405" y="7432"/>
                  <a:pt x="10030" y="9056"/>
                  <a:pt x="7784" y="11489"/>
                </a:cubicBezTo>
                <a:cubicBezTo>
                  <a:pt x="6367" y="12995"/>
                  <a:pt x="3687" y="13321"/>
                  <a:pt x="1766" y="12219"/>
                </a:cubicBezTo>
                <a:cubicBezTo>
                  <a:pt x="-148" y="11117"/>
                  <a:pt x="-572" y="8993"/>
                  <a:pt x="818" y="7476"/>
                </a:cubicBezTo>
                <a:cubicBezTo>
                  <a:pt x="827" y="7467"/>
                  <a:pt x="836" y="7458"/>
                  <a:pt x="844" y="7448"/>
                </a:cubicBezTo>
                <a:cubicBezTo>
                  <a:pt x="4431" y="3546"/>
                  <a:pt x="9840" y="945"/>
                  <a:pt x="15863" y="227"/>
                </a:cubicBezTo>
                <a:cubicBezTo>
                  <a:pt x="21868" y="-540"/>
                  <a:pt x="28010" y="654"/>
                  <a:pt x="32887" y="3537"/>
                </a:cubicBezTo>
                <a:lnTo>
                  <a:pt x="86075" y="34485"/>
                </a:lnTo>
                <a:cubicBezTo>
                  <a:pt x="96281" y="40422"/>
                  <a:pt x="98490" y="51792"/>
                  <a:pt x="91009" y="59888"/>
                </a:cubicBezTo>
                <a:lnTo>
                  <a:pt x="86075" y="65218"/>
                </a:lnTo>
                <a:cubicBezTo>
                  <a:pt x="85304" y="66044"/>
                  <a:pt x="84116" y="66563"/>
                  <a:pt x="82822" y="6663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3" name="Freeform: Shape 1472">
            <a:extLst>
              <a:ext uri="{FF2B5EF4-FFF2-40B4-BE49-F238E27FC236}">
                <a16:creationId xmlns:a16="http://schemas.microsoft.com/office/drawing/2014/main" id="{52D74165-9746-CCC8-8BCF-CBA6924EA3F8}"/>
              </a:ext>
            </a:extLst>
          </p:cNvPr>
          <p:cNvSpPr/>
          <p:nvPr/>
        </p:nvSpPr>
        <p:spPr>
          <a:xfrm>
            <a:off x="449681" y="5605299"/>
            <a:ext cx="89909" cy="78010"/>
          </a:xfrm>
          <a:custGeom>
            <a:avLst/>
            <a:gdLst>
              <a:gd name="connsiteX0" fmla="*/ 88367 w 92660"/>
              <a:gd name="connsiteY0" fmla="*/ 55604 h 55604"/>
              <a:gd name="connsiteX1" fmla="*/ 85819 w 92660"/>
              <a:gd name="connsiteY1" fmla="*/ 54917 h 55604"/>
              <a:gd name="connsiteX2" fmla="*/ 2594 w 92660"/>
              <a:gd name="connsiteY2" fmla="*/ 6517 h 55604"/>
              <a:gd name="connsiteX3" fmla="*/ 349 w 92660"/>
              <a:gd name="connsiteY3" fmla="*/ 2057 h 55604"/>
              <a:gd name="connsiteX4" fmla="*/ 5974 w 92660"/>
              <a:gd name="connsiteY4" fmla="*/ 276 h 55604"/>
              <a:gd name="connsiteX5" fmla="*/ 7582 w 92660"/>
              <a:gd name="connsiteY5" fmla="*/ 1230 h 55604"/>
              <a:gd name="connsiteX6" fmla="*/ 90915 w 92660"/>
              <a:gd name="connsiteY6" fmla="*/ 49415 h 55604"/>
              <a:gd name="connsiteX7" fmla="*/ 91837 w 92660"/>
              <a:gd name="connsiteY7" fmla="*/ 54186 h 55604"/>
              <a:gd name="connsiteX8" fmla="*/ 88367 w 92660"/>
              <a:gd name="connsiteY8" fmla="*/ 55604 h 5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60" h="55604">
                <a:moveTo>
                  <a:pt x="88367" y="55604"/>
                </a:moveTo>
                <a:cubicBezTo>
                  <a:pt x="87443" y="55615"/>
                  <a:pt x="86543" y="55372"/>
                  <a:pt x="85819" y="54917"/>
                </a:cubicBezTo>
                <a:lnTo>
                  <a:pt x="2594" y="6517"/>
                </a:lnTo>
                <a:cubicBezTo>
                  <a:pt x="420" y="5777"/>
                  <a:pt x="-585" y="3780"/>
                  <a:pt x="349" y="2057"/>
                </a:cubicBezTo>
                <a:cubicBezTo>
                  <a:pt x="1282" y="334"/>
                  <a:pt x="3801" y="-464"/>
                  <a:pt x="5974" y="276"/>
                </a:cubicBezTo>
                <a:cubicBezTo>
                  <a:pt x="6598" y="489"/>
                  <a:pt x="7149" y="815"/>
                  <a:pt x="7582" y="1230"/>
                </a:cubicBezTo>
                <a:lnTo>
                  <a:pt x="90915" y="49415"/>
                </a:lnTo>
                <a:cubicBezTo>
                  <a:pt x="92816" y="50538"/>
                  <a:pt x="93226" y="52663"/>
                  <a:pt x="91837" y="54186"/>
                </a:cubicBezTo>
                <a:cubicBezTo>
                  <a:pt x="91035" y="55073"/>
                  <a:pt x="89744" y="55601"/>
                  <a:pt x="88367" y="5560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4" name="Freeform: Shape 1473">
            <a:extLst>
              <a:ext uri="{FF2B5EF4-FFF2-40B4-BE49-F238E27FC236}">
                <a16:creationId xmlns:a16="http://schemas.microsoft.com/office/drawing/2014/main" id="{1AA9B5F6-B737-C733-75F7-F7DC7EC0DA97}"/>
              </a:ext>
            </a:extLst>
          </p:cNvPr>
          <p:cNvSpPr/>
          <p:nvPr/>
        </p:nvSpPr>
        <p:spPr>
          <a:xfrm>
            <a:off x="565622" y="5414712"/>
            <a:ext cx="137412" cy="157514"/>
          </a:xfrm>
          <a:custGeom>
            <a:avLst/>
            <a:gdLst>
              <a:gd name="connsiteX0" fmla="*/ 70809 w 141617"/>
              <a:gd name="connsiteY0" fmla="*/ 112274 h 112273"/>
              <a:gd name="connsiteX1" fmla="*/ 0 w 141617"/>
              <a:gd name="connsiteY1" fmla="*/ 56137 h 112273"/>
              <a:gd name="connsiteX2" fmla="*/ 70809 w 141617"/>
              <a:gd name="connsiteY2" fmla="*/ 0 h 112273"/>
              <a:gd name="connsiteX3" fmla="*/ 141618 w 141617"/>
              <a:gd name="connsiteY3" fmla="*/ 56137 h 112273"/>
              <a:gd name="connsiteX4" fmla="*/ 70809 w 141617"/>
              <a:gd name="connsiteY4" fmla="*/ 112274 h 112273"/>
              <a:gd name="connsiteX5" fmla="*/ 70809 w 141617"/>
              <a:gd name="connsiteY5" fmla="*/ 6877 h 112273"/>
              <a:gd name="connsiteX6" fmla="*/ 8675 w 141617"/>
              <a:gd name="connsiteY6" fmla="*/ 56137 h 112273"/>
              <a:gd name="connsiteX7" fmla="*/ 70809 w 141617"/>
              <a:gd name="connsiteY7" fmla="*/ 105396 h 112273"/>
              <a:gd name="connsiteX8" fmla="*/ 132943 w 141617"/>
              <a:gd name="connsiteY8" fmla="*/ 56137 h 112273"/>
              <a:gd name="connsiteX9" fmla="*/ 70809 w 141617"/>
              <a:gd name="connsiteY9" fmla="*/ 6877 h 1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17" h="112273">
                <a:moveTo>
                  <a:pt x="70809" y="112274"/>
                </a:moveTo>
                <a:cubicBezTo>
                  <a:pt x="31702" y="112274"/>
                  <a:pt x="0" y="87140"/>
                  <a:pt x="0" y="56137"/>
                </a:cubicBezTo>
                <a:cubicBezTo>
                  <a:pt x="0" y="25133"/>
                  <a:pt x="31702" y="0"/>
                  <a:pt x="70809" y="0"/>
                </a:cubicBezTo>
                <a:cubicBezTo>
                  <a:pt x="109915" y="0"/>
                  <a:pt x="141618" y="25133"/>
                  <a:pt x="141618" y="56137"/>
                </a:cubicBezTo>
                <a:cubicBezTo>
                  <a:pt x="141558" y="87121"/>
                  <a:pt x="109891" y="112226"/>
                  <a:pt x="70809" y="112274"/>
                </a:cubicBezTo>
                <a:close/>
                <a:moveTo>
                  <a:pt x="70809" y="6877"/>
                </a:moveTo>
                <a:cubicBezTo>
                  <a:pt x="36493" y="6877"/>
                  <a:pt x="8675" y="28932"/>
                  <a:pt x="8675" y="56137"/>
                </a:cubicBezTo>
                <a:cubicBezTo>
                  <a:pt x="8675" y="83342"/>
                  <a:pt x="36493" y="105396"/>
                  <a:pt x="70809" y="105396"/>
                </a:cubicBezTo>
                <a:cubicBezTo>
                  <a:pt x="105125" y="105396"/>
                  <a:pt x="132943" y="83342"/>
                  <a:pt x="132943" y="56137"/>
                </a:cubicBezTo>
                <a:cubicBezTo>
                  <a:pt x="132913" y="28941"/>
                  <a:pt x="105112" y="6901"/>
                  <a:pt x="70809" y="687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5" name="Freeform: Shape 1474">
            <a:extLst>
              <a:ext uri="{FF2B5EF4-FFF2-40B4-BE49-F238E27FC236}">
                <a16:creationId xmlns:a16="http://schemas.microsoft.com/office/drawing/2014/main" id="{FE061108-FCC8-38E7-6469-1938BB40F57D}"/>
              </a:ext>
            </a:extLst>
          </p:cNvPr>
          <p:cNvSpPr/>
          <p:nvPr/>
        </p:nvSpPr>
        <p:spPr>
          <a:xfrm>
            <a:off x="599081" y="5414712"/>
            <a:ext cx="70337" cy="157514"/>
          </a:xfrm>
          <a:custGeom>
            <a:avLst/>
            <a:gdLst>
              <a:gd name="connsiteX0" fmla="*/ 36326 w 72489"/>
              <a:gd name="connsiteY0" fmla="*/ 112274 h 112273"/>
              <a:gd name="connsiteX1" fmla="*/ 0 w 72489"/>
              <a:gd name="connsiteY1" fmla="*/ 56137 h 112273"/>
              <a:gd name="connsiteX2" fmla="*/ 36326 w 72489"/>
              <a:gd name="connsiteY2" fmla="*/ 0 h 112273"/>
              <a:gd name="connsiteX3" fmla="*/ 72490 w 72489"/>
              <a:gd name="connsiteY3" fmla="*/ 56137 h 112273"/>
              <a:gd name="connsiteX4" fmla="*/ 36326 w 72489"/>
              <a:gd name="connsiteY4" fmla="*/ 112274 h 112273"/>
              <a:gd name="connsiteX5" fmla="*/ 36326 w 72489"/>
              <a:gd name="connsiteY5" fmla="*/ 6877 h 112273"/>
              <a:gd name="connsiteX6" fmla="*/ 8783 w 72489"/>
              <a:gd name="connsiteY6" fmla="*/ 56137 h 112273"/>
              <a:gd name="connsiteX7" fmla="*/ 36326 w 72489"/>
              <a:gd name="connsiteY7" fmla="*/ 105396 h 112273"/>
              <a:gd name="connsiteX8" fmla="*/ 63869 w 72489"/>
              <a:gd name="connsiteY8" fmla="*/ 56137 h 112273"/>
              <a:gd name="connsiteX9" fmla="*/ 36326 w 72489"/>
              <a:gd name="connsiteY9" fmla="*/ 6877 h 1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89" h="112273">
                <a:moveTo>
                  <a:pt x="36326" y="112274"/>
                </a:moveTo>
                <a:cubicBezTo>
                  <a:pt x="16265" y="112274"/>
                  <a:pt x="0" y="87601"/>
                  <a:pt x="0" y="56137"/>
                </a:cubicBezTo>
                <a:cubicBezTo>
                  <a:pt x="0" y="24673"/>
                  <a:pt x="16265" y="0"/>
                  <a:pt x="36326" y="0"/>
                </a:cubicBezTo>
                <a:cubicBezTo>
                  <a:pt x="56387" y="0"/>
                  <a:pt x="72490" y="24673"/>
                  <a:pt x="72490" y="56137"/>
                </a:cubicBezTo>
                <a:cubicBezTo>
                  <a:pt x="72490" y="87601"/>
                  <a:pt x="56604" y="112274"/>
                  <a:pt x="36326" y="112274"/>
                </a:cubicBezTo>
                <a:close/>
                <a:moveTo>
                  <a:pt x="36326" y="6877"/>
                </a:moveTo>
                <a:cubicBezTo>
                  <a:pt x="23043" y="6877"/>
                  <a:pt x="8783" y="26650"/>
                  <a:pt x="8783" y="56137"/>
                </a:cubicBezTo>
                <a:cubicBezTo>
                  <a:pt x="8783" y="85624"/>
                  <a:pt x="23043" y="105396"/>
                  <a:pt x="36326" y="105396"/>
                </a:cubicBezTo>
                <a:cubicBezTo>
                  <a:pt x="49610" y="105396"/>
                  <a:pt x="63869" y="85624"/>
                  <a:pt x="63869" y="56137"/>
                </a:cubicBezTo>
                <a:cubicBezTo>
                  <a:pt x="63869" y="26650"/>
                  <a:pt x="49610" y="6877"/>
                  <a:pt x="36326" y="687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6" name="Freeform: Shape 1475">
            <a:extLst>
              <a:ext uri="{FF2B5EF4-FFF2-40B4-BE49-F238E27FC236}">
                <a16:creationId xmlns:a16="http://schemas.microsoft.com/office/drawing/2014/main" id="{832510FB-D25E-BDE3-E2E5-8034132D3079}"/>
              </a:ext>
            </a:extLst>
          </p:cNvPr>
          <p:cNvSpPr/>
          <p:nvPr/>
        </p:nvSpPr>
        <p:spPr>
          <a:xfrm>
            <a:off x="565622" y="5453247"/>
            <a:ext cx="137412" cy="80445"/>
          </a:xfrm>
          <a:custGeom>
            <a:avLst/>
            <a:gdLst>
              <a:gd name="connsiteX0" fmla="*/ 70809 w 141617"/>
              <a:gd name="connsiteY0" fmla="*/ 57340 h 57340"/>
              <a:gd name="connsiteX1" fmla="*/ 0 w 141617"/>
              <a:gd name="connsiteY1" fmla="*/ 28670 h 57340"/>
              <a:gd name="connsiteX2" fmla="*/ 70809 w 141617"/>
              <a:gd name="connsiteY2" fmla="*/ 0 h 57340"/>
              <a:gd name="connsiteX3" fmla="*/ 141618 w 141617"/>
              <a:gd name="connsiteY3" fmla="*/ 28670 h 57340"/>
              <a:gd name="connsiteX4" fmla="*/ 70809 w 141617"/>
              <a:gd name="connsiteY4" fmla="*/ 57340 h 57340"/>
              <a:gd name="connsiteX5" fmla="*/ 70809 w 141617"/>
              <a:gd name="connsiteY5" fmla="*/ 6834 h 57340"/>
              <a:gd name="connsiteX6" fmla="*/ 8675 w 141617"/>
              <a:gd name="connsiteY6" fmla="*/ 28670 h 57340"/>
              <a:gd name="connsiteX7" fmla="*/ 70809 w 141617"/>
              <a:gd name="connsiteY7" fmla="*/ 50506 h 57340"/>
              <a:gd name="connsiteX8" fmla="*/ 132943 w 141617"/>
              <a:gd name="connsiteY8" fmla="*/ 28670 h 57340"/>
              <a:gd name="connsiteX9" fmla="*/ 70809 w 141617"/>
              <a:gd name="connsiteY9" fmla="*/ 6834 h 5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17" h="57340">
                <a:moveTo>
                  <a:pt x="70809" y="57340"/>
                </a:moveTo>
                <a:cubicBezTo>
                  <a:pt x="31121" y="57340"/>
                  <a:pt x="0" y="44746"/>
                  <a:pt x="0" y="28670"/>
                </a:cubicBezTo>
                <a:cubicBezTo>
                  <a:pt x="0" y="12594"/>
                  <a:pt x="31121" y="0"/>
                  <a:pt x="70809" y="0"/>
                </a:cubicBezTo>
                <a:cubicBezTo>
                  <a:pt x="110497" y="0"/>
                  <a:pt x="141618" y="12594"/>
                  <a:pt x="141618" y="28670"/>
                </a:cubicBezTo>
                <a:cubicBezTo>
                  <a:pt x="141618" y="44746"/>
                  <a:pt x="110388" y="57340"/>
                  <a:pt x="70809" y="57340"/>
                </a:cubicBezTo>
                <a:close/>
                <a:moveTo>
                  <a:pt x="70809" y="6834"/>
                </a:moveTo>
                <a:cubicBezTo>
                  <a:pt x="33615" y="6834"/>
                  <a:pt x="8675" y="18139"/>
                  <a:pt x="8675" y="28670"/>
                </a:cubicBezTo>
                <a:cubicBezTo>
                  <a:pt x="8675" y="39201"/>
                  <a:pt x="33615" y="50506"/>
                  <a:pt x="70809" y="50506"/>
                </a:cubicBezTo>
                <a:cubicBezTo>
                  <a:pt x="108003" y="50506"/>
                  <a:pt x="132943" y="39201"/>
                  <a:pt x="132943" y="28670"/>
                </a:cubicBezTo>
                <a:cubicBezTo>
                  <a:pt x="132943" y="18139"/>
                  <a:pt x="108003" y="6834"/>
                  <a:pt x="70809" y="683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7" name="Freeform: Shape 1476">
            <a:extLst>
              <a:ext uri="{FF2B5EF4-FFF2-40B4-BE49-F238E27FC236}">
                <a16:creationId xmlns:a16="http://schemas.microsoft.com/office/drawing/2014/main" id="{B4EDD581-066C-2D05-4F15-7AF309ABEF48}"/>
              </a:ext>
            </a:extLst>
          </p:cNvPr>
          <p:cNvSpPr/>
          <p:nvPr/>
        </p:nvSpPr>
        <p:spPr>
          <a:xfrm>
            <a:off x="565622" y="5488826"/>
            <a:ext cx="137623" cy="9649"/>
          </a:xfrm>
          <a:custGeom>
            <a:avLst/>
            <a:gdLst>
              <a:gd name="connsiteX0" fmla="*/ 137497 w 141834"/>
              <a:gd name="connsiteY0" fmla="*/ 6877 h 6877"/>
              <a:gd name="connsiteX1" fmla="*/ 4337 w 141834"/>
              <a:gd name="connsiteY1" fmla="*/ 6877 h 6877"/>
              <a:gd name="connsiteX2" fmla="*/ 0 w 141834"/>
              <a:gd name="connsiteY2" fmla="*/ 3439 h 6877"/>
              <a:gd name="connsiteX3" fmla="*/ 4337 w 141834"/>
              <a:gd name="connsiteY3" fmla="*/ 0 h 6877"/>
              <a:gd name="connsiteX4" fmla="*/ 137497 w 141834"/>
              <a:gd name="connsiteY4" fmla="*/ 0 h 6877"/>
              <a:gd name="connsiteX5" fmla="*/ 141835 w 141834"/>
              <a:gd name="connsiteY5" fmla="*/ 3439 h 6877"/>
              <a:gd name="connsiteX6" fmla="*/ 137497 w 141834"/>
              <a:gd name="connsiteY6" fmla="*/ 6877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4" h="6877">
                <a:moveTo>
                  <a:pt x="137497" y="6877"/>
                </a:moveTo>
                <a:lnTo>
                  <a:pt x="4337" y="6877"/>
                </a:lnTo>
                <a:cubicBezTo>
                  <a:pt x="1942" y="6877"/>
                  <a:pt x="0" y="5338"/>
                  <a:pt x="0" y="3439"/>
                </a:cubicBezTo>
                <a:cubicBezTo>
                  <a:pt x="0" y="1540"/>
                  <a:pt x="1942" y="0"/>
                  <a:pt x="4337" y="0"/>
                </a:cubicBezTo>
                <a:lnTo>
                  <a:pt x="137497" y="0"/>
                </a:lnTo>
                <a:cubicBezTo>
                  <a:pt x="139893" y="0"/>
                  <a:pt x="141835" y="1540"/>
                  <a:pt x="141835" y="3439"/>
                </a:cubicBezTo>
                <a:cubicBezTo>
                  <a:pt x="141835" y="5338"/>
                  <a:pt x="139893" y="6877"/>
                  <a:pt x="137497" y="6877"/>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8" name="Freeform: Shape 1477">
            <a:extLst>
              <a:ext uri="{FF2B5EF4-FFF2-40B4-BE49-F238E27FC236}">
                <a16:creationId xmlns:a16="http://schemas.microsoft.com/office/drawing/2014/main" id="{76557D43-88D1-4ED7-8537-FCD61DA4565C}"/>
              </a:ext>
            </a:extLst>
          </p:cNvPr>
          <p:cNvSpPr/>
          <p:nvPr/>
        </p:nvSpPr>
        <p:spPr>
          <a:xfrm>
            <a:off x="630120" y="5414712"/>
            <a:ext cx="8416" cy="157514"/>
          </a:xfrm>
          <a:custGeom>
            <a:avLst/>
            <a:gdLst>
              <a:gd name="connsiteX0" fmla="*/ 4337 w 8674"/>
              <a:gd name="connsiteY0" fmla="*/ 112274 h 112273"/>
              <a:gd name="connsiteX1" fmla="*/ 0 w 8674"/>
              <a:gd name="connsiteY1" fmla="*/ 108835 h 112273"/>
              <a:gd name="connsiteX2" fmla="*/ 0 w 8674"/>
              <a:gd name="connsiteY2" fmla="*/ 3439 h 112273"/>
              <a:gd name="connsiteX3" fmla="*/ 4337 w 8674"/>
              <a:gd name="connsiteY3" fmla="*/ 0 h 112273"/>
              <a:gd name="connsiteX4" fmla="*/ 8675 w 8674"/>
              <a:gd name="connsiteY4" fmla="*/ 3439 h 112273"/>
              <a:gd name="connsiteX5" fmla="*/ 8675 w 8674"/>
              <a:gd name="connsiteY5" fmla="*/ 108835 h 112273"/>
              <a:gd name="connsiteX6" fmla="*/ 4337 w 8674"/>
              <a:gd name="connsiteY6" fmla="*/ 112274 h 1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74" h="112273">
                <a:moveTo>
                  <a:pt x="4337" y="112274"/>
                </a:moveTo>
                <a:cubicBezTo>
                  <a:pt x="1942" y="112274"/>
                  <a:pt x="0" y="110734"/>
                  <a:pt x="0" y="108835"/>
                </a:cubicBezTo>
                <a:lnTo>
                  <a:pt x="0" y="3439"/>
                </a:lnTo>
                <a:cubicBezTo>
                  <a:pt x="0" y="1540"/>
                  <a:pt x="1942" y="0"/>
                  <a:pt x="4337" y="0"/>
                </a:cubicBezTo>
                <a:cubicBezTo>
                  <a:pt x="6733" y="0"/>
                  <a:pt x="8675" y="1540"/>
                  <a:pt x="8675" y="3439"/>
                </a:cubicBezTo>
                <a:lnTo>
                  <a:pt x="8675" y="108835"/>
                </a:lnTo>
                <a:cubicBezTo>
                  <a:pt x="8675" y="110734"/>
                  <a:pt x="6733" y="112274"/>
                  <a:pt x="4337" y="11227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79" name="Freeform: Shape 1478">
            <a:extLst>
              <a:ext uri="{FF2B5EF4-FFF2-40B4-BE49-F238E27FC236}">
                <a16:creationId xmlns:a16="http://schemas.microsoft.com/office/drawing/2014/main" id="{C595344A-ED4B-66D2-15B4-76B3303905FC}"/>
              </a:ext>
            </a:extLst>
          </p:cNvPr>
          <p:cNvSpPr/>
          <p:nvPr/>
        </p:nvSpPr>
        <p:spPr>
          <a:xfrm>
            <a:off x="507910" y="5526517"/>
            <a:ext cx="15835" cy="9587"/>
          </a:xfrm>
          <a:custGeom>
            <a:avLst/>
            <a:gdLst>
              <a:gd name="connsiteX0" fmla="*/ 11983 w 16320"/>
              <a:gd name="connsiteY0" fmla="*/ 6835 h 6834"/>
              <a:gd name="connsiteX1" fmla="*/ 4284 w 16320"/>
              <a:gd name="connsiteY1" fmla="*/ 6835 h 6834"/>
              <a:gd name="connsiteX2" fmla="*/ 0 w 16320"/>
              <a:gd name="connsiteY2" fmla="*/ 3439 h 6834"/>
              <a:gd name="connsiteX3" fmla="*/ 1 w 16320"/>
              <a:gd name="connsiteY3" fmla="*/ 3396 h 6834"/>
              <a:gd name="connsiteX4" fmla="*/ 4284 w 16320"/>
              <a:gd name="connsiteY4" fmla="*/ 0 h 6834"/>
              <a:gd name="connsiteX5" fmla="*/ 11983 w 16320"/>
              <a:gd name="connsiteY5" fmla="*/ 0 h 6834"/>
              <a:gd name="connsiteX6" fmla="*/ 16320 w 16320"/>
              <a:gd name="connsiteY6" fmla="*/ 3353 h 6834"/>
              <a:gd name="connsiteX7" fmla="*/ 16320 w 16320"/>
              <a:gd name="connsiteY7" fmla="*/ 3396 h 6834"/>
              <a:gd name="connsiteX8" fmla="*/ 11983 w 16320"/>
              <a:gd name="connsiteY8" fmla="*/ 6835 h 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0" h="6834">
                <a:moveTo>
                  <a:pt x="11983" y="6835"/>
                </a:moveTo>
                <a:lnTo>
                  <a:pt x="4284" y="6835"/>
                </a:lnTo>
                <a:cubicBezTo>
                  <a:pt x="1918" y="6835"/>
                  <a:pt x="1" y="5315"/>
                  <a:pt x="0" y="3439"/>
                </a:cubicBezTo>
                <a:cubicBezTo>
                  <a:pt x="0" y="3425"/>
                  <a:pt x="1" y="3411"/>
                  <a:pt x="1" y="3396"/>
                </a:cubicBezTo>
                <a:cubicBezTo>
                  <a:pt x="1" y="1521"/>
                  <a:pt x="1918" y="0"/>
                  <a:pt x="4284" y="0"/>
                </a:cubicBezTo>
                <a:lnTo>
                  <a:pt x="11983" y="0"/>
                </a:lnTo>
                <a:cubicBezTo>
                  <a:pt x="14348" y="-23"/>
                  <a:pt x="16290" y="1478"/>
                  <a:pt x="16320" y="3353"/>
                </a:cubicBezTo>
                <a:cubicBezTo>
                  <a:pt x="16320" y="3367"/>
                  <a:pt x="16320" y="3381"/>
                  <a:pt x="16320" y="3396"/>
                </a:cubicBezTo>
                <a:cubicBezTo>
                  <a:pt x="16320" y="5295"/>
                  <a:pt x="14378" y="6835"/>
                  <a:pt x="11983" y="683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0" name="Freeform: Shape 1479">
            <a:extLst>
              <a:ext uri="{FF2B5EF4-FFF2-40B4-BE49-F238E27FC236}">
                <a16:creationId xmlns:a16="http://schemas.microsoft.com/office/drawing/2014/main" id="{2E8E3D13-0145-F44D-406E-81627C83D9A5}"/>
              </a:ext>
            </a:extLst>
          </p:cNvPr>
          <p:cNvSpPr/>
          <p:nvPr/>
        </p:nvSpPr>
        <p:spPr>
          <a:xfrm>
            <a:off x="524535" y="5507400"/>
            <a:ext cx="8365" cy="18152"/>
          </a:xfrm>
          <a:custGeom>
            <a:avLst/>
            <a:gdLst>
              <a:gd name="connsiteX0" fmla="*/ 4337 w 8621"/>
              <a:gd name="connsiteY0" fmla="*/ 12938 h 12938"/>
              <a:gd name="connsiteX1" fmla="*/ 1 w 8621"/>
              <a:gd name="connsiteY1" fmla="*/ 9586 h 12938"/>
              <a:gd name="connsiteX2" fmla="*/ 0 w 8621"/>
              <a:gd name="connsiteY2" fmla="*/ 9542 h 12938"/>
              <a:gd name="connsiteX3" fmla="*/ 0 w 8621"/>
              <a:gd name="connsiteY3" fmla="*/ 3439 h 12938"/>
              <a:gd name="connsiteX4" fmla="*/ 4337 w 8621"/>
              <a:gd name="connsiteY4" fmla="*/ 0 h 12938"/>
              <a:gd name="connsiteX5" fmla="*/ 8621 w 8621"/>
              <a:gd name="connsiteY5" fmla="*/ 3395 h 12938"/>
              <a:gd name="connsiteX6" fmla="*/ 8621 w 8621"/>
              <a:gd name="connsiteY6" fmla="*/ 3439 h 12938"/>
              <a:gd name="connsiteX7" fmla="*/ 8621 w 8621"/>
              <a:gd name="connsiteY7" fmla="*/ 9542 h 12938"/>
              <a:gd name="connsiteX8" fmla="*/ 4337 w 8621"/>
              <a:gd name="connsiteY8"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1" h="12938">
                <a:moveTo>
                  <a:pt x="4337" y="12938"/>
                </a:moveTo>
                <a:cubicBezTo>
                  <a:pt x="1972" y="12962"/>
                  <a:pt x="30" y="11461"/>
                  <a:pt x="1" y="9586"/>
                </a:cubicBezTo>
                <a:cubicBezTo>
                  <a:pt x="0" y="9571"/>
                  <a:pt x="0" y="9557"/>
                  <a:pt x="0" y="9542"/>
                </a:cubicBezTo>
                <a:lnTo>
                  <a:pt x="0" y="3439"/>
                </a:lnTo>
                <a:cubicBezTo>
                  <a:pt x="0" y="1540"/>
                  <a:pt x="1942" y="0"/>
                  <a:pt x="4337" y="0"/>
                </a:cubicBezTo>
                <a:cubicBezTo>
                  <a:pt x="6703" y="0"/>
                  <a:pt x="8621" y="1520"/>
                  <a:pt x="8621" y="3395"/>
                </a:cubicBezTo>
                <a:cubicBezTo>
                  <a:pt x="8621" y="3410"/>
                  <a:pt x="8621" y="3424"/>
                  <a:pt x="8621" y="3439"/>
                </a:cubicBezTo>
                <a:lnTo>
                  <a:pt x="8621" y="9542"/>
                </a:lnTo>
                <a:cubicBezTo>
                  <a:pt x="8621" y="11418"/>
                  <a:pt x="6703" y="12938"/>
                  <a:pt x="4337" y="12938"/>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1" name="Freeform: Shape 1480">
            <a:extLst>
              <a:ext uri="{FF2B5EF4-FFF2-40B4-BE49-F238E27FC236}">
                <a16:creationId xmlns:a16="http://schemas.microsoft.com/office/drawing/2014/main" id="{BAB5CC9D-66ED-D04D-D164-7D6BCCDC6DC4}"/>
              </a:ext>
            </a:extLst>
          </p:cNvPr>
          <p:cNvSpPr/>
          <p:nvPr/>
        </p:nvSpPr>
        <p:spPr>
          <a:xfrm>
            <a:off x="524535" y="5537009"/>
            <a:ext cx="8365" cy="18152"/>
          </a:xfrm>
          <a:custGeom>
            <a:avLst/>
            <a:gdLst>
              <a:gd name="connsiteX0" fmla="*/ 4337 w 8621"/>
              <a:gd name="connsiteY0" fmla="*/ 12938 h 12938"/>
              <a:gd name="connsiteX1" fmla="*/ 0 w 8621"/>
              <a:gd name="connsiteY1" fmla="*/ 9499 h 12938"/>
              <a:gd name="connsiteX2" fmla="*/ 0 w 8621"/>
              <a:gd name="connsiteY2" fmla="*/ 3439 h 12938"/>
              <a:gd name="connsiteX3" fmla="*/ 4337 w 8621"/>
              <a:gd name="connsiteY3" fmla="*/ 0 h 12938"/>
              <a:gd name="connsiteX4" fmla="*/ 8621 w 8621"/>
              <a:gd name="connsiteY4" fmla="*/ 3395 h 12938"/>
              <a:gd name="connsiteX5" fmla="*/ 8621 w 8621"/>
              <a:gd name="connsiteY5" fmla="*/ 3439 h 12938"/>
              <a:gd name="connsiteX6" fmla="*/ 8621 w 8621"/>
              <a:gd name="connsiteY6" fmla="*/ 9499 h 12938"/>
              <a:gd name="connsiteX7" fmla="*/ 4392 w 8621"/>
              <a:gd name="connsiteY7" fmla="*/ 12938 h 12938"/>
              <a:gd name="connsiteX8" fmla="*/ 4337 w 8621"/>
              <a:gd name="connsiteY8"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1" h="12938">
                <a:moveTo>
                  <a:pt x="4337" y="12938"/>
                </a:moveTo>
                <a:cubicBezTo>
                  <a:pt x="1942" y="12938"/>
                  <a:pt x="0" y="11398"/>
                  <a:pt x="0" y="9499"/>
                </a:cubicBezTo>
                <a:lnTo>
                  <a:pt x="0" y="3439"/>
                </a:lnTo>
                <a:cubicBezTo>
                  <a:pt x="0" y="1540"/>
                  <a:pt x="1942" y="0"/>
                  <a:pt x="4337" y="0"/>
                </a:cubicBezTo>
                <a:cubicBezTo>
                  <a:pt x="6703" y="0"/>
                  <a:pt x="8621" y="1520"/>
                  <a:pt x="8621" y="3395"/>
                </a:cubicBezTo>
                <a:cubicBezTo>
                  <a:pt x="8621" y="3410"/>
                  <a:pt x="8621" y="3424"/>
                  <a:pt x="8621" y="3439"/>
                </a:cubicBezTo>
                <a:lnTo>
                  <a:pt x="8621" y="9499"/>
                </a:lnTo>
                <a:cubicBezTo>
                  <a:pt x="8651" y="11375"/>
                  <a:pt x="6757" y="12914"/>
                  <a:pt x="4392" y="12938"/>
                </a:cubicBezTo>
                <a:cubicBezTo>
                  <a:pt x="4374" y="12938"/>
                  <a:pt x="4356" y="12938"/>
                  <a:pt x="4337" y="12938"/>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2" name="Freeform: Shape 1481">
            <a:extLst>
              <a:ext uri="{FF2B5EF4-FFF2-40B4-BE49-F238E27FC236}">
                <a16:creationId xmlns:a16="http://schemas.microsoft.com/office/drawing/2014/main" id="{54C5A294-01ED-95A5-2297-D90D0E099F76}"/>
              </a:ext>
            </a:extLst>
          </p:cNvPr>
          <p:cNvSpPr/>
          <p:nvPr/>
        </p:nvSpPr>
        <p:spPr>
          <a:xfrm>
            <a:off x="533741" y="5526517"/>
            <a:ext cx="15835" cy="9587"/>
          </a:xfrm>
          <a:custGeom>
            <a:avLst/>
            <a:gdLst>
              <a:gd name="connsiteX0" fmla="*/ 11983 w 16320"/>
              <a:gd name="connsiteY0" fmla="*/ 6835 h 6834"/>
              <a:gd name="connsiteX1" fmla="*/ 4284 w 16320"/>
              <a:gd name="connsiteY1" fmla="*/ 6835 h 6834"/>
              <a:gd name="connsiteX2" fmla="*/ 0 w 16320"/>
              <a:gd name="connsiteY2" fmla="*/ 3439 h 6834"/>
              <a:gd name="connsiteX3" fmla="*/ 1 w 16320"/>
              <a:gd name="connsiteY3" fmla="*/ 3396 h 6834"/>
              <a:gd name="connsiteX4" fmla="*/ 4284 w 16320"/>
              <a:gd name="connsiteY4" fmla="*/ 0 h 6834"/>
              <a:gd name="connsiteX5" fmla="*/ 11983 w 16320"/>
              <a:gd name="connsiteY5" fmla="*/ 0 h 6834"/>
              <a:gd name="connsiteX6" fmla="*/ 16320 w 16320"/>
              <a:gd name="connsiteY6" fmla="*/ 3353 h 6834"/>
              <a:gd name="connsiteX7" fmla="*/ 16320 w 16320"/>
              <a:gd name="connsiteY7" fmla="*/ 3396 h 6834"/>
              <a:gd name="connsiteX8" fmla="*/ 11983 w 16320"/>
              <a:gd name="connsiteY8" fmla="*/ 6835 h 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0" h="6834">
                <a:moveTo>
                  <a:pt x="11983" y="6835"/>
                </a:moveTo>
                <a:lnTo>
                  <a:pt x="4284" y="6835"/>
                </a:lnTo>
                <a:cubicBezTo>
                  <a:pt x="1918" y="6835"/>
                  <a:pt x="1" y="5315"/>
                  <a:pt x="0" y="3439"/>
                </a:cubicBezTo>
                <a:cubicBezTo>
                  <a:pt x="0" y="3425"/>
                  <a:pt x="1" y="3411"/>
                  <a:pt x="1" y="3396"/>
                </a:cubicBezTo>
                <a:cubicBezTo>
                  <a:pt x="1" y="1521"/>
                  <a:pt x="1918" y="0"/>
                  <a:pt x="4284" y="0"/>
                </a:cubicBezTo>
                <a:lnTo>
                  <a:pt x="11983" y="0"/>
                </a:lnTo>
                <a:cubicBezTo>
                  <a:pt x="14348" y="-23"/>
                  <a:pt x="16290" y="1478"/>
                  <a:pt x="16320" y="3353"/>
                </a:cubicBezTo>
                <a:cubicBezTo>
                  <a:pt x="16320" y="3367"/>
                  <a:pt x="16320" y="3381"/>
                  <a:pt x="16320" y="3396"/>
                </a:cubicBezTo>
                <a:cubicBezTo>
                  <a:pt x="16320" y="5295"/>
                  <a:pt x="14378" y="6835"/>
                  <a:pt x="11983" y="6835"/>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3" name="Freeform: Shape 1482">
            <a:extLst>
              <a:ext uri="{FF2B5EF4-FFF2-40B4-BE49-F238E27FC236}">
                <a16:creationId xmlns:a16="http://schemas.microsoft.com/office/drawing/2014/main" id="{C4636B24-099F-7BF7-E47D-C0283D55425E}"/>
              </a:ext>
            </a:extLst>
          </p:cNvPr>
          <p:cNvSpPr/>
          <p:nvPr/>
        </p:nvSpPr>
        <p:spPr>
          <a:xfrm>
            <a:off x="471768" y="5461449"/>
            <a:ext cx="15782" cy="9587"/>
          </a:xfrm>
          <a:custGeom>
            <a:avLst/>
            <a:gdLst>
              <a:gd name="connsiteX0" fmla="*/ 11928 w 16265"/>
              <a:gd name="connsiteY0" fmla="*/ 6834 h 6834"/>
              <a:gd name="connsiteX1" fmla="*/ 4283 w 16265"/>
              <a:gd name="connsiteY1" fmla="*/ 6834 h 6834"/>
              <a:gd name="connsiteX2" fmla="*/ 0 w 16265"/>
              <a:gd name="connsiteY2" fmla="*/ 3439 h 6834"/>
              <a:gd name="connsiteX3" fmla="*/ 4283 w 16265"/>
              <a:gd name="connsiteY3" fmla="*/ 0 h 6834"/>
              <a:gd name="connsiteX4" fmla="*/ 11928 w 16265"/>
              <a:gd name="connsiteY4" fmla="*/ 0 h 6834"/>
              <a:gd name="connsiteX5" fmla="*/ 16265 w 16265"/>
              <a:gd name="connsiteY5" fmla="*/ 3439 h 6834"/>
              <a:gd name="connsiteX6" fmla="*/ 11983 w 16265"/>
              <a:gd name="connsiteY6" fmla="*/ 6835 h 6834"/>
              <a:gd name="connsiteX7" fmla="*/ 11928 w 16265"/>
              <a:gd name="connsiteY7" fmla="*/ 6834 h 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5" h="6834">
                <a:moveTo>
                  <a:pt x="11928" y="6834"/>
                </a:moveTo>
                <a:lnTo>
                  <a:pt x="4283" y="6834"/>
                </a:lnTo>
                <a:cubicBezTo>
                  <a:pt x="1918" y="6834"/>
                  <a:pt x="0" y="5314"/>
                  <a:pt x="0" y="3439"/>
                </a:cubicBezTo>
                <a:cubicBezTo>
                  <a:pt x="0" y="1556"/>
                  <a:pt x="1909" y="24"/>
                  <a:pt x="4283" y="0"/>
                </a:cubicBezTo>
                <a:lnTo>
                  <a:pt x="11928" y="0"/>
                </a:lnTo>
                <a:cubicBezTo>
                  <a:pt x="14323" y="0"/>
                  <a:pt x="16265" y="1540"/>
                  <a:pt x="16265" y="3439"/>
                </a:cubicBezTo>
                <a:cubicBezTo>
                  <a:pt x="16265" y="5314"/>
                  <a:pt x="14348" y="6834"/>
                  <a:pt x="11983" y="6835"/>
                </a:cubicBezTo>
                <a:cubicBezTo>
                  <a:pt x="11964" y="6835"/>
                  <a:pt x="11946" y="6834"/>
                  <a:pt x="11928" y="683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4" name="Freeform: Shape 1483">
            <a:extLst>
              <a:ext uri="{FF2B5EF4-FFF2-40B4-BE49-F238E27FC236}">
                <a16:creationId xmlns:a16="http://schemas.microsoft.com/office/drawing/2014/main" id="{03EB3D7A-C14C-9852-727B-24CB8B04B377}"/>
              </a:ext>
            </a:extLst>
          </p:cNvPr>
          <p:cNvSpPr/>
          <p:nvPr/>
        </p:nvSpPr>
        <p:spPr>
          <a:xfrm>
            <a:off x="488392" y="5442393"/>
            <a:ext cx="8365" cy="18152"/>
          </a:xfrm>
          <a:custGeom>
            <a:avLst/>
            <a:gdLst>
              <a:gd name="connsiteX0" fmla="*/ 4337 w 8621"/>
              <a:gd name="connsiteY0" fmla="*/ 12938 h 12938"/>
              <a:gd name="connsiteX1" fmla="*/ 0 w 8621"/>
              <a:gd name="connsiteY1" fmla="*/ 9499 h 12938"/>
              <a:gd name="connsiteX2" fmla="*/ 0 w 8621"/>
              <a:gd name="connsiteY2" fmla="*/ 3396 h 12938"/>
              <a:gd name="connsiteX3" fmla="*/ 4337 w 8621"/>
              <a:gd name="connsiteY3" fmla="*/ 0 h 12938"/>
              <a:gd name="connsiteX4" fmla="*/ 8621 w 8621"/>
              <a:gd name="connsiteY4" fmla="*/ 3396 h 12938"/>
              <a:gd name="connsiteX5" fmla="*/ 8621 w 8621"/>
              <a:gd name="connsiteY5" fmla="*/ 9499 h 12938"/>
              <a:gd name="connsiteX6" fmla="*/ 4392 w 8621"/>
              <a:gd name="connsiteY6" fmla="*/ 12938 h 12938"/>
              <a:gd name="connsiteX7" fmla="*/ 4337 w 8621"/>
              <a:gd name="connsiteY7"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 h="12938">
                <a:moveTo>
                  <a:pt x="4337" y="12938"/>
                </a:moveTo>
                <a:cubicBezTo>
                  <a:pt x="1942" y="12938"/>
                  <a:pt x="0" y="11398"/>
                  <a:pt x="0" y="9499"/>
                </a:cubicBezTo>
                <a:lnTo>
                  <a:pt x="0" y="3396"/>
                </a:lnTo>
                <a:cubicBezTo>
                  <a:pt x="30" y="1513"/>
                  <a:pt x="1963" y="0"/>
                  <a:pt x="4337" y="0"/>
                </a:cubicBezTo>
                <a:cubicBezTo>
                  <a:pt x="6703" y="0"/>
                  <a:pt x="8621" y="1520"/>
                  <a:pt x="8621" y="3396"/>
                </a:cubicBezTo>
                <a:lnTo>
                  <a:pt x="8621" y="9499"/>
                </a:lnTo>
                <a:cubicBezTo>
                  <a:pt x="8651" y="11375"/>
                  <a:pt x="6757" y="12914"/>
                  <a:pt x="4392" y="12938"/>
                </a:cubicBezTo>
                <a:cubicBezTo>
                  <a:pt x="4374" y="12938"/>
                  <a:pt x="4356" y="12938"/>
                  <a:pt x="4337" y="12938"/>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5" name="Freeform: Shape 1484">
            <a:extLst>
              <a:ext uri="{FF2B5EF4-FFF2-40B4-BE49-F238E27FC236}">
                <a16:creationId xmlns:a16="http://schemas.microsoft.com/office/drawing/2014/main" id="{BE6A0C07-243B-A896-1760-34CE79EF2712}"/>
              </a:ext>
            </a:extLst>
          </p:cNvPr>
          <p:cNvSpPr/>
          <p:nvPr/>
        </p:nvSpPr>
        <p:spPr>
          <a:xfrm>
            <a:off x="488392" y="5472000"/>
            <a:ext cx="8365" cy="18152"/>
          </a:xfrm>
          <a:custGeom>
            <a:avLst/>
            <a:gdLst>
              <a:gd name="connsiteX0" fmla="*/ 4337 w 8621"/>
              <a:gd name="connsiteY0" fmla="*/ 12939 h 12938"/>
              <a:gd name="connsiteX1" fmla="*/ 0 w 8621"/>
              <a:gd name="connsiteY1" fmla="*/ 9500 h 12938"/>
              <a:gd name="connsiteX2" fmla="*/ 0 w 8621"/>
              <a:gd name="connsiteY2" fmla="*/ 3396 h 12938"/>
              <a:gd name="connsiteX3" fmla="*/ 4283 w 8621"/>
              <a:gd name="connsiteY3" fmla="*/ 0 h 12938"/>
              <a:gd name="connsiteX4" fmla="*/ 4337 w 8621"/>
              <a:gd name="connsiteY4" fmla="*/ 0 h 12938"/>
              <a:gd name="connsiteX5" fmla="*/ 8621 w 8621"/>
              <a:gd name="connsiteY5" fmla="*/ 3396 h 12938"/>
              <a:gd name="connsiteX6" fmla="*/ 8621 w 8621"/>
              <a:gd name="connsiteY6" fmla="*/ 9500 h 12938"/>
              <a:gd name="connsiteX7" fmla="*/ 4392 w 8621"/>
              <a:gd name="connsiteY7" fmla="*/ 12938 h 12938"/>
              <a:gd name="connsiteX8" fmla="*/ 4337 w 8621"/>
              <a:gd name="connsiteY8" fmla="*/ 12939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1" h="12938">
                <a:moveTo>
                  <a:pt x="4337" y="12939"/>
                </a:moveTo>
                <a:cubicBezTo>
                  <a:pt x="1942" y="12939"/>
                  <a:pt x="0" y="11399"/>
                  <a:pt x="0" y="9500"/>
                </a:cubicBezTo>
                <a:lnTo>
                  <a:pt x="0" y="3396"/>
                </a:lnTo>
                <a:cubicBezTo>
                  <a:pt x="0" y="1521"/>
                  <a:pt x="1917" y="0"/>
                  <a:pt x="4283" y="0"/>
                </a:cubicBezTo>
                <a:cubicBezTo>
                  <a:pt x="4301" y="0"/>
                  <a:pt x="4319" y="0"/>
                  <a:pt x="4337" y="0"/>
                </a:cubicBezTo>
                <a:cubicBezTo>
                  <a:pt x="6703" y="0"/>
                  <a:pt x="8621" y="1521"/>
                  <a:pt x="8621" y="3396"/>
                </a:cubicBezTo>
                <a:lnTo>
                  <a:pt x="8621" y="9500"/>
                </a:lnTo>
                <a:cubicBezTo>
                  <a:pt x="8651" y="11375"/>
                  <a:pt x="6757" y="12914"/>
                  <a:pt x="4392" y="12938"/>
                </a:cubicBezTo>
                <a:cubicBezTo>
                  <a:pt x="4374" y="12939"/>
                  <a:pt x="4356" y="12939"/>
                  <a:pt x="4337" y="12939"/>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6" name="Freeform: Shape 1485">
            <a:extLst>
              <a:ext uri="{FF2B5EF4-FFF2-40B4-BE49-F238E27FC236}">
                <a16:creationId xmlns:a16="http://schemas.microsoft.com/office/drawing/2014/main" id="{30864422-6093-E0BF-8CD7-B849EA9E0D53}"/>
              </a:ext>
            </a:extLst>
          </p:cNvPr>
          <p:cNvSpPr/>
          <p:nvPr/>
        </p:nvSpPr>
        <p:spPr>
          <a:xfrm>
            <a:off x="497599" y="5461449"/>
            <a:ext cx="15835" cy="9587"/>
          </a:xfrm>
          <a:custGeom>
            <a:avLst/>
            <a:gdLst>
              <a:gd name="connsiteX0" fmla="*/ 11983 w 16320"/>
              <a:gd name="connsiteY0" fmla="*/ 6834 h 6834"/>
              <a:gd name="connsiteX1" fmla="*/ 4284 w 16320"/>
              <a:gd name="connsiteY1" fmla="*/ 6834 h 6834"/>
              <a:gd name="connsiteX2" fmla="*/ 0 w 16320"/>
              <a:gd name="connsiteY2" fmla="*/ 3439 h 6834"/>
              <a:gd name="connsiteX3" fmla="*/ 4229 w 16320"/>
              <a:gd name="connsiteY3" fmla="*/ 0 h 6834"/>
              <a:gd name="connsiteX4" fmla="*/ 4284 w 16320"/>
              <a:gd name="connsiteY4" fmla="*/ 0 h 6834"/>
              <a:gd name="connsiteX5" fmla="*/ 11983 w 16320"/>
              <a:gd name="connsiteY5" fmla="*/ 0 h 6834"/>
              <a:gd name="connsiteX6" fmla="*/ 16320 w 16320"/>
              <a:gd name="connsiteY6" fmla="*/ 3439 h 6834"/>
              <a:gd name="connsiteX7" fmla="*/ 12037 w 16320"/>
              <a:gd name="connsiteY7" fmla="*/ 6835 h 6834"/>
              <a:gd name="connsiteX8" fmla="*/ 11983 w 16320"/>
              <a:gd name="connsiteY8" fmla="*/ 6834 h 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0" h="6834">
                <a:moveTo>
                  <a:pt x="11983" y="6834"/>
                </a:moveTo>
                <a:lnTo>
                  <a:pt x="4284" y="6834"/>
                </a:lnTo>
                <a:cubicBezTo>
                  <a:pt x="1918" y="6834"/>
                  <a:pt x="0" y="5314"/>
                  <a:pt x="0" y="3439"/>
                </a:cubicBezTo>
                <a:cubicBezTo>
                  <a:pt x="-29" y="1563"/>
                  <a:pt x="1864" y="24"/>
                  <a:pt x="4229" y="0"/>
                </a:cubicBezTo>
                <a:cubicBezTo>
                  <a:pt x="4247" y="0"/>
                  <a:pt x="4265" y="0"/>
                  <a:pt x="4284" y="0"/>
                </a:cubicBezTo>
                <a:lnTo>
                  <a:pt x="11983" y="0"/>
                </a:lnTo>
                <a:cubicBezTo>
                  <a:pt x="14378" y="0"/>
                  <a:pt x="16320" y="1540"/>
                  <a:pt x="16320" y="3439"/>
                </a:cubicBezTo>
                <a:cubicBezTo>
                  <a:pt x="16320" y="5314"/>
                  <a:pt x="14403" y="6834"/>
                  <a:pt x="12037" y="6835"/>
                </a:cubicBezTo>
                <a:cubicBezTo>
                  <a:pt x="12019" y="6835"/>
                  <a:pt x="12001" y="6834"/>
                  <a:pt x="11983" y="6834"/>
                </a:cubicBezTo>
                <a:close/>
              </a:path>
            </a:pathLst>
          </a:custGeom>
          <a:solidFill>
            <a:srgbClr val="FF0000"/>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7" name="Freeform: Shape 1486">
            <a:extLst>
              <a:ext uri="{FF2B5EF4-FFF2-40B4-BE49-F238E27FC236}">
                <a16:creationId xmlns:a16="http://schemas.microsoft.com/office/drawing/2014/main" id="{EAE0BADA-B9B7-B394-8A66-496D1071792B}"/>
              </a:ext>
            </a:extLst>
          </p:cNvPr>
          <p:cNvSpPr/>
          <p:nvPr/>
        </p:nvSpPr>
        <p:spPr>
          <a:xfrm>
            <a:off x="665430" y="4425546"/>
            <a:ext cx="28363" cy="31308"/>
          </a:xfrm>
          <a:custGeom>
            <a:avLst/>
            <a:gdLst>
              <a:gd name="connsiteX0" fmla="*/ 20099 w 40107"/>
              <a:gd name="connsiteY0" fmla="*/ 40399 h 40399"/>
              <a:gd name="connsiteX1" fmla="*/ 6402 w 40107"/>
              <a:gd name="connsiteY1" fmla="*/ 34963 h 40399"/>
              <a:gd name="connsiteX2" fmla="*/ 5451 w 40107"/>
              <a:gd name="connsiteY2" fmla="*/ 6404 h 40399"/>
              <a:gd name="connsiteX3" fmla="*/ 19472 w 40107"/>
              <a:gd name="connsiteY3" fmla="*/ 16 h 40399"/>
              <a:gd name="connsiteX4" fmla="*/ 33874 w 40107"/>
              <a:gd name="connsiteY4" fmla="*/ 5426 h 40399"/>
              <a:gd name="connsiteX5" fmla="*/ 40095 w 40107"/>
              <a:gd name="connsiteY5" fmla="*/ 19489 h 40399"/>
              <a:gd name="connsiteX6" fmla="*/ 40095 w 40107"/>
              <a:gd name="connsiteY6" fmla="*/ 19489 h 40399"/>
              <a:gd name="connsiteX7" fmla="*/ 20700 w 40107"/>
              <a:gd name="connsiteY7" fmla="*/ 40399 h 40399"/>
              <a:gd name="connsiteX8" fmla="*/ 20099 w 40107"/>
              <a:gd name="connsiteY8" fmla="*/ 8485 h 40399"/>
              <a:gd name="connsiteX9" fmla="*/ 19681 w 40107"/>
              <a:gd name="connsiteY9" fmla="*/ 8485 h 40399"/>
              <a:gd name="connsiteX10" fmla="*/ 8486 w 40107"/>
              <a:gd name="connsiteY10" fmla="*/ 20737 h 40399"/>
              <a:gd name="connsiteX11" fmla="*/ 12179 w 40107"/>
              <a:gd name="connsiteY11" fmla="*/ 28768 h 40399"/>
              <a:gd name="connsiteX12" fmla="*/ 20491 w 40107"/>
              <a:gd name="connsiteY12" fmla="*/ 31904 h 40399"/>
              <a:gd name="connsiteX13" fmla="*/ 31704 w 40107"/>
              <a:gd name="connsiteY13" fmla="*/ 19776 h 40399"/>
              <a:gd name="connsiteX14" fmla="*/ 31704 w 40107"/>
              <a:gd name="connsiteY14" fmla="*/ 19776 h 40399"/>
              <a:gd name="connsiteX15" fmla="*/ 27993 w 40107"/>
              <a:gd name="connsiteY15" fmla="*/ 11621 h 40399"/>
              <a:gd name="connsiteX16" fmla="*/ 20125 w 40107"/>
              <a:gd name="connsiteY16" fmla="*/ 8485 h 4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107" h="40399">
                <a:moveTo>
                  <a:pt x="20099" y="40399"/>
                </a:moveTo>
                <a:cubicBezTo>
                  <a:pt x="15005" y="40416"/>
                  <a:pt x="10098" y="38469"/>
                  <a:pt x="6402" y="34963"/>
                </a:cubicBezTo>
                <a:cubicBezTo>
                  <a:pt x="-1748" y="27339"/>
                  <a:pt x="-2174" y="14554"/>
                  <a:pt x="5451" y="6404"/>
                </a:cubicBezTo>
                <a:cubicBezTo>
                  <a:pt x="9097" y="2506"/>
                  <a:pt x="14137" y="210"/>
                  <a:pt x="19472" y="16"/>
                </a:cubicBezTo>
                <a:cubicBezTo>
                  <a:pt x="24806" y="-197"/>
                  <a:pt x="30000" y="1754"/>
                  <a:pt x="33874" y="5426"/>
                </a:cubicBezTo>
                <a:cubicBezTo>
                  <a:pt x="37727" y="9106"/>
                  <a:pt x="39964" y="14163"/>
                  <a:pt x="40095" y="19489"/>
                </a:cubicBezTo>
                <a:lnTo>
                  <a:pt x="40095" y="19489"/>
                </a:lnTo>
                <a:cubicBezTo>
                  <a:pt x="40492" y="30611"/>
                  <a:pt x="31819" y="39960"/>
                  <a:pt x="20700" y="40399"/>
                </a:cubicBezTo>
                <a:close/>
                <a:moveTo>
                  <a:pt x="20099" y="8485"/>
                </a:moveTo>
                <a:lnTo>
                  <a:pt x="19681" y="8485"/>
                </a:lnTo>
                <a:cubicBezTo>
                  <a:pt x="13206" y="8776"/>
                  <a:pt x="8193" y="14262"/>
                  <a:pt x="8486" y="20737"/>
                </a:cubicBezTo>
                <a:cubicBezTo>
                  <a:pt x="8622" y="23793"/>
                  <a:pt x="9947" y="26675"/>
                  <a:pt x="12179" y="28768"/>
                </a:cubicBezTo>
                <a:cubicBezTo>
                  <a:pt x="14406" y="30905"/>
                  <a:pt x="17409" y="32039"/>
                  <a:pt x="20491" y="31904"/>
                </a:cubicBezTo>
                <a:cubicBezTo>
                  <a:pt x="26929" y="31635"/>
                  <a:pt x="31939" y="26216"/>
                  <a:pt x="31704" y="19776"/>
                </a:cubicBezTo>
                <a:lnTo>
                  <a:pt x="31704" y="19776"/>
                </a:lnTo>
                <a:cubicBezTo>
                  <a:pt x="31587" y="16676"/>
                  <a:pt x="30254" y="13747"/>
                  <a:pt x="27993" y="11621"/>
                </a:cubicBezTo>
                <a:cubicBezTo>
                  <a:pt x="25865" y="9611"/>
                  <a:pt x="23052" y="8489"/>
                  <a:pt x="20125" y="8485"/>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8" name="Freeform: Shape 1487">
            <a:extLst>
              <a:ext uri="{FF2B5EF4-FFF2-40B4-BE49-F238E27FC236}">
                <a16:creationId xmlns:a16="http://schemas.microsoft.com/office/drawing/2014/main" id="{EC0952A5-9FE2-1A71-DBC2-D3C688B7A7D8}"/>
              </a:ext>
            </a:extLst>
          </p:cNvPr>
          <p:cNvSpPr/>
          <p:nvPr/>
        </p:nvSpPr>
        <p:spPr>
          <a:xfrm>
            <a:off x="490365" y="4425546"/>
            <a:ext cx="28474" cy="31309"/>
          </a:xfrm>
          <a:custGeom>
            <a:avLst/>
            <a:gdLst>
              <a:gd name="connsiteX0" fmla="*/ 20099 w 40264"/>
              <a:gd name="connsiteY0" fmla="*/ 40401 h 40400"/>
              <a:gd name="connsiteX1" fmla="*/ 6402 w 40264"/>
              <a:gd name="connsiteY1" fmla="*/ 34964 h 40400"/>
              <a:gd name="connsiteX2" fmla="*/ 5450 w 40264"/>
              <a:gd name="connsiteY2" fmla="*/ 6406 h 40400"/>
              <a:gd name="connsiteX3" fmla="*/ 19471 w 40264"/>
              <a:gd name="connsiteY3" fmla="*/ 17 h 40400"/>
              <a:gd name="connsiteX4" fmla="*/ 33873 w 40264"/>
              <a:gd name="connsiteY4" fmla="*/ 5428 h 40400"/>
              <a:gd name="connsiteX5" fmla="*/ 40251 w 40264"/>
              <a:gd name="connsiteY5" fmla="*/ 19490 h 40400"/>
              <a:gd name="connsiteX6" fmla="*/ 40251 w 40264"/>
              <a:gd name="connsiteY6" fmla="*/ 19490 h 40400"/>
              <a:gd name="connsiteX7" fmla="*/ 20857 w 40264"/>
              <a:gd name="connsiteY7" fmla="*/ 40401 h 40400"/>
              <a:gd name="connsiteX8" fmla="*/ 20099 w 40264"/>
              <a:gd name="connsiteY8" fmla="*/ 8486 h 40400"/>
              <a:gd name="connsiteX9" fmla="*/ 19680 w 40264"/>
              <a:gd name="connsiteY9" fmla="*/ 8486 h 40400"/>
              <a:gd name="connsiteX10" fmla="*/ 8484 w 40264"/>
              <a:gd name="connsiteY10" fmla="*/ 20738 h 40400"/>
              <a:gd name="connsiteX11" fmla="*/ 12179 w 40264"/>
              <a:gd name="connsiteY11" fmla="*/ 28769 h 40400"/>
              <a:gd name="connsiteX12" fmla="*/ 20491 w 40264"/>
              <a:gd name="connsiteY12" fmla="*/ 31906 h 40400"/>
              <a:gd name="connsiteX13" fmla="*/ 31687 w 40264"/>
              <a:gd name="connsiteY13" fmla="*/ 19653 h 40400"/>
              <a:gd name="connsiteX14" fmla="*/ 27992 w 40264"/>
              <a:gd name="connsiteY14" fmla="*/ 11622 h 40400"/>
              <a:gd name="connsiteX15" fmla="*/ 20125 w 40264"/>
              <a:gd name="connsiteY15" fmla="*/ 8486 h 4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264" h="40400">
                <a:moveTo>
                  <a:pt x="20099" y="40401"/>
                </a:moveTo>
                <a:cubicBezTo>
                  <a:pt x="15004" y="40417"/>
                  <a:pt x="10099" y="38470"/>
                  <a:pt x="6402" y="34964"/>
                </a:cubicBezTo>
                <a:cubicBezTo>
                  <a:pt x="-1747" y="27341"/>
                  <a:pt x="-2173" y="14555"/>
                  <a:pt x="5450" y="6406"/>
                </a:cubicBezTo>
                <a:cubicBezTo>
                  <a:pt x="9096" y="2508"/>
                  <a:pt x="14137" y="211"/>
                  <a:pt x="19471" y="17"/>
                </a:cubicBezTo>
                <a:cubicBezTo>
                  <a:pt x="24807" y="-205"/>
                  <a:pt x="30004" y="1747"/>
                  <a:pt x="33873" y="5428"/>
                </a:cubicBezTo>
                <a:cubicBezTo>
                  <a:pt x="37794" y="9074"/>
                  <a:pt x="40091" y="14139"/>
                  <a:pt x="40251" y="19490"/>
                </a:cubicBezTo>
                <a:lnTo>
                  <a:pt x="40251" y="19490"/>
                </a:lnTo>
                <a:cubicBezTo>
                  <a:pt x="40648" y="30612"/>
                  <a:pt x="31977" y="39962"/>
                  <a:pt x="20857" y="40401"/>
                </a:cubicBezTo>
                <a:close/>
                <a:moveTo>
                  <a:pt x="20099" y="8486"/>
                </a:moveTo>
                <a:lnTo>
                  <a:pt x="19680" y="8486"/>
                </a:lnTo>
                <a:cubicBezTo>
                  <a:pt x="13205" y="8778"/>
                  <a:pt x="8193" y="14263"/>
                  <a:pt x="8484" y="20738"/>
                </a:cubicBezTo>
                <a:cubicBezTo>
                  <a:pt x="8622" y="23794"/>
                  <a:pt x="9947" y="26676"/>
                  <a:pt x="12179" y="28769"/>
                </a:cubicBezTo>
                <a:cubicBezTo>
                  <a:pt x="14404" y="30906"/>
                  <a:pt x="17408" y="32040"/>
                  <a:pt x="20491" y="31906"/>
                </a:cubicBezTo>
                <a:cubicBezTo>
                  <a:pt x="26966" y="31614"/>
                  <a:pt x="31978" y="26129"/>
                  <a:pt x="31687" y="19653"/>
                </a:cubicBezTo>
                <a:cubicBezTo>
                  <a:pt x="31549" y="16597"/>
                  <a:pt x="30223" y="13716"/>
                  <a:pt x="27992" y="11622"/>
                </a:cubicBezTo>
                <a:cubicBezTo>
                  <a:pt x="25869" y="9607"/>
                  <a:pt x="23052" y="8485"/>
                  <a:pt x="20125" y="8486"/>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89" name="Freeform: Shape 1488">
            <a:extLst>
              <a:ext uri="{FF2B5EF4-FFF2-40B4-BE49-F238E27FC236}">
                <a16:creationId xmlns:a16="http://schemas.microsoft.com/office/drawing/2014/main" id="{D1F86194-B4E8-8E4C-D7CB-F7AD290E6C7D}"/>
              </a:ext>
            </a:extLst>
          </p:cNvPr>
          <p:cNvSpPr/>
          <p:nvPr/>
        </p:nvSpPr>
        <p:spPr>
          <a:xfrm>
            <a:off x="549427" y="4448078"/>
            <a:ext cx="101373" cy="147837"/>
          </a:xfrm>
          <a:custGeom>
            <a:avLst/>
            <a:gdLst>
              <a:gd name="connsiteX0" fmla="*/ 82040 w 143349"/>
              <a:gd name="connsiteY0" fmla="*/ 190765 h 190765"/>
              <a:gd name="connsiteX1" fmla="*/ 46518 w 143349"/>
              <a:gd name="connsiteY1" fmla="*/ 176389 h 190765"/>
              <a:gd name="connsiteX2" fmla="*/ 18053 w 143349"/>
              <a:gd name="connsiteY2" fmla="*/ 123851 h 190765"/>
              <a:gd name="connsiteX3" fmla="*/ 2370 w 143349"/>
              <a:gd name="connsiteY3" fmla="*/ 93374 h 190765"/>
              <a:gd name="connsiteX4" fmla="*/ 1978 w 143349"/>
              <a:gd name="connsiteY4" fmla="*/ 81377 h 190765"/>
              <a:gd name="connsiteX5" fmla="*/ 20458 w 143349"/>
              <a:gd name="connsiteY5" fmla="*/ 76541 h 190765"/>
              <a:gd name="connsiteX6" fmla="*/ 44270 w 143349"/>
              <a:gd name="connsiteY6" fmla="*/ 93034 h 190765"/>
              <a:gd name="connsiteX7" fmla="*/ 44270 w 143349"/>
              <a:gd name="connsiteY7" fmla="*/ 15168 h 190765"/>
              <a:gd name="connsiteX8" fmla="*/ 51667 w 143349"/>
              <a:gd name="connsiteY8" fmla="*/ 2282 h 190765"/>
              <a:gd name="connsiteX9" fmla="*/ 69284 w 143349"/>
              <a:gd name="connsiteY9" fmla="*/ 2282 h 190765"/>
              <a:gd name="connsiteX10" fmla="*/ 76525 w 143349"/>
              <a:gd name="connsiteY10" fmla="*/ 15351 h 190765"/>
              <a:gd name="connsiteX11" fmla="*/ 76054 w 143349"/>
              <a:gd name="connsiteY11" fmla="*/ 60675 h 190765"/>
              <a:gd name="connsiteX12" fmla="*/ 84052 w 143349"/>
              <a:gd name="connsiteY12" fmla="*/ 59813 h 190765"/>
              <a:gd name="connsiteX13" fmla="*/ 97801 w 143349"/>
              <a:gd name="connsiteY13" fmla="*/ 69092 h 190765"/>
              <a:gd name="connsiteX14" fmla="*/ 103682 w 143349"/>
              <a:gd name="connsiteY14" fmla="*/ 67550 h 190765"/>
              <a:gd name="connsiteX15" fmla="*/ 119757 w 143349"/>
              <a:gd name="connsiteY15" fmla="*/ 77168 h 190765"/>
              <a:gd name="connsiteX16" fmla="*/ 125717 w 143349"/>
              <a:gd name="connsiteY16" fmla="*/ 75313 h 190765"/>
              <a:gd name="connsiteX17" fmla="*/ 141949 w 143349"/>
              <a:gd name="connsiteY17" fmla="*/ 84539 h 190765"/>
              <a:gd name="connsiteX18" fmla="*/ 142341 w 143349"/>
              <a:gd name="connsiteY18" fmla="*/ 86029 h 190765"/>
              <a:gd name="connsiteX19" fmla="*/ 140746 w 143349"/>
              <a:gd name="connsiteY19" fmla="*/ 143533 h 190765"/>
              <a:gd name="connsiteX20" fmla="*/ 84941 w 143349"/>
              <a:gd name="connsiteY20" fmla="*/ 190582 h 190765"/>
              <a:gd name="connsiteX21" fmla="*/ 14289 w 143349"/>
              <a:gd name="connsiteY21" fmla="*/ 83834 h 190765"/>
              <a:gd name="connsiteX22" fmla="*/ 8774 w 143349"/>
              <a:gd name="connsiteY22" fmla="*/ 86447 h 190765"/>
              <a:gd name="connsiteX23" fmla="*/ 8774 w 143349"/>
              <a:gd name="connsiteY23" fmla="*/ 87963 h 190765"/>
              <a:gd name="connsiteX24" fmla="*/ 25738 w 143349"/>
              <a:gd name="connsiteY24" fmla="*/ 120218 h 190765"/>
              <a:gd name="connsiteX25" fmla="*/ 52530 w 143349"/>
              <a:gd name="connsiteY25" fmla="*/ 170482 h 190765"/>
              <a:gd name="connsiteX26" fmla="*/ 84549 w 143349"/>
              <a:gd name="connsiteY26" fmla="*/ 182244 h 190765"/>
              <a:gd name="connsiteX27" fmla="*/ 132408 w 143349"/>
              <a:gd name="connsiteY27" fmla="*/ 141416 h 190765"/>
              <a:gd name="connsiteX28" fmla="*/ 133794 w 143349"/>
              <a:gd name="connsiteY28" fmla="*/ 87519 h 190765"/>
              <a:gd name="connsiteX29" fmla="*/ 128435 w 143349"/>
              <a:gd name="connsiteY29" fmla="*/ 83625 h 190765"/>
              <a:gd name="connsiteX30" fmla="*/ 120960 w 143349"/>
              <a:gd name="connsiteY30" fmla="*/ 86500 h 190765"/>
              <a:gd name="connsiteX31" fmla="*/ 120960 w 143349"/>
              <a:gd name="connsiteY31" fmla="*/ 93583 h 190765"/>
              <a:gd name="connsiteX32" fmla="*/ 116725 w 143349"/>
              <a:gd name="connsiteY32" fmla="*/ 97791 h 190765"/>
              <a:gd name="connsiteX33" fmla="*/ 116725 w 143349"/>
              <a:gd name="connsiteY33" fmla="*/ 97791 h 190765"/>
              <a:gd name="connsiteX34" fmla="*/ 112491 w 143349"/>
              <a:gd name="connsiteY34" fmla="*/ 93557 h 190765"/>
              <a:gd name="connsiteX35" fmla="*/ 112491 w 143349"/>
              <a:gd name="connsiteY35" fmla="*/ 81899 h 190765"/>
              <a:gd name="connsiteX36" fmla="*/ 107263 w 143349"/>
              <a:gd name="connsiteY36" fmla="*/ 76097 h 190765"/>
              <a:gd name="connsiteX37" fmla="*/ 98768 w 143349"/>
              <a:gd name="connsiteY37" fmla="*/ 78214 h 190765"/>
              <a:gd name="connsiteX38" fmla="*/ 98768 w 143349"/>
              <a:gd name="connsiteY38" fmla="*/ 89297 h 190765"/>
              <a:gd name="connsiteX39" fmla="*/ 94534 w 143349"/>
              <a:gd name="connsiteY39" fmla="*/ 93531 h 190765"/>
              <a:gd name="connsiteX40" fmla="*/ 94534 w 143349"/>
              <a:gd name="connsiteY40" fmla="*/ 93531 h 190765"/>
              <a:gd name="connsiteX41" fmla="*/ 90273 w 143349"/>
              <a:gd name="connsiteY41" fmla="*/ 89323 h 190765"/>
              <a:gd name="connsiteX42" fmla="*/ 90273 w 143349"/>
              <a:gd name="connsiteY42" fmla="*/ 77665 h 190765"/>
              <a:gd name="connsiteX43" fmla="*/ 90273 w 143349"/>
              <a:gd name="connsiteY43" fmla="*/ 73143 h 190765"/>
              <a:gd name="connsiteX44" fmla="*/ 77011 w 143349"/>
              <a:gd name="connsiteY44" fmla="*/ 69372 h 190765"/>
              <a:gd name="connsiteX45" fmla="*/ 76054 w 143349"/>
              <a:gd name="connsiteY45" fmla="*/ 69980 h 190765"/>
              <a:gd name="connsiteX46" fmla="*/ 76054 w 143349"/>
              <a:gd name="connsiteY46" fmla="*/ 83415 h 190765"/>
              <a:gd name="connsiteX47" fmla="*/ 71794 w 143349"/>
              <a:gd name="connsiteY47" fmla="*/ 87624 h 190765"/>
              <a:gd name="connsiteX48" fmla="*/ 71767 w 143349"/>
              <a:gd name="connsiteY48" fmla="*/ 87624 h 190765"/>
              <a:gd name="connsiteX49" fmla="*/ 71767 w 143349"/>
              <a:gd name="connsiteY49" fmla="*/ 87624 h 190765"/>
              <a:gd name="connsiteX50" fmla="*/ 67533 w 143349"/>
              <a:gd name="connsiteY50" fmla="*/ 83389 h 190765"/>
              <a:gd name="connsiteX51" fmla="*/ 67533 w 143349"/>
              <a:gd name="connsiteY51" fmla="*/ 83363 h 190765"/>
              <a:gd name="connsiteX52" fmla="*/ 67821 w 143349"/>
              <a:gd name="connsiteY52" fmla="*/ 15142 h 190765"/>
              <a:gd name="connsiteX53" fmla="*/ 64841 w 143349"/>
              <a:gd name="connsiteY53" fmla="*/ 9575 h 190765"/>
              <a:gd name="connsiteX54" fmla="*/ 55692 w 143349"/>
              <a:gd name="connsiteY54" fmla="*/ 9575 h 190765"/>
              <a:gd name="connsiteX55" fmla="*/ 52530 w 143349"/>
              <a:gd name="connsiteY55" fmla="*/ 15142 h 190765"/>
              <a:gd name="connsiteX56" fmla="*/ 52687 w 143349"/>
              <a:gd name="connsiteY56" fmla="*/ 64047 h 190765"/>
              <a:gd name="connsiteX57" fmla="*/ 52687 w 143349"/>
              <a:gd name="connsiteY57" fmla="*/ 93008 h 190765"/>
              <a:gd name="connsiteX58" fmla="*/ 52687 w 143349"/>
              <a:gd name="connsiteY58" fmla="*/ 102366 h 190765"/>
              <a:gd name="connsiteX59" fmla="*/ 48975 w 143349"/>
              <a:gd name="connsiteY59" fmla="*/ 110024 h 190765"/>
              <a:gd name="connsiteX60" fmla="*/ 44270 w 143349"/>
              <a:gd name="connsiteY60" fmla="*/ 107097 h 190765"/>
              <a:gd name="connsiteX61" fmla="*/ 44270 w 143349"/>
              <a:gd name="connsiteY61" fmla="*/ 107097 h 190765"/>
              <a:gd name="connsiteX62" fmla="*/ 17348 w 143349"/>
              <a:gd name="connsiteY62" fmla="*/ 84409 h 190765"/>
              <a:gd name="connsiteX63" fmla="*/ 14289 w 143349"/>
              <a:gd name="connsiteY63" fmla="*/ 83834 h 19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3349" h="190765">
                <a:moveTo>
                  <a:pt x="82040" y="190765"/>
                </a:moveTo>
                <a:cubicBezTo>
                  <a:pt x="62096" y="190765"/>
                  <a:pt x="54386" y="184518"/>
                  <a:pt x="46518" y="176389"/>
                </a:cubicBezTo>
                <a:cubicBezTo>
                  <a:pt x="41761" y="171475"/>
                  <a:pt x="31724" y="151532"/>
                  <a:pt x="18053" y="123851"/>
                </a:cubicBezTo>
                <a:cubicBezTo>
                  <a:pt x="11467" y="110521"/>
                  <a:pt x="3991" y="95413"/>
                  <a:pt x="2370" y="93374"/>
                </a:cubicBezTo>
                <a:cubicBezTo>
                  <a:pt x="-636" y="89993"/>
                  <a:pt x="-800" y="84947"/>
                  <a:pt x="1978" y="81377"/>
                </a:cubicBezTo>
                <a:cubicBezTo>
                  <a:pt x="6364" y="75814"/>
                  <a:pt x="13910" y="73839"/>
                  <a:pt x="20458" y="76541"/>
                </a:cubicBezTo>
                <a:cubicBezTo>
                  <a:pt x="29286" y="80626"/>
                  <a:pt x="37342" y="86206"/>
                  <a:pt x="44270" y="93034"/>
                </a:cubicBezTo>
                <a:cubicBezTo>
                  <a:pt x="44270" y="70477"/>
                  <a:pt x="44270" y="24134"/>
                  <a:pt x="44270" y="15168"/>
                </a:cubicBezTo>
                <a:cubicBezTo>
                  <a:pt x="44193" y="9844"/>
                  <a:pt x="47030" y="4902"/>
                  <a:pt x="51667" y="2282"/>
                </a:cubicBezTo>
                <a:cubicBezTo>
                  <a:pt x="57145" y="-761"/>
                  <a:pt x="63806" y="-761"/>
                  <a:pt x="69284" y="2282"/>
                </a:cubicBezTo>
                <a:cubicBezTo>
                  <a:pt x="73928" y="4965"/>
                  <a:pt x="76713" y="9991"/>
                  <a:pt x="76525" y="15351"/>
                </a:cubicBezTo>
                <a:lnTo>
                  <a:pt x="76054" y="60675"/>
                </a:lnTo>
                <a:cubicBezTo>
                  <a:pt x="78621" y="59786"/>
                  <a:pt x="81356" y="59492"/>
                  <a:pt x="84052" y="59813"/>
                </a:cubicBezTo>
                <a:cubicBezTo>
                  <a:pt x="89769" y="60753"/>
                  <a:pt x="94791" y="64142"/>
                  <a:pt x="97801" y="69092"/>
                </a:cubicBezTo>
                <a:cubicBezTo>
                  <a:pt x="99679" y="68303"/>
                  <a:pt x="101659" y="67783"/>
                  <a:pt x="103682" y="67550"/>
                </a:cubicBezTo>
                <a:cubicBezTo>
                  <a:pt x="110642" y="66544"/>
                  <a:pt x="117353" y="70560"/>
                  <a:pt x="119757" y="77168"/>
                </a:cubicBezTo>
                <a:cubicBezTo>
                  <a:pt x="121638" y="76251"/>
                  <a:pt x="123648" y="75625"/>
                  <a:pt x="125717" y="75313"/>
                </a:cubicBezTo>
                <a:cubicBezTo>
                  <a:pt x="132624" y="74186"/>
                  <a:pt x="139382" y="78028"/>
                  <a:pt x="141949" y="84539"/>
                </a:cubicBezTo>
                <a:cubicBezTo>
                  <a:pt x="142158" y="85012"/>
                  <a:pt x="142291" y="85515"/>
                  <a:pt x="142341" y="86029"/>
                </a:cubicBezTo>
                <a:cubicBezTo>
                  <a:pt x="142341" y="87650"/>
                  <a:pt x="145451" y="126282"/>
                  <a:pt x="140746" y="143533"/>
                </a:cubicBezTo>
                <a:cubicBezTo>
                  <a:pt x="135022" y="164705"/>
                  <a:pt x="116987" y="189746"/>
                  <a:pt x="84941" y="190582"/>
                </a:cubicBezTo>
                <a:close/>
                <a:moveTo>
                  <a:pt x="14289" y="83834"/>
                </a:moveTo>
                <a:cubicBezTo>
                  <a:pt x="12151" y="83828"/>
                  <a:pt x="10124" y="84788"/>
                  <a:pt x="8774" y="86447"/>
                </a:cubicBezTo>
                <a:cubicBezTo>
                  <a:pt x="8147" y="87336"/>
                  <a:pt x="8408" y="87650"/>
                  <a:pt x="8774" y="87963"/>
                </a:cubicBezTo>
                <a:cubicBezTo>
                  <a:pt x="11048" y="90577"/>
                  <a:pt x="16433" y="101399"/>
                  <a:pt x="25738" y="120218"/>
                </a:cubicBezTo>
                <a:cubicBezTo>
                  <a:pt x="35252" y="139534"/>
                  <a:pt x="48426" y="166038"/>
                  <a:pt x="52530" y="170482"/>
                </a:cubicBezTo>
                <a:cubicBezTo>
                  <a:pt x="59744" y="177931"/>
                  <a:pt x="65886" y="182741"/>
                  <a:pt x="84549" y="182244"/>
                </a:cubicBezTo>
                <a:cubicBezTo>
                  <a:pt x="111916" y="181486"/>
                  <a:pt x="127442" y="159791"/>
                  <a:pt x="132408" y="141416"/>
                </a:cubicBezTo>
                <a:cubicBezTo>
                  <a:pt x="136355" y="126779"/>
                  <a:pt x="134186" y="93191"/>
                  <a:pt x="133794" y="87519"/>
                </a:cubicBezTo>
                <a:cubicBezTo>
                  <a:pt x="132856" y="85337"/>
                  <a:pt x="130800" y="83843"/>
                  <a:pt x="128435" y="83625"/>
                </a:cubicBezTo>
                <a:cubicBezTo>
                  <a:pt x="125672" y="83615"/>
                  <a:pt x="123005" y="84641"/>
                  <a:pt x="120960" y="86500"/>
                </a:cubicBezTo>
                <a:cubicBezTo>
                  <a:pt x="120960" y="88826"/>
                  <a:pt x="120960" y="93583"/>
                  <a:pt x="120960" y="93583"/>
                </a:cubicBezTo>
                <a:cubicBezTo>
                  <a:pt x="120945" y="95912"/>
                  <a:pt x="119054" y="97791"/>
                  <a:pt x="116725" y="97791"/>
                </a:cubicBezTo>
                <a:lnTo>
                  <a:pt x="116725" y="97791"/>
                </a:lnTo>
                <a:cubicBezTo>
                  <a:pt x="114393" y="97777"/>
                  <a:pt x="112505" y="95890"/>
                  <a:pt x="112491" y="93557"/>
                </a:cubicBezTo>
                <a:lnTo>
                  <a:pt x="112491" y="81899"/>
                </a:lnTo>
                <a:cubicBezTo>
                  <a:pt x="111001" y="76881"/>
                  <a:pt x="108257" y="76306"/>
                  <a:pt x="107263" y="76097"/>
                </a:cubicBezTo>
                <a:cubicBezTo>
                  <a:pt x="104264" y="75677"/>
                  <a:pt x="101220" y="76436"/>
                  <a:pt x="98768" y="78214"/>
                </a:cubicBezTo>
                <a:lnTo>
                  <a:pt x="98768" y="89297"/>
                </a:lnTo>
                <a:cubicBezTo>
                  <a:pt x="98754" y="91629"/>
                  <a:pt x="96867" y="93517"/>
                  <a:pt x="94534" y="93531"/>
                </a:cubicBezTo>
                <a:lnTo>
                  <a:pt x="94534" y="93531"/>
                </a:lnTo>
                <a:cubicBezTo>
                  <a:pt x="92201" y="93531"/>
                  <a:pt x="90302" y="91655"/>
                  <a:pt x="90273" y="89323"/>
                </a:cubicBezTo>
                <a:cubicBezTo>
                  <a:pt x="90273" y="88957"/>
                  <a:pt x="90273" y="81194"/>
                  <a:pt x="90273" y="77665"/>
                </a:cubicBezTo>
                <a:lnTo>
                  <a:pt x="90273" y="73143"/>
                </a:lnTo>
                <a:cubicBezTo>
                  <a:pt x="87653" y="68439"/>
                  <a:pt x="81715" y="66751"/>
                  <a:pt x="77011" y="69372"/>
                </a:cubicBezTo>
                <a:cubicBezTo>
                  <a:pt x="76681" y="69556"/>
                  <a:pt x="76361" y="69759"/>
                  <a:pt x="76054" y="69980"/>
                </a:cubicBezTo>
                <a:lnTo>
                  <a:pt x="76054" y="83415"/>
                </a:lnTo>
                <a:cubicBezTo>
                  <a:pt x="76040" y="85754"/>
                  <a:pt x="74132" y="87638"/>
                  <a:pt x="71794" y="87624"/>
                </a:cubicBezTo>
                <a:cubicBezTo>
                  <a:pt x="71785" y="87624"/>
                  <a:pt x="71776" y="87624"/>
                  <a:pt x="71767" y="87624"/>
                </a:cubicBezTo>
                <a:lnTo>
                  <a:pt x="71767" y="87624"/>
                </a:lnTo>
                <a:cubicBezTo>
                  <a:pt x="69429" y="87624"/>
                  <a:pt x="67533" y="85728"/>
                  <a:pt x="67533" y="83389"/>
                </a:cubicBezTo>
                <a:cubicBezTo>
                  <a:pt x="67533" y="83381"/>
                  <a:pt x="67533" y="83372"/>
                  <a:pt x="67533" y="83363"/>
                </a:cubicBezTo>
                <a:lnTo>
                  <a:pt x="67821" y="15142"/>
                </a:lnTo>
                <a:cubicBezTo>
                  <a:pt x="67979" y="12868"/>
                  <a:pt x="66821" y="10704"/>
                  <a:pt x="64841" y="9575"/>
                </a:cubicBezTo>
                <a:cubicBezTo>
                  <a:pt x="61983" y="8046"/>
                  <a:pt x="58550" y="8046"/>
                  <a:pt x="55692" y="9575"/>
                </a:cubicBezTo>
                <a:cubicBezTo>
                  <a:pt x="53656" y="10668"/>
                  <a:pt x="52426" y="12833"/>
                  <a:pt x="52530" y="15142"/>
                </a:cubicBezTo>
                <a:cubicBezTo>
                  <a:pt x="52530" y="20004"/>
                  <a:pt x="52530" y="42901"/>
                  <a:pt x="52687" y="64047"/>
                </a:cubicBezTo>
                <a:cubicBezTo>
                  <a:pt x="52687" y="74790"/>
                  <a:pt x="52687" y="85245"/>
                  <a:pt x="52687" y="93008"/>
                </a:cubicBezTo>
                <a:cubicBezTo>
                  <a:pt x="52687" y="96903"/>
                  <a:pt x="52687" y="100118"/>
                  <a:pt x="52687" y="102366"/>
                </a:cubicBezTo>
                <a:cubicBezTo>
                  <a:pt x="52687" y="106626"/>
                  <a:pt x="52687" y="109449"/>
                  <a:pt x="48975" y="110024"/>
                </a:cubicBezTo>
                <a:cubicBezTo>
                  <a:pt x="46897" y="110354"/>
                  <a:pt x="44893" y="109107"/>
                  <a:pt x="44270" y="107097"/>
                </a:cubicBezTo>
                <a:lnTo>
                  <a:pt x="44270" y="107097"/>
                </a:lnTo>
                <a:cubicBezTo>
                  <a:pt x="41996" y="100013"/>
                  <a:pt x="25816" y="87781"/>
                  <a:pt x="17348" y="84409"/>
                </a:cubicBezTo>
                <a:cubicBezTo>
                  <a:pt x="16375" y="84021"/>
                  <a:pt x="15337" y="83825"/>
                  <a:pt x="14289" y="83834"/>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0" name="Freeform: Shape 1489">
            <a:extLst>
              <a:ext uri="{FF2B5EF4-FFF2-40B4-BE49-F238E27FC236}">
                <a16:creationId xmlns:a16="http://schemas.microsoft.com/office/drawing/2014/main" id="{5D57AEB6-C0B3-7CB0-A23C-EFFD2DB78035}"/>
              </a:ext>
            </a:extLst>
          </p:cNvPr>
          <p:cNvSpPr/>
          <p:nvPr/>
        </p:nvSpPr>
        <p:spPr>
          <a:xfrm>
            <a:off x="545299" y="4403703"/>
            <a:ext cx="93642" cy="74989"/>
          </a:xfrm>
          <a:custGeom>
            <a:avLst/>
            <a:gdLst>
              <a:gd name="connsiteX0" fmla="*/ 128182 w 132416"/>
              <a:gd name="connsiteY0" fmla="*/ 96764 h 96763"/>
              <a:gd name="connsiteX1" fmla="*/ 90961 w 132416"/>
              <a:gd name="connsiteY1" fmla="*/ 96764 h 96763"/>
              <a:gd name="connsiteX2" fmla="*/ 90961 w 132416"/>
              <a:gd name="connsiteY2" fmla="*/ 88269 h 96763"/>
              <a:gd name="connsiteX3" fmla="*/ 123922 w 132416"/>
              <a:gd name="connsiteY3" fmla="*/ 88269 h 96763"/>
              <a:gd name="connsiteX4" fmla="*/ 123922 w 132416"/>
              <a:gd name="connsiteY4" fmla="*/ 8495 h 96763"/>
              <a:gd name="connsiteX5" fmla="*/ 8495 w 132416"/>
              <a:gd name="connsiteY5" fmla="*/ 8495 h 96763"/>
              <a:gd name="connsiteX6" fmla="*/ 8495 w 132416"/>
              <a:gd name="connsiteY6" fmla="*/ 88269 h 96763"/>
              <a:gd name="connsiteX7" fmla="*/ 41063 w 132416"/>
              <a:gd name="connsiteY7" fmla="*/ 88269 h 96763"/>
              <a:gd name="connsiteX8" fmla="*/ 41063 w 132416"/>
              <a:gd name="connsiteY8" fmla="*/ 96764 h 96763"/>
              <a:gd name="connsiteX9" fmla="*/ 4234 w 132416"/>
              <a:gd name="connsiteY9" fmla="*/ 96764 h 96763"/>
              <a:gd name="connsiteX10" fmla="*/ 0 w 132416"/>
              <a:gd name="connsiteY10" fmla="*/ 92608 h 96763"/>
              <a:gd name="connsiteX11" fmla="*/ 0 w 132416"/>
              <a:gd name="connsiteY11" fmla="*/ 4234 h 96763"/>
              <a:gd name="connsiteX12" fmla="*/ 4234 w 132416"/>
              <a:gd name="connsiteY12" fmla="*/ 0 h 96763"/>
              <a:gd name="connsiteX13" fmla="*/ 128182 w 132416"/>
              <a:gd name="connsiteY13" fmla="*/ 0 h 96763"/>
              <a:gd name="connsiteX14" fmla="*/ 132416 w 132416"/>
              <a:gd name="connsiteY14" fmla="*/ 4234 h 96763"/>
              <a:gd name="connsiteX15" fmla="*/ 132416 w 132416"/>
              <a:gd name="connsiteY15" fmla="*/ 92608 h 96763"/>
              <a:gd name="connsiteX16" fmla="*/ 128182 w 132416"/>
              <a:gd name="connsiteY16" fmla="*/ 96764 h 9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2416" h="96763">
                <a:moveTo>
                  <a:pt x="128182" y="96764"/>
                </a:moveTo>
                <a:lnTo>
                  <a:pt x="90961" y="96764"/>
                </a:lnTo>
                <a:lnTo>
                  <a:pt x="90961" y="88269"/>
                </a:lnTo>
                <a:lnTo>
                  <a:pt x="123922" y="88269"/>
                </a:lnTo>
                <a:lnTo>
                  <a:pt x="123922" y="8495"/>
                </a:lnTo>
                <a:lnTo>
                  <a:pt x="8495" y="8495"/>
                </a:lnTo>
                <a:lnTo>
                  <a:pt x="8495" y="88269"/>
                </a:lnTo>
                <a:lnTo>
                  <a:pt x="41063" y="88269"/>
                </a:lnTo>
                <a:lnTo>
                  <a:pt x="41063" y="96764"/>
                </a:lnTo>
                <a:lnTo>
                  <a:pt x="4234" y="96764"/>
                </a:lnTo>
                <a:cubicBezTo>
                  <a:pt x="1932" y="96751"/>
                  <a:pt x="56" y="94910"/>
                  <a:pt x="0" y="92608"/>
                </a:cubicBezTo>
                <a:lnTo>
                  <a:pt x="0" y="4234"/>
                </a:lnTo>
                <a:cubicBezTo>
                  <a:pt x="14" y="1902"/>
                  <a:pt x="1902" y="14"/>
                  <a:pt x="4234" y="0"/>
                </a:cubicBezTo>
                <a:lnTo>
                  <a:pt x="128182" y="0"/>
                </a:lnTo>
                <a:cubicBezTo>
                  <a:pt x="130515" y="14"/>
                  <a:pt x="132402" y="1902"/>
                  <a:pt x="132416" y="4234"/>
                </a:cubicBezTo>
                <a:lnTo>
                  <a:pt x="132416" y="92608"/>
                </a:lnTo>
                <a:cubicBezTo>
                  <a:pt x="132360" y="94910"/>
                  <a:pt x="130485" y="96751"/>
                  <a:pt x="128182" y="96764"/>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1" name="Freeform: Shape 1490">
            <a:extLst>
              <a:ext uri="{FF2B5EF4-FFF2-40B4-BE49-F238E27FC236}">
                <a16:creationId xmlns:a16="http://schemas.microsoft.com/office/drawing/2014/main" id="{7E297DA7-FCF0-D654-2F6F-9AC15440B42C}"/>
              </a:ext>
            </a:extLst>
          </p:cNvPr>
          <p:cNvSpPr/>
          <p:nvPr/>
        </p:nvSpPr>
        <p:spPr>
          <a:xfrm>
            <a:off x="568090" y="4420880"/>
            <a:ext cx="48059" cy="37353"/>
          </a:xfrm>
          <a:custGeom>
            <a:avLst/>
            <a:gdLst>
              <a:gd name="connsiteX0" fmla="*/ 67959 w 67959"/>
              <a:gd name="connsiteY0" fmla="*/ 48200 h 48199"/>
              <a:gd name="connsiteX1" fmla="*/ 59360 w 67959"/>
              <a:gd name="connsiteY1" fmla="*/ 48200 h 48199"/>
              <a:gd name="connsiteX2" fmla="*/ 59360 w 67959"/>
              <a:gd name="connsiteY2" fmla="*/ 8496 h 48199"/>
              <a:gd name="connsiteX3" fmla="*/ 8599 w 67959"/>
              <a:gd name="connsiteY3" fmla="*/ 8496 h 48199"/>
              <a:gd name="connsiteX4" fmla="*/ 8599 w 67959"/>
              <a:gd name="connsiteY4" fmla="*/ 48200 h 48199"/>
              <a:gd name="connsiteX5" fmla="*/ 0 w 67959"/>
              <a:gd name="connsiteY5" fmla="*/ 48200 h 48199"/>
              <a:gd name="connsiteX6" fmla="*/ 0 w 67959"/>
              <a:gd name="connsiteY6" fmla="*/ 4235 h 48199"/>
              <a:gd name="connsiteX7" fmla="*/ 4234 w 67959"/>
              <a:gd name="connsiteY7" fmla="*/ 1 h 48199"/>
              <a:gd name="connsiteX8" fmla="*/ 63621 w 67959"/>
              <a:gd name="connsiteY8" fmla="*/ 1 h 48199"/>
              <a:gd name="connsiteX9" fmla="*/ 67959 w 67959"/>
              <a:gd name="connsiteY9" fmla="*/ 4182 h 48199"/>
              <a:gd name="connsiteX10" fmla="*/ 67959 w 67959"/>
              <a:gd name="connsiteY10" fmla="*/ 4235 h 4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959" h="48199">
                <a:moveTo>
                  <a:pt x="67959" y="48200"/>
                </a:moveTo>
                <a:lnTo>
                  <a:pt x="59360" y="48200"/>
                </a:lnTo>
                <a:lnTo>
                  <a:pt x="59360" y="8496"/>
                </a:lnTo>
                <a:lnTo>
                  <a:pt x="8599" y="8496"/>
                </a:lnTo>
                <a:lnTo>
                  <a:pt x="8599" y="48200"/>
                </a:lnTo>
                <a:lnTo>
                  <a:pt x="0" y="48200"/>
                </a:lnTo>
                <a:lnTo>
                  <a:pt x="0" y="4235"/>
                </a:lnTo>
                <a:cubicBezTo>
                  <a:pt x="14" y="1903"/>
                  <a:pt x="1902" y="15"/>
                  <a:pt x="4234" y="1"/>
                </a:cubicBezTo>
                <a:lnTo>
                  <a:pt x="63621" y="1"/>
                </a:lnTo>
                <a:cubicBezTo>
                  <a:pt x="65973" y="-43"/>
                  <a:pt x="67916" y="1829"/>
                  <a:pt x="67959" y="4182"/>
                </a:cubicBezTo>
                <a:cubicBezTo>
                  <a:pt x="67959" y="4200"/>
                  <a:pt x="67959" y="4217"/>
                  <a:pt x="67959" y="4235"/>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2" name="Freeform: Shape 1491">
            <a:extLst>
              <a:ext uri="{FF2B5EF4-FFF2-40B4-BE49-F238E27FC236}">
                <a16:creationId xmlns:a16="http://schemas.microsoft.com/office/drawing/2014/main" id="{F636C605-5E2F-5740-1722-8EE6998F177E}"/>
              </a:ext>
            </a:extLst>
          </p:cNvPr>
          <p:cNvSpPr/>
          <p:nvPr/>
        </p:nvSpPr>
        <p:spPr>
          <a:xfrm>
            <a:off x="635946" y="4437915"/>
            <a:ext cx="32496" cy="6583"/>
          </a:xfrm>
          <a:custGeom>
            <a:avLst/>
            <a:gdLst>
              <a:gd name="connsiteX0" fmla="*/ 0 w 45951"/>
              <a:gd name="connsiteY0" fmla="*/ 0 h 8494"/>
              <a:gd name="connsiteX1" fmla="*/ 45951 w 45951"/>
              <a:gd name="connsiteY1" fmla="*/ 0 h 8494"/>
              <a:gd name="connsiteX2" fmla="*/ 45951 w 45951"/>
              <a:gd name="connsiteY2" fmla="*/ 8495 h 8494"/>
              <a:gd name="connsiteX3" fmla="*/ 0 w 45951"/>
              <a:gd name="connsiteY3" fmla="*/ 8495 h 8494"/>
            </a:gdLst>
            <a:ahLst/>
            <a:cxnLst>
              <a:cxn ang="0">
                <a:pos x="connsiteX0" y="connsiteY0"/>
              </a:cxn>
              <a:cxn ang="0">
                <a:pos x="connsiteX1" y="connsiteY1"/>
              </a:cxn>
              <a:cxn ang="0">
                <a:pos x="connsiteX2" y="connsiteY2"/>
              </a:cxn>
              <a:cxn ang="0">
                <a:pos x="connsiteX3" y="connsiteY3"/>
              </a:cxn>
            </a:cxnLst>
            <a:rect l="l" t="t" r="r" b="b"/>
            <a:pathLst>
              <a:path w="45951" h="8494">
                <a:moveTo>
                  <a:pt x="0" y="0"/>
                </a:moveTo>
                <a:lnTo>
                  <a:pt x="45951" y="0"/>
                </a:lnTo>
                <a:lnTo>
                  <a:pt x="45951" y="8495"/>
                </a:lnTo>
                <a:lnTo>
                  <a:pt x="0" y="8495"/>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3" name="Freeform: Shape 1492">
            <a:extLst>
              <a:ext uri="{FF2B5EF4-FFF2-40B4-BE49-F238E27FC236}">
                <a16:creationId xmlns:a16="http://schemas.microsoft.com/office/drawing/2014/main" id="{789FC5FB-3245-74CD-2B5D-273CE3154EAF}"/>
              </a:ext>
            </a:extLst>
          </p:cNvPr>
          <p:cNvSpPr/>
          <p:nvPr/>
        </p:nvSpPr>
        <p:spPr>
          <a:xfrm>
            <a:off x="515798" y="4437915"/>
            <a:ext cx="32496" cy="6583"/>
          </a:xfrm>
          <a:custGeom>
            <a:avLst/>
            <a:gdLst>
              <a:gd name="connsiteX0" fmla="*/ 0 w 45951"/>
              <a:gd name="connsiteY0" fmla="*/ 0 h 8494"/>
              <a:gd name="connsiteX1" fmla="*/ 45951 w 45951"/>
              <a:gd name="connsiteY1" fmla="*/ 0 h 8494"/>
              <a:gd name="connsiteX2" fmla="*/ 45951 w 45951"/>
              <a:gd name="connsiteY2" fmla="*/ 8495 h 8494"/>
              <a:gd name="connsiteX3" fmla="*/ 0 w 45951"/>
              <a:gd name="connsiteY3" fmla="*/ 8495 h 8494"/>
            </a:gdLst>
            <a:ahLst/>
            <a:cxnLst>
              <a:cxn ang="0">
                <a:pos x="connsiteX0" y="connsiteY0"/>
              </a:cxn>
              <a:cxn ang="0">
                <a:pos x="connsiteX1" y="connsiteY1"/>
              </a:cxn>
              <a:cxn ang="0">
                <a:pos x="connsiteX2" y="connsiteY2"/>
              </a:cxn>
              <a:cxn ang="0">
                <a:pos x="connsiteX3" y="connsiteY3"/>
              </a:cxn>
            </a:cxnLst>
            <a:rect l="l" t="t" r="r" b="b"/>
            <a:pathLst>
              <a:path w="45951" h="8494">
                <a:moveTo>
                  <a:pt x="0" y="0"/>
                </a:moveTo>
                <a:lnTo>
                  <a:pt x="45951" y="0"/>
                </a:lnTo>
                <a:lnTo>
                  <a:pt x="45951" y="8495"/>
                </a:lnTo>
                <a:lnTo>
                  <a:pt x="0" y="8495"/>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4" name="Freeform: Shape 1493">
            <a:extLst>
              <a:ext uri="{FF2B5EF4-FFF2-40B4-BE49-F238E27FC236}">
                <a16:creationId xmlns:a16="http://schemas.microsoft.com/office/drawing/2014/main" id="{50430C60-B9A9-8CF8-0573-075F235F238B}"/>
              </a:ext>
            </a:extLst>
          </p:cNvPr>
          <p:cNvSpPr/>
          <p:nvPr/>
        </p:nvSpPr>
        <p:spPr>
          <a:xfrm>
            <a:off x="647141" y="4473801"/>
            <a:ext cx="23706" cy="26199"/>
          </a:xfrm>
          <a:custGeom>
            <a:avLst/>
            <a:gdLst>
              <a:gd name="connsiteX0" fmla="*/ 16896 w 33522"/>
              <a:gd name="connsiteY0" fmla="*/ 33807 h 33807"/>
              <a:gd name="connsiteX1" fmla="*/ 16295 w 33522"/>
              <a:gd name="connsiteY1" fmla="*/ 33807 h 33807"/>
              <a:gd name="connsiteX2" fmla="*/ 10 w 33522"/>
              <a:gd name="connsiteY2" fmla="*/ 16321 h 33807"/>
              <a:gd name="connsiteX3" fmla="*/ 17497 w 33522"/>
              <a:gd name="connsiteY3" fmla="*/ 10 h 33807"/>
              <a:gd name="connsiteX4" fmla="*/ 33499 w 33522"/>
              <a:gd name="connsiteY4" fmla="*/ 17785 h 33807"/>
              <a:gd name="connsiteX5" fmla="*/ 16922 w 33522"/>
              <a:gd name="connsiteY5" fmla="*/ 33807 h 33807"/>
              <a:gd name="connsiteX6" fmla="*/ 16896 w 33522"/>
              <a:gd name="connsiteY6" fmla="*/ 8479 h 33807"/>
              <a:gd name="connsiteX7" fmla="*/ 11171 w 33522"/>
              <a:gd name="connsiteY7" fmla="*/ 10753 h 33807"/>
              <a:gd name="connsiteX8" fmla="*/ 10719 w 33522"/>
              <a:gd name="connsiteY8" fmla="*/ 22647 h 33807"/>
              <a:gd name="connsiteX9" fmla="*/ 16608 w 33522"/>
              <a:gd name="connsiteY9" fmla="*/ 25338 h 33807"/>
              <a:gd name="connsiteX10" fmla="*/ 22620 w 33522"/>
              <a:gd name="connsiteY10" fmla="*/ 23064 h 33807"/>
              <a:gd name="connsiteX11" fmla="*/ 25234 w 33522"/>
              <a:gd name="connsiteY11" fmla="*/ 17209 h 33807"/>
              <a:gd name="connsiteX12" fmla="*/ 25234 w 33522"/>
              <a:gd name="connsiteY12" fmla="*/ 17209 h 33807"/>
              <a:gd name="connsiteX13" fmla="*/ 17115 w 33522"/>
              <a:gd name="connsiteY13" fmla="*/ 8506 h 33807"/>
              <a:gd name="connsiteX14" fmla="*/ 17105 w 33522"/>
              <a:gd name="connsiteY14" fmla="*/ 8505 h 3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22" h="33807">
                <a:moveTo>
                  <a:pt x="16896" y="33807"/>
                </a:moveTo>
                <a:lnTo>
                  <a:pt x="16295" y="33807"/>
                </a:lnTo>
                <a:cubicBezTo>
                  <a:pt x="6974" y="33467"/>
                  <a:pt x="-314" y="25643"/>
                  <a:pt x="10" y="16321"/>
                </a:cubicBezTo>
                <a:cubicBezTo>
                  <a:pt x="337" y="6988"/>
                  <a:pt x="8166" y="-313"/>
                  <a:pt x="17497" y="10"/>
                </a:cubicBezTo>
                <a:cubicBezTo>
                  <a:pt x="26823" y="500"/>
                  <a:pt x="33988" y="8458"/>
                  <a:pt x="33499" y="17785"/>
                </a:cubicBezTo>
                <a:cubicBezTo>
                  <a:pt x="33033" y="26648"/>
                  <a:pt x="25796" y="33643"/>
                  <a:pt x="16922" y="33807"/>
                </a:cubicBezTo>
                <a:close/>
                <a:moveTo>
                  <a:pt x="16896" y="8479"/>
                </a:moveTo>
                <a:cubicBezTo>
                  <a:pt x="14768" y="8479"/>
                  <a:pt x="12719" y="9292"/>
                  <a:pt x="11171" y="10753"/>
                </a:cubicBezTo>
                <a:cubicBezTo>
                  <a:pt x="7763" y="13913"/>
                  <a:pt x="7559" y="19238"/>
                  <a:pt x="10719" y="22647"/>
                </a:cubicBezTo>
                <a:cubicBezTo>
                  <a:pt x="12246" y="24294"/>
                  <a:pt x="14366" y="25263"/>
                  <a:pt x="16608" y="25338"/>
                </a:cubicBezTo>
                <a:cubicBezTo>
                  <a:pt x="18840" y="25445"/>
                  <a:pt x="21018" y="24621"/>
                  <a:pt x="22620" y="23064"/>
                </a:cubicBezTo>
                <a:cubicBezTo>
                  <a:pt x="24241" y="21541"/>
                  <a:pt x="25182" y="19432"/>
                  <a:pt x="25234" y="17209"/>
                </a:cubicBezTo>
                <a:lnTo>
                  <a:pt x="25234" y="17209"/>
                </a:lnTo>
                <a:cubicBezTo>
                  <a:pt x="25396" y="12564"/>
                  <a:pt x="21760" y="8667"/>
                  <a:pt x="17115" y="8506"/>
                </a:cubicBezTo>
                <a:cubicBezTo>
                  <a:pt x="17113" y="8506"/>
                  <a:pt x="17107" y="8505"/>
                  <a:pt x="17105" y="8505"/>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5" name="Freeform: Shape 1494">
            <a:extLst>
              <a:ext uri="{FF2B5EF4-FFF2-40B4-BE49-F238E27FC236}">
                <a16:creationId xmlns:a16="http://schemas.microsoft.com/office/drawing/2014/main" id="{5D5C1439-0E3B-C568-2B26-9561ED6FCC33}"/>
              </a:ext>
            </a:extLst>
          </p:cNvPr>
          <p:cNvSpPr/>
          <p:nvPr/>
        </p:nvSpPr>
        <p:spPr>
          <a:xfrm>
            <a:off x="635946" y="4459266"/>
            <a:ext cx="26118" cy="17825"/>
          </a:xfrm>
          <a:custGeom>
            <a:avLst/>
            <a:gdLst>
              <a:gd name="connsiteX0" fmla="*/ 36933 w 36933"/>
              <a:gd name="connsiteY0" fmla="*/ 23002 h 23001"/>
              <a:gd name="connsiteX1" fmla="*/ 28465 w 36933"/>
              <a:gd name="connsiteY1" fmla="*/ 23002 h 23001"/>
              <a:gd name="connsiteX2" fmla="*/ 28465 w 36933"/>
              <a:gd name="connsiteY2" fmla="*/ 8547 h 23001"/>
              <a:gd name="connsiteX3" fmla="*/ 0 w 36933"/>
              <a:gd name="connsiteY3" fmla="*/ 8547 h 23001"/>
              <a:gd name="connsiteX4" fmla="*/ 0 w 36933"/>
              <a:gd name="connsiteY4" fmla="*/ 0 h 23001"/>
              <a:gd name="connsiteX5" fmla="*/ 32699 w 36933"/>
              <a:gd name="connsiteY5" fmla="*/ 0 h 23001"/>
              <a:gd name="connsiteX6" fmla="*/ 36933 w 36933"/>
              <a:gd name="connsiteY6" fmla="*/ 4182 h 23001"/>
              <a:gd name="connsiteX7" fmla="*/ 36933 w 36933"/>
              <a:gd name="connsiteY7" fmla="*/ 4234 h 2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33" h="23001">
                <a:moveTo>
                  <a:pt x="36933" y="23002"/>
                </a:moveTo>
                <a:lnTo>
                  <a:pt x="28465" y="23002"/>
                </a:lnTo>
                <a:lnTo>
                  <a:pt x="28465" y="8547"/>
                </a:lnTo>
                <a:lnTo>
                  <a:pt x="0" y="8547"/>
                </a:lnTo>
                <a:lnTo>
                  <a:pt x="0" y="0"/>
                </a:lnTo>
                <a:lnTo>
                  <a:pt x="32699" y="0"/>
                </a:lnTo>
                <a:cubicBezTo>
                  <a:pt x="35023" y="-14"/>
                  <a:pt x="36918" y="1858"/>
                  <a:pt x="36933" y="4182"/>
                </a:cubicBezTo>
                <a:cubicBezTo>
                  <a:pt x="36933" y="4199"/>
                  <a:pt x="36933" y="4217"/>
                  <a:pt x="36933" y="4234"/>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6" name="Freeform: Shape 1495">
            <a:extLst>
              <a:ext uri="{FF2B5EF4-FFF2-40B4-BE49-F238E27FC236}">
                <a16:creationId xmlns:a16="http://schemas.microsoft.com/office/drawing/2014/main" id="{9AC15A00-E01D-3D48-32D3-0152463C7E6E}"/>
              </a:ext>
            </a:extLst>
          </p:cNvPr>
          <p:cNvSpPr/>
          <p:nvPr/>
        </p:nvSpPr>
        <p:spPr>
          <a:xfrm>
            <a:off x="646888" y="4382385"/>
            <a:ext cx="24152" cy="26241"/>
          </a:xfrm>
          <a:custGeom>
            <a:avLst/>
            <a:gdLst>
              <a:gd name="connsiteX0" fmla="*/ 17201 w 34152"/>
              <a:gd name="connsiteY0" fmla="*/ 33859 h 33861"/>
              <a:gd name="connsiteX1" fmla="*/ 2 w 34152"/>
              <a:gd name="connsiteY1" fmla="*/ 17209 h 33861"/>
              <a:gd name="connsiteX2" fmla="*/ 16652 w 34152"/>
              <a:gd name="connsiteY2" fmla="*/ 10 h 33861"/>
              <a:gd name="connsiteX3" fmla="*/ 34139 w 34152"/>
              <a:gd name="connsiteY3" fmla="*/ 16321 h 33861"/>
              <a:gd name="connsiteX4" fmla="*/ 34139 w 34152"/>
              <a:gd name="connsiteY4" fmla="*/ 16321 h 33861"/>
              <a:gd name="connsiteX5" fmla="*/ 17931 w 34152"/>
              <a:gd name="connsiteY5" fmla="*/ 33856 h 33861"/>
              <a:gd name="connsiteX6" fmla="*/ 17829 w 34152"/>
              <a:gd name="connsiteY6" fmla="*/ 33859 h 33861"/>
              <a:gd name="connsiteX7" fmla="*/ 17201 w 34152"/>
              <a:gd name="connsiteY7" fmla="*/ 8531 h 33861"/>
              <a:gd name="connsiteX8" fmla="*/ 16914 w 34152"/>
              <a:gd name="connsiteY8" fmla="*/ 8531 h 33861"/>
              <a:gd name="connsiteX9" fmla="*/ 8751 w 34152"/>
              <a:gd name="connsiteY9" fmla="*/ 17142 h 33861"/>
              <a:gd name="connsiteX10" fmla="*/ 11425 w 34152"/>
              <a:gd name="connsiteY10" fmla="*/ 23064 h 33861"/>
              <a:gd name="connsiteX11" fmla="*/ 23320 w 34152"/>
              <a:gd name="connsiteY11" fmla="*/ 22628 h 33861"/>
              <a:gd name="connsiteX12" fmla="*/ 25566 w 34152"/>
              <a:gd name="connsiteY12" fmla="*/ 16608 h 33861"/>
              <a:gd name="connsiteX13" fmla="*/ 25566 w 34152"/>
              <a:gd name="connsiteY13" fmla="*/ 16608 h 33861"/>
              <a:gd name="connsiteX14" fmla="*/ 17149 w 34152"/>
              <a:gd name="connsiteY14" fmla="*/ 8479 h 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52" h="33861">
                <a:moveTo>
                  <a:pt x="17201" y="33859"/>
                </a:moveTo>
                <a:cubicBezTo>
                  <a:pt x="7854" y="34011"/>
                  <a:pt x="154" y="26556"/>
                  <a:pt x="2" y="17209"/>
                </a:cubicBezTo>
                <a:cubicBezTo>
                  <a:pt x="-149" y="7862"/>
                  <a:pt x="7305" y="162"/>
                  <a:pt x="16652" y="10"/>
                </a:cubicBezTo>
                <a:cubicBezTo>
                  <a:pt x="25984" y="-313"/>
                  <a:pt x="33812" y="6988"/>
                  <a:pt x="34139" y="16321"/>
                </a:cubicBezTo>
                <a:lnTo>
                  <a:pt x="34139" y="16321"/>
                </a:lnTo>
                <a:cubicBezTo>
                  <a:pt x="34505" y="25639"/>
                  <a:pt x="27249" y="33490"/>
                  <a:pt x="17931" y="33856"/>
                </a:cubicBezTo>
                <a:cubicBezTo>
                  <a:pt x="17897" y="33857"/>
                  <a:pt x="17863" y="33858"/>
                  <a:pt x="17829" y="33859"/>
                </a:cubicBezTo>
                <a:close/>
                <a:moveTo>
                  <a:pt x="17201" y="8531"/>
                </a:moveTo>
                <a:lnTo>
                  <a:pt x="16914" y="8531"/>
                </a:lnTo>
                <a:cubicBezTo>
                  <a:pt x="12282" y="8655"/>
                  <a:pt x="8625" y="12510"/>
                  <a:pt x="8751" y="17142"/>
                </a:cubicBezTo>
                <a:cubicBezTo>
                  <a:pt x="8811" y="19396"/>
                  <a:pt x="9773" y="21530"/>
                  <a:pt x="11425" y="23064"/>
                </a:cubicBezTo>
                <a:cubicBezTo>
                  <a:pt x="14831" y="26229"/>
                  <a:pt x="20155" y="26033"/>
                  <a:pt x="23320" y="22628"/>
                </a:cubicBezTo>
                <a:cubicBezTo>
                  <a:pt x="24834" y="20998"/>
                  <a:pt x="25641" y="18833"/>
                  <a:pt x="25566" y="16608"/>
                </a:cubicBezTo>
                <a:lnTo>
                  <a:pt x="25566" y="16608"/>
                </a:lnTo>
                <a:cubicBezTo>
                  <a:pt x="25385" y="12084"/>
                  <a:pt x="21676" y="8503"/>
                  <a:pt x="17149" y="8479"/>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7" name="Freeform: Shape 1496">
            <a:extLst>
              <a:ext uri="{FF2B5EF4-FFF2-40B4-BE49-F238E27FC236}">
                <a16:creationId xmlns:a16="http://schemas.microsoft.com/office/drawing/2014/main" id="{32ACFBC9-45E7-C239-3FAF-EAA8724B75CF}"/>
              </a:ext>
            </a:extLst>
          </p:cNvPr>
          <p:cNvSpPr/>
          <p:nvPr/>
        </p:nvSpPr>
        <p:spPr>
          <a:xfrm>
            <a:off x="635946" y="4405302"/>
            <a:ext cx="26118" cy="17765"/>
          </a:xfrm>
          <a:custGeom>
            <a:avLst/>
            <a:gdLst>
              <a:gd name="connsiteX0" fmla="*/ 32699 w 36933"/>
              <a:gd name="connsiteY0" fmla="*/ 22923 h 22923"/>
              <a:gd name="connsiteX1" fmla="*/ 0 w 36933"/>
              <a:gd name="connsiteY1" fmla="*/ 22923 h 22923"/>
              <a:gd name="connsiteX2" fmla="*/ 0 w 36933"/>
              <a:gd name="connsiteY2" fmla="*/ 14454 h 22923"/>
              <a:gd name="connsiteX3" fmla="*/ 28465 w 36933"/>
              <a:gd name="connsiteY3" fmla="*/ 14454 h 22923"/>
              <a:gd name="connsiteX4" fmla="*/ 28465 w 36933"/>
              <a:gd name="connsiteY4" fmla="*/ 0 h 22923"/>
              <a:gd name="connsiteX5" fmla="*/ 36933 w 36933"/>
              <a:gd name="connsiteY5" fmla="*/ 0 h 22923"/>
              <a:gd name="connsiteX6" fmla="*/ 36933 w 36933"/>
              <a:gd name="connsiteY6" fmla="*/ 18689 h 22923"/>
              <a:gd name="connsiteX7" fmla="*/ 32751 w 36933"/>
              <a:gd name="connsiteY7" fmla="*/ 22923 h 22923"/>
              <a:gd name="connsiteX8" fmla="*/ 32699 w 36933"/>
              <a:gd name="connsiteY8" fmla="*/ 22923 h 2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33" h="22923">
                <a:moveTo>
                  <a:pt x="32699" y="22923"/>
                </a:moveTo>
                <a:lnTo>
                  <a:pt x="0" y="22923"/>
                </a:lnTo>
                <a:lnTo>
                  <a:pt x="0" y="14454"/>
                </a:lnTo>
                <a:lnTo>
                  <a:pt x="28465" y="14454"/>
                </a:lnTo>
                <a:lnTo>
                  <a:pt x="28465" y="0"/>
                </a:lnTo>
                <a:lnTo>
                  <a:pt x="36933" y="0"/>
                </a:lnTo>
                <a:lnTo>
                  <a:pt x="36933" y="18689"/>
                </a:lnTo>
                <a:cubicBezTo>
                  <a:pt x="36949" y="21013"/>
                  <a:pt x="35075" y="22909"/>
                  <a:pt x="32751" y="22923"/>
                </a:cubicBezTo>
                <a:cubicBezTo>
                  <a:pt x="32733" y="22923"/>
                  <a:pt x="32717" y="22923"/>
                  <a:pt x="32699" y="22923"/>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8" name="Freeform: Shape 1497">
            <a:extLst>
              <a:ext uri="{FF2B5EF4-FFF2-40B4-BE49-F238E27FC236}">
                <a16:creationId xmlns:a16="http://schemas.microsoft.com/office/drawing/2014/main" id="{E48C47B1-F5CF-272E-DDC4-303032929735}"/>
              </a:ext>
            </a:extLst>
          </p:cNvPr>
          <p:cNvSpPr/>
          <p:nvPr/>
        </p:nvSpPr>
        <p:spPr>
          <a:xfrm>
            <a:off x="513222" y="4473802"/>
            <a:ext cx="23896" cy="26198"/>
          </a:xfrm>
          <a:custGeom>
            <a:avLst/>
            <a:gdLst>
              <a:gd name="connsiteX0" fmla="*/ 16895 w 33790"/>
              <a:gd name="connsiteY0" fmla="*/ 33806 h 33806"/>
              <a:gd name="connsiteX1" fmla="*/ 9 w 33790"/>
              <a:gd name="connsiteY1" fmla="*/ 17496 h 33806"/>
              <a:gd name="connsiteX2" fmla="*/ 9 w 33790"/>
              <a:gd name="connsiteY2" fmla="*/ 17496 h 33806"/>
              <a:gd name="connsiteX3" fmla="*/ 16320 w 33790"/>
              <a:gd name="connsiteY3" fmla="*/ 9 h 33806"/>
              <a:gd name="connsiteX4" fmla="*/ 33780 w 33790"/>
              <a:gd name="connsiteY4" fmla="*/ 16320 h 33806"/>
              <a:gd name="connsiteX5" fmla="*/ 17470 w 33790"/>
              <a:gd name="connsiteY5" fmla="*/ 33806 h 33806"/>
              <a:gd name="connsiteX6" fmla="*/ 16895 w 33790"/>
              <a:gd name="connsiteY6" fmla="*/ 8478 h 33806"/>
              <a:gd name="connsiteX7" fmla="*/ 16581 w 33790"/>
              <a:gd name="connsiteY7" fmla="*/ 8478 h 33806"/>
              <a:gd name="connsiteX8" fmla="*/ 8477 w 33790"/>
              <a:gd name="connsiteY8" fmla="*/ 17145 h 33806"/>
              <a:gd name="connsiteX9" fmla="*/ 8478 w 33790"/>
              <a:gd name="connsiteY9" fmla="*/ 17182 h 33806"/>
              <a:gd name="connsiteX10" fmla="*/ 8478 w 33790"/>
              <a:gd name="connsiteY10" fmla="*/ 17182 h 33806"/>
              <a:gd name="connsiteX11" fmla="*/ 11092 w 33790"/>
              <a:gd name="connsiteY11" fmla="*/ 23037 h 33806"/>
              <a:gd name="connsiteX12" fmla="*/ 23037 w 33790"/>
              <a:gd name="connsiteY12" fmla="*/ 22697 h 33806"/>
              <a:gd name="connsiteX13" fmla="*/ 22697 w 33790"/>
              <a:gd name="connsiteY13" fmla="*/ 10752 h 33806"/>
              <a:gd name="connsiteX14" fmla="*/ 16921 w 33790"/>
              <a:gd name="connsiteY14" fmla="*/ 8478 h 3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790" h="33806">
                <a:moveTo>
                  <a:pt x="16895" y="33806"/>
                </a:moveTo>
                <a:cubicBezTo>
                  <a:pt x="7784" y="33825"/>
                  <a:pt x="306" y="26602"/>
                  <a:pt x="9" y="17496"/>
                </a:cubicBezTo>
                <a:lnTo>
                  <a:pt x="9" y="17496"/>
                </a:lnTo>
                <a:cubicBezTo>
                  <a:pt x="-299" y="8169"/>
                  <a:pt x="6994" y="350"/>
                  <a:pt x="16320" y="9"/>
                </a:cubicBezTo>
                <a:cubicBezTo>
                  <a:pt x="25642" y="-299"/>
                  <a:pt x="33454" y="6998"/>
                  <a:pt x="33780" y="16320"/>
                </a:cubicBezTo>
                <a:cubicBezTo>
                  <a:pt x="34103" y="25652"/>
                  <a:pt x="26802" y="33480"/>
                  <a:pt x="17470" y="33806"/>
                </a:cubicBezTo>
                <a:close/>
                <a:moveTo>
                  <a:pt x="16895" y="8478"/>
                </a:moveTo>
                <a:lnTo>
                  <a:pt x="16581" y="8478"/>
                </a:lnTo>
                <a:cubicBezTo>
                  <a:pt x="11950" y="8634"/>
                  <a:pt x="8321" y="12514"/>
                  <a:pt x="8477" y="17145"/>
                </a:cubicBezTo>
                <a:cubicBezTo>
                  <a:pt x="8477" y="17158"/>
                  <a:pt x="8478" y="17170"/>
                  <a:pt x="8478" y="17182"/>
                </a:cubicBezTo>
                <a:lnTo>
                  <a:pt x="8478" y="17182"/>
                </a:lnTo>
                <a:cubicBezTo>
                  <a:pt x="8528" y="19406"/>
                  <a:pt x="9470" y="21515"/>
                  <a:pt x="11092" y="23037"/>
                </a:cubicBezTo>
                <a:cubicBezTo>
                  <a:pt x="14485" y="26242"/>
                  <a:pt x="19832" y="26090"/>
                  <a:pt x="23037" y="22697"/>
                </a:cubicBezTo>
                <a:cubicBezTo>
                  <a:pt x="26242" y="19305"/>
                  <a:pt x="26090" y="13957"/>
                  <a:pt x="22697" y="10752"/>
                </a:cubicBezTo>
                <a:cubicBezTo>
                  <a:pt x="21134" y="9284"/>
                  <a:pt x="19066" y="8470"/>
                  <a:pt x="16921" y="8478"/>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499" name="Freeform: Shape 1498">
            <a:extLst>
              <a:ext uri="{FF2B5EF4-FFF2-40B4-BE49-F238E27FC236}">
                <a16:creationId xmlns:a16="http://schemas.microsoft.com/office/drawing/2014/main" id="{095DCED8-EE17-3BE8-FEE8-AE302D34E4CD}"/>
              </a:ext>
            </a:extLst>
          </p:cNvPr>
          <p:cNvSpPr/>
          <p:nvPr/>
        </p:nvSpPr>
        <p:spPr>
          <a:xfrm>
            <a:off x="522174" y="4459266"/>
            <a:ext cx="26137" cy="17825"/>
          </a:xfrm>
          <a:custGeom>
            <a:avLst/>
            <a:gdLst>
              <a:gd name="connsiteX0" fmla="*/ 8470 w 36960"/>
              <a:gd name="connsiteY0" fmla="*/ 23002 h 23001"/>
              <a:gd name="connsiteX1" fmla="*/ 1 w 36960"/>
              <a:gd name="connsiteY1" fmla="*/ 23002 h 23001"/>
              <a:gd name="connsiteX2" fmla="*/ 1 w 36960"/>
              <a:gd name="connsiteY2" fmla="*/ 4313 h 23001"/>
              <a:gd name="connsiteX3" fmla="*/ 4104 w 36960"/>
              <a:gd name="connsiteY3" fmla="*/ 1 h 23001"/>
              <a:gd name="connsiteX4" fmla="*/ 4236 w 36960"/>
              <a:gd name="connsiteY4" fmla="*/ 0 h 23001"/>
              <a:gd name="connsiteX5" fmla="*/ 36961 w 36960"/>
              <a:gd name="connsiteY5" fmla="*/ 0 h 23001"/>
              <a:gd name="connsiteX6" fmla="*/ 36961 w 36960"/>
              <a:gd name="connsiteY6" fmla="*/ 8469 h 23001"/>
              <a:gd name="connsiteX7" fmla="*/ 8470 w 36960"/>
              <a:gd name="connsiteY7" fmla="*/ 8469 h 2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60" h="23001">
                <a:moveTo>
                  <a:pt x="8470" y="23002"/>
                </a:moveTo>
                <a:lnTo>
                  <a:pt x="1" y="23002"/>
                </a:lnTo>
                <a:lnTo>
                  <a:pt x="1" y="4313"/>
                </a:lnTo>
                <a:cubicBezTo>
                  <a:pt x="-56" y="1989"/>
                  <a:pt x="1780" y="59"/>
                  <a:pt x="4104" y="1"/>
                </a:cubicBezTo>
                <a:cubicBezTo>
                  <a:pt x="4148" y="0"/>
                  <a:pt x="4192" y="0"/>
                  <a:pt x="4236" y="0"/>
                </a:cubicBezTo>
                <a:lnTo>
                  <a:pt x="36961" y="0"/>
                </a:lnTo>
                <a:lnTo>
                  <a:pt x="36961" y="8469"/>
                </a:lnTo>
                <a:lnTo>
                  <a:pt x="8470" y="8469"/>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0" name="Freeform: Shape 1499">
            <a:extLst>
              <a:ext uri="{FF2B5EF4-FFF2-40B4-BE49-F238E27FC236}">
                <a16:creationId xmlns:a16="http://schemas.microsoft.com/office/drawing/2014/main" id="{E7053154-6273-EDA5-9DC9-A6B24E1DB945}"/>
              </a:ext>
            </a:extLst>
          </p:cNvPr>
          <p:cNvSpPr/>
          <p:nvPr/>
        </p:nvSpPr>
        <p:spPr>
          <a:xfrm>
            <a:off x="512498" y="4381281"/>
            <a:ext cx="24953" cy="27344"/>
          </a:xfrm>
          <a:custGeom>
            <a:avLst/>
            <a:gdLst>
              <a:gd name="connsiteX0" fmla="*/ 17944 w 35286"/>
              <a:gd name="connsiteY0" fmla="*/ 35284 h 35284"/>
              <a:gd name="connsiteX1" fmla="*/ 17343 w 35286"/>
              <a:gd name="connsiteY1" fmla="*/ 35284 h 35284"/>
              <a:gd name="connsiteX2" fmla="*/ 3 w 35286"/>
              <a:gd name="connsiteY2" fmla="*/ 17343 h 35284"/>
              <a:gd name="connsiteX3" fmla="*/ 17944 w 35286"/>
              <a:gd name="connsiteY3" fmla="*/ 3 h 35284"/>
              <a:gd name="connsiteX4" fmla="*/ 35284 w 35286"/>
              <a:gd name="connsiteY4" fmla="*/ 17944 h 35284"/>
              <a:gd name="connsiteX5" fmla="*/ 17944 w 35286"/>
              <a:gd name="connsiteY5" fmla="*/ 35284 h 35284"/>
              <a:gd name="connsiteX6" fmla="*/ 17944 w 35286"/>
              <a:gd name="connsiteY6" fmla="*/ 9956 h 35284"/>
              <a:gd name="connsiteX7" fmla="*/ 9554 w 35286"/>
              <a:gd name="connsiteY7" fmla="*/ 18085 h 35284"/>
              <a:gd name="connsiteX8" fmla="*/ 9554 w 35286"/>
              <a:gd name="connsiteY8" fmla="*/ 18085 h 35284"/>
              <a:gd name="connsiteX9" fmla="*/ 17284 w 35286"/>
              <a:gd name="connsiteY9" fmla="*/ 27136 h 35284"/>
              <a:gd name="connsiteX10" fmla="*/ 26335 w 35286"/>
              <a:gd name="connsiteY10" fmla="*/ 19405 h 35284"/>
              <a:gd name="connsiteX11" fmla="*/ 26360 w 35286"/>
              <a:gd name="connsiteY11" fmla="*/ 18686 h 35284"/>
              <a:gd name="connsiteX12" fmla="*/ 18241 w 35286"/>
              <a:gd name="connsiteY12" fmla="*/ 9982 h 35284"/>
              <a:gd name="connsiteX13" fmla="*/ 18231 w 35286"/>
              <a:gd name="connsiteY13" fmla="*/ 9982 h 3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286" h="35284">
                <a:moveTo>
                  <a:pt x="17944" y="35284"/>
                </a:moveTo>
                <a:lnTo>
                  <a:pt x="17343" y="35284"/>
                </a:lnTo>
                <a:cubicBezTo>
                  <a:pt x="7600" y="35118"/>
                  <a:pt x="-163" y="27086"/>
                  <a:pt x="3" y="17343"/>
                </a:cubicBezTo>
                <a:cubicBezTo>
                  <a:pt x="169" y="7600"/>
                  <a:pt x="8201" y="-164"/>
                  <a:pt x="17944" y="3"/>
                </a:cubicBezTo>
                <a:cubicBezTo>
                  <a:pt x="27687" y="169"/>
                  <a:pt x="35450" y="8201"/>
                  <a:pt x="35284" y="17944"/>
                </a:cubicBezTo>
                <a:cubicBezTo>
                  <a:pt x="35122" y="27453"/>
                  <a:pt x="27453" y="35122"/>
                  <a:pt x="17944" y="35284"/>
                </a:cubicBezTo>
                <a:close/>
                <a:moveTo>
                  <a:pt x="17944" y="9956"/>
                </a:moveTo>
                <a:cubicBezTo>
                  <a:pt x="13421" y="9981"/>
                  <a:pt x="9722" y="13565"/>
                  <a:pt x="9554" y="18085"/>
                </a:cubicBezTo>
                <a:lnTo>
                  <a:pt x="9554" y="18085"/>
                </a:lnTo>
                <a:cubicBezTo>
                  <a:pt x="9189" y="22719"/>
                  <a:pt x="12650" y="26771"/>
                  <a:pt x="17284" y="27136"/>
                </a:cubicBezTo>
                <a:cubicBezTo>
                  <a:pt x="21918" y="27500"/>
                  <a:pt x="25970" y="24039"/>
                  <a:pt x="26335" y="19405"/>
                </a:cubicBezTo>
                <a:cubicBezTo>
                  <a:pt x="26354" y="19166"/>
                  <a:pt x="26362" y="18926"/>
                  <a:pt x="26360" y="18686"/>
                </a:cubicBezTo>
                <a:cubicBezTo>
                  <a:pt x="26522" y="14041"/>
                  <a:pt x="22887" y="10144"/>
                  <a:pt x="18241" y="9982"/>
                </a:cubicBezTo>
                <a:cubicBezTo>
                  <a:pt x="18238" y="9982"/>
                  <a:pt x="18235" y="9982"/>
                  <a:pt x="18231" y="9982"/>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1" name="Freeform: Shape 1500">
            <a:extLst>
              <a:ext uri="{FF2B5EF4-FFF2-40B4-BE49-F238E27FC236}">
                <a16:creationId xmlns:a16="http://schemas.microsoft.com/office/drawing/2014/main" id="{522F6146-19E0-86F4-E2EA-30AAD3F63D4B}"/>
              </a:ext>
            </a:extLst>
          </p:cNvPr>
          <p:cNvSpPr/>
          <p:nvPr/>
        </p:nvSpPr>
        <p:spPr>
          <a:xfrm>
            <a:off x="522176" y="4405302"/>
            <a:ext cx="26136" cy="17765"/>
          </a:xfrm>
          <a:custGeom>
            <a:avLst/>
            <a:gdLst>
              <a:gd name="connsiteX0" fmla="*/ 36960 w 36959"/>
              <a:gd name="connsiteY0" fmla="*/ 22923 h 22923"/>
              <a:gd name="connsiteX1" fmla="*/ 4234 w 36959"/>
              <a:gd name="connsiteY1" fmla="*/ 22923 h 22923"/>
              <a:gd name="connsiteX2" fmla="*/ 0 w 36959"/>
              <a:gd name="connsiteY2" fmla="*/ 18741 h 22923"/>
              <a:gd name="connsiteX3" fmla="*/ 0 w 36959"/>
              <a:gd name="connsiteY3" fmla="*/ 18689 h 22923"/>
              <a:gd name="connsiteX4" fmla="*/ 0 w 36959"/>
              <a:gd name="connsiteY4" fmla="*/ 0 h 22923"/>
              <a:gd name="connsiteX5" fmla="*/ 8469 w 36959"/>
              <a:gd name="connsiteY5" fmla="*/ 0 h 22923"/>
              <a:gd name="connsiteX6" fmla="*/ 8469 w 36959"/>
              <a:gd name="connsiteY6" fmla="*/ 14454 h 22923"/>
              <a:gd name="connsiteX7" fmla="*/ 36960 w 36959"/>
              <a:gd name="connsiteY7" fmla="*/ 14454 h 2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59" h="22923">
                <a:moveTo>
                  <a:pt x="36960" y="22923"/>
                </a:moveTo>
                <a:lnTo>
                  <a:pt x="4234" y="22923"/>
                </a:lnTo>
                <a:cubicBezTo>
                  <a:pt x="1910" y="22938"/>
                  <a:pt x="14" y="21065"/>
                  <a:pt x="0" y="18741"/>
                </a:cubicBezTo>
                <a:cubicBezTo>
                  <a:pt x="0" y="18724"/>
                  <a:pt x="0" y="18706"/>
                  <a:pt x="0" y="18689"/>
                </a:cubicBezTo>
                <a:lnTo>
                  <a:pt x="0" y="0"/>
                </a:lnTo>
                <a:lnTo>
                  <a:pt x="8469" y="0"/>
                </a:lnTo>
                <a:lnTo>
                  <a:pt x="8469" y="14454"/>
                </a:lnTo>
                <a:lnTo>
                  <a:pt x="36960" y="14454"/>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2" name="Freeform: Shape 1501">
            <a:extLst>
              <a:ext uri="{FF2B5EF4-FFF2-40B4-BE49-F238E27FC236}">
                <a16:creationId xmlns:a16="http://schemas.microsoft.com/office/drawing/2014/main" id="{2DCE7418-FC32-3C7C-BF0C-C795E0F72F5A}"/>
              </a:ext>
            </a:extLst>
          </p:cNvPr>
          <p:cNvSpPr/>
          <p:nvPr/>
        </p:nvSpPr>
        <p:spPr>
          <a:xfrm>
            <a:off x="568349" y="4338841"/>
            <a:ext cx="23881" cy="26192"/>
          </a:xfrm>
          <a:custGeom>
            <a:avLst/>
            <a:gdLst>
              <a:gd name="connsiteX0" fmla="*/ 16911 w 33770"/>
              <a:gd name="connsiteY0" fmla="*/ 33797 h 33797"/>
              <a:gd name="connsiteX1" fmla="*/ 16310 w 33770"/>
              <a:gd name="connsiteY1" fmla="*/ 33797 h 33797"/>
              <a:gd name="connsiteX2" fmla="*/ 11 w 33770"/>
              <a:gd name="connsiteY2" fmla="*/ 16295 h 33797"/>
              <a:gd name="connsiteX3" fmla="*/ 5384 w 33770"/>
              <a:gd name="connsiteY3" fmla="*/ 4522 h 33797"/>
              <a:gd name="connsiteX4" fmla="*/ 29249 w 33770"/>
              <a:gd name="connsiteY4" fmla="*/ 5385 h 33797"/>
              <a:gd name="connsiteX5" fmla="*/ 28386 w 33770"/>
              <a:gd name="connsiteY5" fmla="*/ 29249 h 33797"/>
              <a:gd name="connsiteX6" fmla="*/ 16911 w 33770"/>
              <a:gd name="connsiteY6" fmla="*/ 33797 h 33797"/>
              <a:gd name="connsiteX7" fmla="*/ 16911 w 33770"/>
              <a:gd name="connsiteY7" fmla="*/ 8469 h 33797"/>
              <a:gd name="connsiteX8" fmla="*/ 8521 w 33770"/>
              <a:gd name="connsiteY8" fmla="*/ 16598 h 33797"/>
              <a:gd name="connsiteX9" fmla="*/ 8521 w 33770"/>
              <a:gd name="connsiteY9" fmla="*/ 16598 h 33797"/>
              <a:gd name="connsiteX10" fmla="*/ 16624 w 33770"/>
              <a:gd name="connsiteY10" fmla="*/ 25302 h 33797"/>
              <a:gd name="connsiteX11" fmla="*/ 25326 w 33770"/>
              <a:gd name="connsiteY11" fmla="*/ 17235 h 33797"/>
              <a:gd name="connsiteX12" fmla="*/ 25328 w 33770"/>
              <a:gd name="connsiteY12" fmla="*/ 17173 h 33797"/>
              <a:gd name="connsiteX13" fmla="*/ 23158 w 33770"/>
              <a:gd name="connsiteY13" fmla="*/ 11135 h 33797"/>
              <a:gd name="connsiteX14" fmla="*/ 17303 w 33770"/>
              <a:gd name="connsiteY14" fmla="*/ 8521 h 33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770" h="33797">
                <a:moveTo>
                  <a:pt x="16911" y="33797"/>
                </a:moveTo>
                <a:lnTo>
                  <a:pt x="16310" y="33797"/>
                </a:lnTo>
                <a:cubicBezTo>
                  <a:pt x="6976" y="33465"/>
                  <a:pt x="-321" y="25629"/>
                  <a:pt x="11" y="16295"/>
                </a:cubicBezTo>
                <a:cubicBezTo>
                  <a:pt x="170" y="11814"/>
                  <a:pt x="2103" y="7579"/>
                  <a:pt x="5384" y="4522"/>
                </a:cubicBezTo>
                <a:cubicBezTo>
                  <a:pt x="12213" y="-1829"/>
                  <a:pt x="22897" y="-1443"/>
                  <a:pt x="29249" y="5385"/>
                </a:cubicBezTo>
                <a:cubicBezTo>
                  <a:pt x="35600" y="12213"/>
                  <a:pt x="35214" y="22897"/>
                  <a:pt x="28386" y="29249"/>
                </a:cubicBezTo>
                <a:cubicBezTo>
                  <a:pt x="25276" y="32166"/>
                  <a:pt x="21175" y="33791"/>
                  <a:pt x="16911" y="33797"/>
                </a:cubicBezTo>
                <a:close/>
                <a:moveTo>
                  <a:pt x="16911" y="8469"/>
                </a:moveTo>
                <a:cubicBezTo>
                  <a:pt x="12378" y="8467"/>
                  <a:pt x="8662" y="12067"/>
                  <a:pt x="8521" y="16598"/>
                </a:cubicBezTo>
                <a:lnTo>
                  <a:pt x="8521" y="16598"/>
                </a:lnTo>
                <a:cubicBezTo>
                  <a:pt x="8359" y="21238"/>
                  <a:pt x="11985" y="25132"/>
                  <a:pt x="16624" y="25302"/>
                </a:cubicBezTo>
                <a:cubicBezTo>
                  <a:pt x="21255" y="25478"/>
                  <a:pt x="25150" y="21866"/>
                  <a:pt x="25326" y="17235"/>
                </a:cubicBezTo>
                <a:cubicBezTo>
                  <a:pt x="25327" y="17215"/>
                  <a:pt x="25327" y="17194"/>
                  <a:pt x="25328" y="17173"/>
                </a:cubicBezTo>
                <a:cubicBezTo>
                  <a:pt x="25428" y="14954"/>
                  <a:pt x="24648" y="12784"/>
                  <a:pt x="23158" y="11135"/>
                </a:cubicBezTo>
                <a:cubicBezTo>
                  <a:pt x="21633" y="9518"/>
                  <a:pt x="19525" y="8577"/>
                  <a:pt x="17303" y="8521"/>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3" name="Freeform: Shape 1502">
            <a:extLst>
              <a:ext uri="{FF2B5EF4-FFF2-40B4-BE49-F238E27FC236}">
                <a16:creationId xmlns:a16="http://schemas.microsoft.com/office/drawing/2014/main" id="{644FF3F0-67BB-090F-693D-843B01EA7F7B}"/>
              </a:ext>
            </a:extLst>
          </p:cNvPr>
          <p:cNvSpPr/>
          <p:nvPr/>
        </p:nvSpPr>
        <p:spPr>
          <a:xfrm>
            <a:off x="592200" y="4366469"/>
            <a:ext cx="23489" cy="26193"/>
          </a:xfrm>
          <a:custGeom>
            <a:avLst/>
            <a:gdLst>
              <a:gd name="connsiteX0" fmla="*/ 16615 w 33215"/>
              <a:gd name="connsiteY0" fmla="*/ 33799 h 33799"/>
              <a:gd name="connsiteX1" fmla="*/ 16014 w 33215"/>
              <a:gd name="connsiteY1" fmla="*/ 33799 h 33799"/>
              <a:gd name="connsiteX2" fmla="*/ 24 w 33215"/>
              <a:gd name="connsiteY2" fmla="*/ 16014 h 33799"/>
              <a:gd name="connsiteX3" fmla="*/ 17190 w 33215"/>
              <a:gd name="connsiteY3" fmla="*/ 2 h 33799"/>
              <a:gd name="connsiteX4" fmla="*/ 33192 w 33215"/>
              <a:gd name="connsiteY4" fmla="*/ 17777 h 33799"/>
              <a:gd name="connsiteX5" fmla="*/ 16615 w 33215"/>
              <a:gd name="connsiteY5" fmla="*/ 33799 h 33799"/>
              <a:gd name="connsiteX6" fmla="*/ 16615 w 33215"/>
              <a:gd name="connsiteY6" fmla="*/ 8471 h 33799"/>
              <a:gd name="connsiteX7" fmla="*/ 8225 w 33215"/>
              <a:gd name="connsiteY7" fmla="*/ 16600 h 33799"/>
              <a:gd name="connsiteX8" fmla="*/ 8225 w 33215"/>
              <a:gd name="connsiteY8" fmla="*/ 16600 h 33799"/>
              <a:gd name="connsiteX9" fmla="*/ 16328 w 33215"/>
              <a:gd name="connsiteY9" fmla="*/ 25304 h 33799"/>
              <a:gd name="connsiteX10" fmla="*/ 22340 w 33215"/>
              <a:gd name="connsiteY10" fmla="*/ 23030 h 33799"/>
              <a:gd name="connsiteX11" fmla="*/ 22792 w 33215"/>
              <a:gd name="connsiteY11" fmla="*/ 11136 h 33799"/>
              <a:gd name="connsiteX12" fmla="*/ 16903 w 33215"/>
              <a:gd name="connsiteY12" fmla="*/ 8445 h 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15" h="33799">
                <a:moveTo>
                  <a:pt x="16615" y="33799"/>
                </a:moveTo>
                <a:lnTo>
                  <a:pt x="16014" y="33799"/>
                </a:lnTo>
                <a:cubicBezTo>
                  <a:pt x="6687" y="33303"/>
                  <a:pt x="-472" y="25341"/>
                  <a:pt x="24" y="16014"/>
                </a:cubicBezTo>
                <a:cubicBezTo>
                  <a:pt x="507" y="6928"/>
                  <a:pt x="8093" y="-147"/>
                  <a:pt x="17190" y="2"/>
                </a:cubicBezTo>
                <a:cubicBezTo>
                  <a:pt x="26518" y="492"/>
                  <a:pt x="33681" y="8450"/>
                  <a:pt x="33192" y="17777"/>
                </a:cubicBezTo>
                <a:cubicBezTo>
                  <a:pt x="32726" y="26640"/>
                  <a:pt x="25489" y="33635"/>
                  <a:pt x="16615" y="33799"/>
                </a:cubicBezTo>
                <a:close/>
                <a:moveTo>
                  <a:pt x="16615" y="8471"/>
                </a:moveTo>
                <a:cubicBezTo>
                  <a:pt x="12087" y="8483"/>
                  <a:pt x="8380" y="12075"/>
                  <a:pt x="8225" y="16600"/>
                </a:cubicBezTo>
                <a:lnTo>
                  <a:pt x="8225" y="16600"/>
                </a:lnTo>
                <a:cubicBezTo>
                  <a:pt x="8063" y="21240"/>
                  <a:pt x="11688" y="25134"/>
                  <a:pt x="16328" y="25304"/>
                </a:cubicBezTo>
                <a:cubicBezTo>
                  <a:pt x="18559" y="25407"/>
                  <a:pt x="20735" y="24585"/>
                  <a:pt x="22340" y="23030"/>
                </a:cubicBezTo>
                <a:cubicBezTo>
                  <a:pt x="25749" y="19871"/>
                  <a:pt x="25952" y="14545"/>
                  <a:pt x="22792" y="11136"/>
                </a:cubicBezTo>
                <a:cubicBezTo>
                  <a:pt x="21267" y="9489"/>
                  <a:pt x="19146" y="8521"/>
                  <a:pt x="16903" y="8445"/>
                </a:cubicBez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4" name="Freeform: Shape 1503">
            <a:extLst>
              <a:ext uri="{FF2B5EF4-FFF2-40B4-BE49-F238E27FC236}">
                <a16:creationId xmlns:a16="http://schemas.microsoft.com/office/drawing/2014/main" id="{C879A0F4-7B26-BA49-4A11-9BED011F2EC5}"/>
              </a:ext>
            </a:extLst>
          </p:cNvPr>
          <p:cNvSpPr/>
          <p:nvPr/>
        </p:nvSpPr>
        <p:spPr>
          <a:xfrm>
            <a:off x="553654" y="4380488"/>
            <a:ext cx="6007" cy="26514"/>
          </a:xfrm>
          <a:custGeom>
            <a:avLst/>
            <a:gdLst>
              <a:gd name="connsiteX0" fmla="*/ 0 w 8494"/>
              <a:gd name="connsiteY0" fmla="*/ 0 h 34214"/>
              <a:gd name="connsiteX1" fmla="*/ 8495 w 8494"/>
              <a:gd name="connsiteY1" fmla="*/ 0 h 34214"/>
              <a:gd name="connsiteX2" fmla="*/ 8495 w 8494"/>
              <a:gd name="connsiteY2" fmla="*/ 34215 h 34214"/>
              <a:gd name="connsiteX3" fmla="*/ 0 w 8494"/>
              <a:gd name="connsiteY3" fmla="*/ 34215 h 34214"/>
            </a:gdLst>
            <a:ahLst/>
            <a:cxnLst>
              <a:cxn ang="0">
                <a:pos x="connsiteX0" y="connsiteY0"/>
              </a:cxn>
              <a:cxn ang="0">
                <a:pos x="connsiteX1" y="connsiteY1"/>
              </a:cxn>
              <a:cxn ang="0">
                <a:pos x="connsiteX2" y="connsiteY2"/>
              </a:cxn>
              <a:cxn ang="0">
                <a:pos x="connsiteX3" y="connsiteY3"/>
              </a:cxn>
            </a:cxnLst>
            <a:rect l="l" t="t" r="r" b="b"/>
            <a:pathLst>
              <a:path w="8494" h="34214">
                <a:moveTo>
                  <a:pt x="0" y="0"/>
                </a:moveTo>
                <a:lnTo>
                  <a:pt x="8495" y="0"/>
                </a:lnTo>
                <a:lnTo>
                  <a:pt x="8495" y="34215"/>
                </a:lnTo>
                <a:lnTo>
                  <a:pt x="0" y="34215"/>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5" name="Freeform: Shape 1504">
            <a:extLst>
              <a:ext uri="{FF2B5EF4-FFF2-40B4-BE49-F238E27FC236}">
                <a16:creationId xmlns:a16="http://schemas.microsoft.com/office/drawing/2014/main" id="{9F060AD8-FC90-D684-7528-E5324D59C13B}"/>
              </a:ext>
            </a:extLst>
          </p:cNvPr>
          <p:cNvSpPr/>
          <p:nvPr/>
        </p:nvSpPr>
        <p:spPr>
          <a:xfrm>
            <a:off x="577295" y="4361731"/>
            <a:ext cx="6007" cy="45252"/>
          </a:xfrm>
          <a:custGeom>
            <a:avLst/>
            <a:gdLst>
              <a:gd name="connsiteX0" fmla="*/ 0 w 8494"/>
              <a:gd name="connsiteY0" fmla="*/ 0 h 58392"/>
              <a:gd name="connsiteX1" fmla="*/ 8495 w 8494"/>
              <a:gd name="connsiteY1" fmla="*/ 0 h 58392"/>
              <a:gd name="connsiteX2" fmla="*/ 8495 w 8494"/>
              <a:gd name="connsiteY2" fmla="*/ 58393 h 58392"/>
              <a:gd name="connsiteX3" fmla="*/ 0 w 8494"/>
              <a:gd name="connsiteY3" fmla="*/ 58393 h 58392"/>
            </a:gdLst>
            <a:ahLst/>
            <a:cxnLst>
              <a:cxn ang="0">
                <a:pos x="connsiteX0" y="connsiteY0"/>
              </a:cxn>
              <a:cxn ang="0">
                <a:pos x="connsiteX1" y="connsiteY1"/>
              </a:cxn>
              <a:cxn ang="0">
                <a:pos x="connsiteX2" y="connsiteY2"/>
              </a:cxn>
              <a:cxn ang="0">
                <a:pos x="connsiteX3" y="connsiteY3"/>
              </a:cxn>
            </a:cxnLst>
            <a:rect l="l" t="t" r="r" b="b"/>
            <a:pathLst>
              <a:path w="8494" h="58392">
                <a:moveTo>
                  <a:pt x="0" y="0"/>
                </a:moveTo>
                <a:lnTo>
                  <a:pt x="8495" y="0"/>
                </a:lnTo>
                <a:lnTo>
                  <a:pt x="8495" y="58393"/>
                </a:lnTo>
                <a:lnTo>
                  <a:pt x="0" y="58393"/>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6" name="Freeform: Shape 1505">
            <a:extLst>
              <a:ext uri="{FF2B5EF4-FFF2-40B4-BE49-F238E27FC236}">
                <a16:creationId xmlns:a16="http://schemas.microsoft.com/office/drawing/2014/main" id="{4FDB0565-5084-1BAE-ADC2-66ACDDA4C48E}"/>
              </a:ext>
            </a:extLst>
          </p:cNvPr>
          <p:cNvSpPr/>
          <p:nvPr/>
        </p:nvSpPr>
        <p:spPr>
          <a:xfrm>
            <a:off x="600938" y="4389382"/>
            <a:ext cx="6007" cy="17623"/>
          </a:xfrm>
          <a:custGeom>
            <a:avLst/>
            <a:gdLst>
              <a:gd name="connsiteX0" fmla="*/ 0 w 8494"/>
              <a:gd name="connsiteY0" fmla="*/ 0 h 22740"/>
              <a:gd name="connsiteX1" fmla="*/ 8495 w 8494"/>
              <a:gd name="connsiteY1" fmla="*/ 0 h 22740"/>
              <a:gd name="connsiteX2" fmla="*/ 8495 w 8494"/>
              <a:gd name="connsiteY2" fmla="*/ 22740 h 22740"/>
              <a:gd name="connsiteX3" fmla="*/ 0 w 8494"/>
              <a:gd name="connsiteY3" fmla="*/ 22740 h 22740"/>
            </a:gdLst>
            <a:ahLst/>
            <a:cxnLst>
              <a:cxn ang="0">
                <a:pos x="connsiteX0" y="connsiteY0"/>
              </a:cxn>
              <a:cxn ang="0">
                <a:pos x="connsiteX1" y="connsiteY1"/>
              </a:cxn>
              <a:cxn ang="0">
                <a:pos x="connsiteX2" y="connsiteY2"/>
              </a:cxn>
              <a:cxn ang="0">
                <a:pos x="connsiteX3" y="connsiteY3"/>
              </a:cxn>
            </a:cxnLst>
            <a:rect l="l" t="t" r="r" b="b"/>
            <a:pathLst>
              <a:path w="8494" h="22740">
                <a:moveTo>
                  <a:pt x="0" y="0"/>
                </a:moveTo>
                <a:lnTo>
                  <a:pt x="8495" y="0"/>
                </a:lnTo>
                <a:lnTo>
                  <a:pt x="8495" y="22740"/>
                </a:lnTo>
                <a:lnTo>
                  <a:pt x="0" y="22740"/>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07" name="Freeform: Shape 1506">
            <a:extLst>
              <a:ext uri="{FF2B5EF4-FFF2-40B4-BE49-F238E27FC236}">
                <a16:creationId xmlns:a16="http://schemas.microsoft.com/office/drawing/2014/main" id="{54D00AC9-7296-3E4F-E31E-57035238E814}"/>
              </a:ext>
            </a:extLst>
          </p:cNvPr>
          <p:cNvSpPr/>
          <p:nvPr/>
        </p:nvSpPr>
        <p:spPr>
          <a:xfrm>
            <a:off x="624579" y="4380488"/>
            <a:ext cx="6007" cy="26514"/>
          </a:xfrm>
          <a:custGeom>
            <a:avLst/>
            <a:gdLst>
              <a:gd name="connsiteX0" fmla="*/ 0 w 8494"/>
              <a:gd name="connsiteY0" fmla="*/ 0 h 34214"/>
              <a:gd name="connsiteX1" fmla="*/ 8495 w 8494"/>
              <a:gd name="connsiteY1" fmla="*/ 0 h 34214"/>
              <a:gd name="connsiteX2" fmla="*/ 8495 w 8494"/>
              <a:gd name="connsiteY2" fmla="*/ 34215 h 34214"/>
              <a:gd name="connsiteX3" fmla="*/ 0 w 8494"/>
              <a:gd name="connsiteY3" fmla="*/ 34215 h 34214"/>
            </a:gdLst>
            <a:ahLst/>
            <a:cxnLst>
              <a:cxn ang="0">
                <a:pos x="connsiteX0" y="connsiteY0"/>
              </a:cxn>
              <a:cxn ang="0">
                <a:pos x="connsiteX1" y="connsiteY1"/>
              </a:cxn>
              <a:cxn ang="0">
                <a:pos x="connsiteX2" y="connsiteY2"/>
              </a:cxn>
              <a:cxn ang="0">
                <a:pos x="connsiteX3" y="connsiteY3"/>
              </a:cxn>
            </a:cxnLst>
            <a:rect l="l" t="t" r="r" b="b"/>
            <a:pathLst>
              <a:path w="8494" h="34214">
                <a:moveTo>
                  <a:pt x="0" y="0"/>
                </a:moveTo>
                <a:lnTo>
                  <a:pt x="8495" y="0"/>
                </a:lnTo>
                <a:lnTo>
                  <a:pt x="8495" y="34215"/>
                </a:lnTo>
                <a:lnTo>
                  <a:pt x="0" y="34215"/>
                </a:lnTo>
                <a:close/>
              </a:path>
            </a:pathLst>
          </a:custGeom>
          <a:solidFill>
            <a:srgbClr val="FF0000"/>
          </a:solidFill>
          <a:ln w="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nvGrpSpPr>
          <p:cNvPr id="1508" name="Group 1507">
            <a:extLst>
              <a:ext uri="{FF2B5EF4-FFF2-40B4-BE49-F238E27FC236}">
                <a16:creationId xmlns:a16="http://schemas.microsoft.com/office/drawing/2014/main" id="{EC1717C1-B620-22BC-BB76-1CFA4939732B}"/>
              </a:ext>
            </a:extLst>
          </p:cNvPr>
          <p:cNvGrpSpPr/>
          <p:nvPr/>
        </p:nvGrpSpPr>
        <p:grpSpPr>
          <a:xfrm>
            <a:off x="400309" y="2028763"/>
            <a:ext cx="1897560" cy="1841831"/>
            <a:chOff x="2249218" y="4368571"/>
            <a:chExt cx="1955624" cy="1958363"/>
          </a:xfrm>
        </p:grpSpPr>
        <p:sp>
          <p:nvSpPr>
            <p:cNvPr id="1509" name="TextBox 1508">
              <a:extLst>
                <a:ext uri="{FF2B5EF4-FFF2-40B4-BE49-F238E27FC236}">
                  <a16:creationId xmlns:a16="http://schemas.microsoft.com/office/drawing/2014/main" id="{9E6EC0F8-6B4F-7560-388E-426D7704CF9E}"/>
                </a:ext>
              </a:extLst>
            </p:cNvPr>
            <p:cNvSpPr txBox="1"/>
            <p:nvPr/>
          </p:nvSpPr>
          <p:spPr>
            <a:xfrm>
              <a:off x="2565785" y="4368571"/>
              <a:ext cx="1535836" cy="46166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4D4D4F"/>
                  </a:solidFill>
                  <a:effectLst/>
                  <a:uLnTx/>
                  <a:uFillTx/>
                  <a:latin typeface="Calibri"/>
                  <a:ea typeface="ＭＳ Ｐゴシック"/>
                  <a:cs typeface="+mn-cs"/>
                </a:rPr>
                <a:t>Next-Gen Testing Services</a:t>
              </a:r>
            </a:p>
          </p:txBody>
        </p:sp>
        <p:sp>
          <p:nvSpPr>
            <p:cNvPr id="1510" name="TextBox 1509">
              <a:extLst>
                <a:ext uri="{FF2B5EF4-FFF2-40B4-BE49-F238E27FC236}">
                  <a16:creationId xmlns:a16="http://schemas.microsoft.com/office/drawing/2014/main" id="{AFF21BEB-13A7-12C9-1BB2-F069254B2EAD}"/>
                </a:ext>
              </a:extLst>
            </p:cNvPr>
            <p:cNvSpPr txBox="1"/>
            <p:nvPr/>
          </p:nvSpPr>
          <p:spPr>
            <a:xfrm>
              <a:off x="2592622" y="5103793"/>
              <a:ext cx="1612220" cy="46166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it-IT" sz="1100" b="0" i="0" u="none" strike="noStrike" kern="0" cap="none" spc="0" normalizeH="0" baseline="0" noProof="0">
                  <a:ln>
                    <a:noFill/>
                  </a:ln>
                  <a:solidFill>
                    <a:prstClr val="black"/>
                  </a:solidFill>
                  <a:effectLst/>
                  <a:uLnTx/>
                  <a:uFillTx/>
                  <a:latin typeface="Calibri"/>
                  <a:ea typeface="+mn-ea"/>
                  <a:cs typeface="+mn-cs"/>
                </a:rPr>
                <a:t>Multi Channel &amp; CX Assurance</a:t>
              </a:r>
            </a:p>
          </p:txBody>
        </p:sp>
        <p:sp>
          <p:nvSpPr>
            <p:cNvPr id="1511" name="TextBox 1510">
              <a:extLst>
                <a:ext uri="{FF2B5EF4-FFF2-40B4-BE49-F238E27FC236}">
                  <a16:creationId xmlns:a16="http://schemas.microsoft.com/office/drawing/2014/main" id="{FC13E359-37A9-15BD-46E9-F8362953EDF8}"/>
                </a:ext>
              </a:extLst>
            </p:cNvPr>
            <p:cNvSpPr txBox="1"/>
            <p:nvPr/>
          </p:nvSpPr>
          <p:spPr>
            <a:xfrm>
              <a:off x="2592622" y="4723055"/>
              <a:ext cx="1612220" cy="46166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Legacy Modernization &amp; Cloud Testing</a:t>
              </a:r>
            </a:p>
          </p:txBody>
        </p:sp>
        <p:sp>
          <p:nvSpPr>
            <p:cNvPr id="1512" name="TextBox 1511">
              <a:extLst>
                <a:ext uri="{FF2B5EF4-FFF2-40B4-BE49-F238E27FC236}">
                  <a16:creationId xmlns:a16="http://schemas.microsoft.com/office/drawing/2014/main" id="{0C39C97D-7EA7-4131-896B-D94287D2A756}"/>
                </a:ext>
              </a:extLst>
            </p:cNvPr>
            <p:cNvSpPr txBox="1"/>
            <p:nvPr/>
          </p:nvSpPr>
          <p:spPr>
            <a:xfrm>
              <a:off x="2592622" y="5484531"/>
              <a:ext cx="1612220" cy="46166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0000"/>
                </a:buClr>
                <a:buSzPct val="80000"/>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Data and AI Testing, IIOT Testing</a:t>
              </a:r>
            </a:p>
          </p:txBody>
        </p:sp>
        <p:sp>
          <p:nvSpPr>
            <p:cNvPr id="1513" name="TextBox 1512">
              <a:extLst>
                <a:ext uri="{FF2B5EF4-FFF2-40B4-BE49-F238E27FC236}">
                  <a16:creationId xmlns:a16="http://schemas.microsoft.com/office/drawing/2014/main" id="{AFA394A0-42F9-79B0-B85A-A7250ECBDBDB}"/>
                </a:ext>
              </a:extLst>
            </p:cNvPr>
            <p:cNvSpPr txBox="1"/>
            <p:nvPr/>
          </p:nvSpPr>
          <p:spPr>
            <a:xfrm>
              <a:off x="2592622" y="5865269"/>
              <a:ext cx="161222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Calibri"/>
                  <a:ea typeface="+mn-ea"/>
                  <a:cs typeface="+mn-cs"/>
                </a:rPr>
                <a:t>Business Resilience Testing</a:t>
              </a:r>
            </a:p>
          </p:txBody>
        </p:sp>
        <p:cxnSp>
          <p:nvCxnSpPr>
            <p:cNvPr id="1514" name="Straight Connector 1513">
              <a:extLst>
                <a:ext uri="{FF2B5EF4-FFF2-40B4-BE49-F238E27FC236}">
                  <a16:creationId xmlns:a16="http://schemas.microsoft.com/office/drawing/2014/main" id="{10ED4F33-5CB5-B278-990F-1E42BC446C2C}"/>
                </a:ext>
              </a:extLst>
            </p:cNvPr>
            <p:cNvCxnSpPr>
              <a:cxnSpLocks/>
            </p:cNvCxnSpPr>
            <p:nvPr/>
          </p:nvCxnSpPr>
          <p:spPr>
            <a:xfrm flipH="1">
              <a:off x="2684052" y="5144739"/>
              <a:ext cx="1313364" cy="0"/>
            </a:xfrm>
            <a:prstGeom prst="line">
              <a:avLst/>
            </a:prstGeom>
            <a:noFill/>
            <a:ln w="6350" cap="flat" cmpd="sng" algn="ctr">
              <a:solidFill>
                <a:sysClr val="window" lastClr="FFFFFF">
                  <a:lumMod val="85000"/>
                </a:sysClr>
              </a:solidFill>
              <a:prstDash val="solid"/>
              <a:miter lim="800000"/>
            </a:ln>
            <a:effectLst/>
          </p:spPr>
        </p:cxnSp>
        <p:cxnSp>
          <p:nvCxnSpPr>
            <p:cNvPr id="1515" name="Straight Connector 1514">
              <a:extLst>
                <a:ext uri="{FF2B5EF4-FFF2-40B4-BE49-F238E27FC236}">
                  <a16:creationId xmlns:a16="http://schemas.microsoft.com/office/drawing/2014/main" id="{CC309472-A118-CBEA-5D48-02A1E42384FC}"/>
                </a:ext>
              </a:extLst>
            </p:cNvPr>
            <p:cNvCxnSpPr>
              <a:cxnSpLocks/>
            </p:cNvCxnSpPr>
            <p:nvPr/>
          </p:nvCxnSpPr>
          <p:spPr>
            <a:xfrm flipH="1">
              <a:off x="2249218" y="4775444"/>
              <a:ext cx="1755819" cy="0"/>
            </a:xfrm>
            <a:prstGeom prst="line">
              <a:avLst/>
            </a:prstGeom>
            <a:noFill/>
            <a:ln w="6350" cap="flat" cmpd="sng" algn="ctr">
              <a:solidFill>
                <a:srgbClr val="4C4C4E"/>
              </a:solidFill>
              <a:prstDash val="solid"/>
              <a:miter lim="800000"/>
            </a:ln>
            <a:effectLst/>
          </p:spPr>
        </p:cxnSp>
        <p:cxnSp>
          <p:nvCxnSpPr>
            <p:cNvPr id="1516" name="Straight Connector 1515">
              <a:extLst>
                <a:ext uri="{FF2B5EF4-FFF2-40B4-BE49-F238E27FC236}">
                  <a16:creationId xmlns:a16="http://schemas.microsoft.com/office/drawing/2014/main" id="{9E75C663-21A3-C4D5-2EBC-FCDD8845C7E5}"/>
                </a:ext>
              </a:extLst>
            </p:cNvPr>
            <p:cNvCxnSpPr>
              <a:cxnSpLocks/>
            </p:cNvCxnSpPr>
            <p:nvPr/>
          </p:nvCxnSpPr>
          <p:spPr>
            <a:xfrm flipH="1">
              <a:off x="2684052" y="5530251"/>
              <a:ext cx="1313364" cy="0"/>
            </a:xfrm>
            <a:prstGeom prst="line">
              <a:avLst/>
            </a:prstGeom>
            <a:noFill/>
            <a:ln w="6350" cap="flat" cmpd="sng" algn="ctr">
              <a:solidFill>
                <a:sysClr val="window" lastClr="FFFFFF">
                  <a:lumMod val="85000"/>
                </a:sysClr>
              </a:solidFill>
              <a:prstDash val="solid"/>
              <a:miter lim="800000"/>
            </a:ln>
            <a:effectLst/>
          </p:spPr>
        </p:cxnSp>
        <p:cxnSp>
          <p:nvCxnSpPr>
            <p:cNvPr id="1517" name="Straight Connector 1516">
              <a:extLst>
                <a:ext uri="{FF2B5EF4-FFF2-40B4-BE49-F238E27FC236}">
                  <a16:creationId xmlns:a16="http://schemas.microsoft.com/office/drawing/2014/main" id="{1759FF64-5349-0F22-57C2-8106BD39E738}"/>
                </a:ext>
              </a:extLst>
            </p:cNvPr>
            <p:cNvCxnSpPr>
              <a:cxnSpLocks/>
            </p:cNvCxnSpPr>
            <p:nvPr/>
          </p:nvCxnSpPr>
          <p:spPr>
            <a:xfrm flipH="1">
              <a:off x="2684052" y="5904415"/>
              <a:ext cx="1313364" cy="0"/>
            </a:xfrm>
            <a:prstGeom prst="line">
              <a:avLst/>
            </a:prstGeom>
            <a:noFill/>
            <a:ln w="6350" cap="flat" cmpd="sng" algn="ctr">
              <a:solidFill>
                <a:sysClr val="window" lastClr="FFFFFF">
                  <a:lumMod val="85000"/>
                </a:sysClr>
              </a:solidFill>
              <a:prstDash val="solid"/>
              <a:miter lim="800000"/>
            </a:ln>
            <a:effectLst/>
          </p:spPr>
        </p:cxnSp>
        <p:pic>
          <p:nvPicPr>
            <p:cNvPr id="1518" name="Graphic 1517">
              <a:extLst>
                <a:ext uri="{FF2B5EF4-FFF2-40B4-BE49-F238E27FC236}">
                  <a16:creationId xmlns:a16="http://schemas.microsoft.com/office/drawing/2014/main" id="{517CC579-66F9-8B6C-40BF-72022FAF1F21}"/>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79284" y="4443069"/>
              <a:ext cx="312770" cy="312770"/>
            </a:xfrm>
            <a:prstGeom prst="rect">
              <a:avLst/>
            </a:prstGeom>
          </p:spPr>
        </p:pic>
        <p:sp>
          <p:nvSpPr>
            <p:cNvPr id="1519" name="Freeform: Shape 1518">
              <a:extLst>
                <a:ext uri="{FF2B5EF4-FFF2-40B4-BE49-F238E27FC236}">
                  <a16:creationId xmlns:a16="http://schemas.microsoft.com/office/drawing/2014/main" id="{C1829688-63C3-3D17-BB47-975F9049723C}"/>
                </a:ext>
              </a:extLst>
            </p:cNvPr>
            <p:cNvSpPr/>
            <p:nvPr/>
          </p:nvSpPr>
          <p:spPr>
            <a:xfrm>
              <a:off x="2457030" y="5752998"/>
              <a:ext cx="10058" cy="20116"/>
            </a:xfrm>
            <a:custGeom>
              <a:avLst/>
              <a:gdLst>
                <a:gd name="connsiteX0" fmla="*/ 0 w 11053"/>
                <a:gd name="connsiteY0" fmla="*/ 0 h 22107"/>
                <a:gd name="connsiteX1" fmla="*/ 11054 w 11053"/>
                <a:gd name="connsiteY1" fmla="*/ 0 h 22107"/>
                <a:gd name="connsiteX2" fmla="*/ 11054 w 11053"/>
                <a:gd name="connsiteY2" fmla="*/ 22107 h 22107"/>
                <a:gd name="connsiteX3" fmla="*/ 0 w 11053"/>
                <a:gd name="connsiteY3" fmla="*/ 22107 h 22107"/>
              </a:gdLst>
              <a:ahLst/>
              <a:cxnLst>
                <a:cxn ang="0">
                  <a:pos x="connsiteX0" y="connsiteY0"/>
                </a:cxn>
                <a:cxn ang="0">
                  <a:pos x="connsiteX1" y="connsiteY1"/>
                </a:cxn>
                <a:cxn ang="0">
                  <a:pos x="connsiteX2" y="connsiteY2"/>
                </a:cxn>
                <a:cxn ang="0">
                  <a:pos x="connsiteX3" y="connsiteY3"/>
                </a:cxn>
              </a:cxnLst>
              <a:rect l="l" t="t" r="r" b="b"/>
              <a:pathLst>
                <a:path w="11053" h="22107">
                  <a:moveTo>
                    <a:pt x="0" y="0"/>
                  </a:moveTo>
                  <a:lnTo>
                    <a:pt x="11054" y="0"/>
                  </a:lnTo>
                  <a:lnTo>
                    <a:pt x="11054" y="22107"/>
                  </a:lnTo>
                  <a:lnTo>
                    <a:pt x="0" y="22107"/>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0" name="Freeform: Shape 1519">
              <a:extLst>
                <a:ext uri="{FF2B5EF4-FFF2-40B4-BE49-F238E27FC236}">
                  <a16:creationId xmlns:a16="http://schemas.microsoft.com/office/drawing/2014/main" id="{0E944027-C695-61AB-7673-508DDC6858A3}"/>
                </a:ext>
              </a:extLst>
            </p:cNvPr>
            <p:cNvSpPr/>
            <p:nvPr/>
          </p:nvSpPr>
          <p:spPr>
            <a:xfrm>
              <a:off x="2366504" y="5566917"/>
              <a:ext cx="191109" cy="191109"/>
            </a:xfrm>
            <a:custGeom>
              <a:avLst/>
              <a:gdLst>
                <a:gd name="connsiteX0" fmla="*/ 105010 w 210019"/>
                <a:gd name="connsiteY0" fmla="*/ 210020 h 210019"/>
                <a:gd name="connsiteX1" fmla="*/ 0 w 210019"/>
                <a:gd name="connsiteY1" fmla="*/ 105010 h 210019"/>
                <a:gd name="connsiteX2" fmla="*/ 105010 w 210019"/>
                <a:gd name="connsiteY2" fmla="*/ 0 h 210019"/>
                <a:gd name="connsiteX3" fmla="*/ 210020 w 210019"/>
                <a:gd name="connsiteY3" fmla="*/ 105010 h 210019"/>
                <a:gd name="connsiteX4" fmla="*/ 105010 w 210019"/>
                <a:gd name="connsiteY4" fmla="*/ 210020 h 210019"/>
                <a:gd name="connsiteX5" fmla="*/ 105010 w 210019"/>
                <a:gd name="connsiteY5" fmla="*/ 11054 h 210019"/>
                <a:gd name="connsiteX6" fmla="*/ 11054 w 210019"/>
                <a:gd name="connsiteY6" fmla="*/ 105010 h 210019"/>
                <a:gd name="connsiteX7" fmla="*/ 105010 w 210019"/>
                <a:gd name="connsiteY7" fmla="*/ 198966 h 210019"/>
                <a:gd name="connsiteX8" fmla="*/ 198966 w 210019"/>
                <a:gd name="connsiteY8" fmla="*/ 105010 h 210019"/>
                <a:gd name="connsiteX9" fmla="*/ 105010 w 210019"/>
                <a:gd name="connsiteY9" fmla="*/ 11054 h 21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019" h="210019">
                  <a:moveTo>
                    <a:pt x="105010" y="210020"/>
                  </a:moveTo>
                  <a:cubicBezTo>
                    <a:pt x="47014" y="210020"/>
                    <a:pt x="0" y="163005"/>
                    <a:pt x="0" y="105010"/>
                  </a:cubicBezTo>
                  <a:cubicBezTo>
                    <a:pt x="0" y="47014"/>
                    <a:pt x="47014" y="0"/>
                    <a:pt x="105010" y="0"/>
                  </a:cubicBezTo>
                  <a:cubicBezTo>
                    <a:pt x="163006" y="0"/>
                    <a:pt x="210020" y="47014"/>
                    <a:pt x="210020" y="105010"/>
                  </a:cubicBezTo>
                  <a:cubicBezTo>
                    <a:pt x="209959" y="162980"/>
                    <a:pt x="162980" y="209959"/>
                    <a:pt x="105010" y="210020"/>
                  </a:cubicBezTo>
                  <a:close/>
                  <a:moveTo>
                    <a:pt x="105010" y="11054"/>
                  </a:moveTo>
                  <a:cubicBezTo>
                    <a:pt x="53119" y="11054"/>
                    <a:pt x="11054" y="53119"/>
                    <a:pt x="11054" y="105010"/>
                  </a:cubicBezTo>
                  <a:cubicBezTo>
                    <a:pt x="11054" y="156901"/>
                    <a:pt x="53119" y="198966"/>
                    <a:pt x="105010" y="198966"/>
                  </a:cubicBezTo>
                  <a:cubicBezTo>
                    <a:pt x="156901" y="198966"/>
                    <a:pt x="198966" y="156901"/>
                    <a:pt x="198966" y="105010"/>
                  </a:cubicBezTo>
                  <a:cubicBezTo>
                    <a:pt x="198905" y="53145"/>
                    <a:pt x="156875" y="11115"/>
                    <a:pt x="105010" y="11054"/>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1" name="Freeform: Shape 1520">
              <a:extLst>
                <a:ext uri="{FF2B5EF4-FFF2-40B4-BE49-F238E27FC236}">
                  <a16:creationId xmlns:a16="http://schemas.microsoft.com/office/drawing/2014/main" id="{7C8AF7AF-C0D2-BFD6-1E37-0C38419A0088}"/>
                </a:ext>
              </a:extLst>
            </p:cNvPr>
            <p:cNvSpPr/>
            <p:nvPr/>
          </p:nvSpPr>
          <p:spPr>
            <a:xfrm>
              <a:off x="2396019" y="5593461"/>
              <a:ext cx="132080" cy="33807"/>
            </a:xfrm>
            <a:custGeom>
              <a:avLst/>
              <a:gdLst>
                <a:gd name="connsiteX0" fmla="*/ 72575 w 145149"/>
                <a:gd name="connsiteY0" fmla="*/ 37153 h 37152"/>
                <a:gd name="connsiteX1" fmla="*/ 0 w 145149"/>
                <a:gd name="connsiteY1" fmla="*/ 7983 h 37152"/>
                <a:gd name="connsiteX2" fmla="*/ 7648 w 145149"/>
                <a:gd name="connsiteY2" fmla="*/ 0 h 37152"/>
                <a:gd name="connsiteX3" fmla="*/ 72575 w 145149"/>
                <a:gd name="connsiteY3" fmla="*/ 26099 h 37152"/>
                <a:gd name="connsiteX4" fmla="*/ 137501 w 145149"/>
                <a:gd name="connsiteY4" fmla="*/ 0 h 37152"/>
                <a:gd name="connsiteX5" fmla="*/ 145149 w 145149"/>
                <a:gd name="connsiteY5" fmla="*/ 7983 h 37152"/>
                <a:gd name="connsiteX6" fmla="*/ 72575 w 145149"/>
                <a:gd name="connsiteY6" fmla="*/ 37153 h 3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149" h="37152">
                  <a:moveTo>
                    <a:pt x="72575" y="37153"/>
                  </a:moveTo>
                  <a:cubicBezTo>
                    <a:pt x="45515" y="37214"/>
                    <a:pt x="19491" y="26754"/>
                    <a:pt x="0" y="7983"/>
                  </a:cubicBezTo>
                  <a:lnTo>
                    <a:pt x="7648" y="0"/>
                  </a:lnTo>
                  <a:cubicBezTo>
                    <a:pt x="25084" y="16795"/>
                    <a:pt x="48366" y="26153"/>
                    <a:pt x="72575" y="26099"/>
                  </a:cubicBezTo>
                  <a:cubicBezTo>
                    <a:pt x="96783" y="26153"/>
                    <a:pt x="120065" y="16795"/>
                    <a:pt x="137501" y="0"/>
                  </a:cubicBezTo>
                  <a:lnTo>
                    <a:pt x="145149" y="7983"/>
                  </a:lnTo>
                  <a:cubicBezTo>
                    <a:pt x="125659" y="26754"/>
                    <a:pt x="99634" y="37214"/>
                    <a:pt x="72575" y="37153"/>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2" name="Freeform: Shape 1521">
              <a:extLst>
                <a:ext uri="{FF2B5EF4-FFF2-40B4-BE49-F238E27FC236}">
                  <a16:creationId xmlns:a16="http://schemas.microsoft.com/office/drawing/2014/main" id="{1290243D-908A-77C6-B62B-4C0E8690C5A7}"/>
                </a:ext>
              </a:extLst>
            </p:cNvPr>
            <p:cNvSpPr/>
            <p:nvPr/>
          </p:nvSpPr>
          <p:spPr>
            <a:xfrm>
              <a:off x="2396019" y="5697678"/>
              <a:ext cx="132080" cy="33807"/>
            </a:xfrm>
            <a:custGeom>
              <a:avLst/>
              <a:gdLst>
                <a:gd name="connsiteX0" fmla="*/ 137501 w 145149"/>
                <a:gd name="connsiteY0" fmla="*/ 37152 h 37152"/>
                <a:gd name="connsiteX1" fmla="*/ 7648 w 145149"/>
                <a:gd name="connsiteY1" fmla="*/ 37152 h 37152"/>
                <a:gd name="connsiteX2" fmla="*/ 0 w 145149"/>
                <a:gd name="connsiteY2" fmla="*/ 29169 h 37152"/>
                <a:gd name="connsiteX3" fmla="*/ 145149 w 145149"/>
                <a:gd name="connsiteY3" fmla="*/ 29169 h 37152"/>
              </a:gdLst>
              <a:ahLst/>
              <a:cxnLst>
                <a:cxn ang="0">
                  <a:pos x="connsiteX0" y="connsiteY0"/>
                </a:cxn>
                <a:cxn ang="0">
                  <a:pos x="connsiteX1" y="connsiteY1"/>
                </a:cxn>
                <a:cxn ang="0">
                  <a:pos x="connsiteX2" y="connsiteY2"/>
                </a:cxn>
                <a:cxn ang="0">
                  <a:pos x="connsiteX3" y="connsiteY3"/>
                </a:cxn>
              </a:cxnLst>
              <a:rect l="l" t="t" r="r" b="b"/>
              <a:pathLst>
                <a:path w="145149" h="37152">
                  <a:moveTo>
                    <a:pt x="137501" y="37152"/>
                  </a:moveTo>
                  <a:cubicBezTo>
                    <a:pt x="101209" y="2358"/>
                    <a:pt x="43940" y="2358"/>
                    <a:pt x="7648" y="37152"/>
                  </a:cubicBezTo>
                  <a:lnTo>
                    <a:pt x="0" y="29169"/>
                  </a:lnTo>
                  <a:cubicBezTo>
                    <a:pt x="40568" y="-9723"/>
                    <a:pt x="104582" y="-9723"/>
                    <a:pt x="145149" y="29169"/>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3" name="Freeform: Shape 1522">
              <a:extLst>
                <a:ext uri="{FF2B5EF4-FFF2-40B4-BE49-F238E27FC236}">
                  <a16:creationId xmlns:a16="http://schemas.microsoft.com/office/drawing/2014/main" id="{16D64F13-3215-BB05-80D9-B188699E3C27}"/>
                </a:ext>
              </a:extLst>
            </p:cNvPr>
            <p:cNvSpPr/>
            <p:nvPr/>
          </p:nvSpPr>
          <p:spPr>
            <a:xfrm>
              <a:off x="2411766" y="5566917"/>
              <a:ext cx="100583" cy="191109"/>
            </a:xfrm>
            <a:custGeom>
              <a:avLst/>
              <a:gdLst>
                <a:gd name="connsiteX0" fmla="*/ 55268 w 110536"/>
                <a:gd name="connsiteY0" fmla="*/ 210020 h 210019"/>
                <a:gd name="connsiteX1" fmla="*/ 0 w 110536"/>
                <a:gd name="connsiteY1" fmla="*/ 105010 h 210019"/>
                <a:gd name="connsiteX2" fmla="*/ 55268 w 110536"/>
                <a:gd name="connsiteY2" fmla="*/ 0 h 210019"/>
                <a:gd name="connsiteX3" fmla="*/ 110537 w 110536"/>
                <a:gd name="connsiteY3" fmla="*/ 105010 h 210019"/>
                <a:gd name="connsiteX4" fmla="*/ 55268 w 110536"/>
                <a:gd name="connsiteY4" fmla="*/ 210020 h 210019"/>
                <a:gd name="connsiteX5" fmla="*/ 55268 w 110536"/>
                <a:gd name="connsiteY5" fmla="*/ 11054 h 210019"/>
                <a:gd name="connsiteX6" fmla="*/ 11054 w 110536"/>
                <a:gd name="connsiteY6" fmla="*/ 105010 h 210019"/>
                <a:gd name="connsiteX7" fmla="*/ 55268 w 110536"/>
                <a:gd name="connsiteY7" fmla="*/ 198966 h 210019"/>
                <a:gd name="connsiteX8" fmla="*/ 99483 w 110536"/>
                <a:gd name="connsiteY8" fmla="*/ 105010 h 210019"/>
                <a:gd name="connsiteX9" fmla="*/ 55268 w 110536"/>
                <a:gd name="connsiteY9" fmla="*/ 11054 h 21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36" h="210019">
                  <a:moveTo>
                    <a:pt x="55268" y="210020"/>
                  </a:moveTo>
                  <a:cubicBezTo>
                    <a:pt x="24285" y="210020"/>
                    <a:pt x="0" y="163907"/>
                    <a:pt x="0" y="105010"/>
                  </a:cubicBezTo>
                  <a:cubicBezTo>
                    <a:pt x="0" y="46113"/>
                    <a:pt x="24285" y="0"/>
                    <a:pt x="55268" y="0"/>
                  </a:cubicBezTo>
                  <a:cubicBezTo>
                    <a:pt x="86252" y="0"/>
                    <a:pt x="110537" y="46113"/>
                    <a:pt x="110537" y="105010"/>
                  </a:cubicBezTo>
                  <a:cubicBezTo>
                    <a:pt x="110537" y="163907"/>
                    <a:pt x="86252" y="210020"/>
                    <a:pt x="55268" y="210020"/>
                  </a:cubicBezTo>
                  <a:close/>
                  <a:moveTo>
                    <a:pt x="55268" y="11054"/>
                  </a:moveTo>
                  <a:cubicBezTo>
                    <a:pt x="31291" y="11054"/>
                    <a:pt x="11054" y="54068"/>
                    <a:pt x="11054" y="105010"/>
                  </a:cubicBezTo>
                  <a:cubicBezTo>
                    <a:pt x="11054" y="155952"/>
                    <a:pt x="31291" y="198966"/>
                    <a:pt x="55268" y="198966"/>
                  </a:cubicBezTo>
                  <a:cubicBezTo>
                    <a:pt x="79246" y="198966"/>
                    <a:pt x="99483" y="155952"/>
                    <a:pt x="99483" y="105010"/>
                  </a:cubicBezTo>
                  <a:cubicBezTo>
                    <a:pt x="99483" y="54068"/>
                    <a:pt x="79246" y="11054"/>
                    <a:pt x="55268" y="11054"/>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4" name="Freeform: Shape 1523">
              <a:extLst>
                <a:ext uri="{FF2B5EF4-FFF2-40B4-BE49-F238E27FC236}">
                  <a16:creationId xmlns:a16="http://schemas.microsoft.com/office/drawing/2014/main" id="{829EAE65-F5F2-CB1F-6BDA-1AD3710553F1}"/>
                </a:ext>
              </a:extLst>
            </p:cNvPr>
            <p:cNvSpPr/>
            <p:nvPr/>
          </p:nvSpPr>
          <p:spPr>
            <a:xfrm>
              <a:off x="2477146" y="5657443"/>
              <a:ext cx="75437" cy="10058"/>
            </a:xfrm>
            <a:custGeom>
              <a:avLst/>
              <a:gdLst>
                <a:gd name="connsiteX0" fmla="*/ 0 w 82902"/>
                <a:gd name="connsiteY0" fmla="*/ 0 h 11053"/>
                <a:gd name="connsiteX1" fmla="*/ 82903 w 82902"/>
                <a:gd name="connsiteY1" fmla="*/ 0 h 11053"/>
                <a:gd name="connsiteX2" fmla="*/ 82903 w 82902"/>
                <a:gd name="connsiteY2" fmla="*/ 11054 h 11053"/>
                <a:gd name="connsiteX3" fmla="*/ 0 w 82902"/>
                <a:gd name="connsiteY3" fmla="*/ 11054 h 11053"/>
              </a:gdLst>
              <a:ahLst/>
              <a:cxnLst>
                <a:cxn ang="0">
                  <a:pos x="connsiteX0" y="connsiteY0"/>
                </a:cxn>
                <a:cxn ang="0">
                  <a:pos x="connsiteX1" y="connsiteY1"/>
                </a:cxn>
                <a:cxn ang="0">
                  <a:pos x="connsiteX2" y="connsiteY2"/>
                </a:cxn>
                <a:cxn ang="0">
                  <a:pos x="connsiteX3" y="connsiteY3"/>
                </a:cxn>
              </a:cxnLst>
              <a:rect l="l" t="t" r="r" b="b"/>
              <a:pathLst>
                <a:path w="82902" h="11053">
                  <a:moveTo>
                    <a:pt x="0" y="0"/>
                  </a:moveTo>
                  <a:lnTo>
                    <a:pt x="82903" y="0"/>
                  </a:lnTo>
                  <a:lnTo>
                    <a:pt x="82903"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5" name="Freeform: Shape 1524">
              <a:extLst>
                <a:ext uri="{FF2B5EF4-FFF2-40B4-BE49-F238E27FC236}">
                  <a16:creationId xmlns:a16="http://schemas.microsoft.com/office/drawing/2014/main" id="{485B6AD4-64C5-D656-775C-2CD452430F08}"/>
                </a:ext>
              </a:extLst>
            </p:cNvPr>
            <p:cNvSpPr/>
            <p:nvPr/>
          </p:nvSpPr>
          <p:spPr>
            <a:xfrm>
              <a:off x="2371533" y="5657443"/>
              <a:ext cx="75437" cy="10058"/>
            </a:xfrm>
            <a:custGeom>
              <a:avLst/>
              <a:gdLst>
                <a:gd name="connsiteX0" fmla="*/ 0 w 82902"/>
                <a:gd name="connsiteY0" fmla="*/ 0 h 11053"/>
                <a:gd name="connsiteX1" fmla="*/ 82903 w 82902"/>
                <a:gd name="connsiteY1" fmla="*/ 0 h 11053"/>
                <a:gd name="connsiteX2" fmla="*/ 82903 w 82902"/>
                <a:gd name="connsiteY2" fmla="*/ 11054 h 11053"/>
                <a:gd name="connsiteX3" fmla="*/ 0 w 82902"/>
                <a:gd name="connsiteY3" fmla="*/ 11054 h 11053"/>
              </a:gdLst>
              <a:ahLst/>
              <a:cxnLst>
                <a:cxn ang="0">
                  <a:pos x="connsiteX0" y="connsiteY0"/>
                </a:cxn>
                <a:cxn ang="0">
                  <a:pos x="connsiteX1" y="connsiteY1"/>
                </a:cxn>
                <a:cxn ang="0">
                  <a:pos x="connsiteX2" y="connsiteY2"/>
                </a:cxn>
                <a:cxn ang="0">
                  <a:pos x="connsiteX3" y="connsiteY3"/>
                </a:cxn>
              </a:cxnLst>
              <a:rect l="l" t="t" r="r" b="b"/>
              <a:pathLst>
                <a:path w="82902" h="11053">
                  <a:moveTo>
                    <a:pt x="0" y="0"/>
                  </a:moveTo>
                  <a:lnTo>
                    <a:pt x="82903" y="0"/>
                  </a:lnTo>
                  <a:lnTo>
                    <a:pt x="82903"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6" name="Freeform: Shape 1525">
              <a:extLst>
                <a:ext uri="{FF2B5EF4-FFF2-40B4-BE49-F238E27FC236}">
                  <a16:creationId xmlns:a16="http://schemas.microsoft.com/office/drawing/2014/main" id="{04C86E68-11FD-F624-2A61-41AE464996E4}"/>
                </a:ext>
              </a:extLst>
            </p:cNvPr>
            <p:cNvSpPr/>
            <p:nvPr/>
          </p:nvSpPr>
          <p:spPr>
            <a:xfrm>
              <a:off x="2492234" y="5783173"/>
              <a:ext cx="25146" cy="10058"/>
            </a:xfrm>
            <a:custGeom>
              <a:avLst/>
              <a:gdLst>
                <a:gd name="connsiteX0" fmla="*/ 0 w 27634"/>
                <a:gd name="connsiteY0" fmla="*/ 0 h 11053"/>
                <a:gd name="connsiteX1" fmla="*/ 27634 w 27634"/>
                <a:gd name="connsiteY1" fmla="*/ 0 h 11053"/>
                <a:gd name="connsiteX2" fmla="*/ 27634 w 27634"/>
                <a:gd name="connsiteY2" fmla="*/ 11054 h 11053"/>
                <a:gd name="connsiteX3" fmla="*/ 0 w 27634"/>
                <a:gd name="connsiteY3" fmla="*/ 11054 h 11053"/>
              </a:gdLst>
              <a:ahLst/>
              <a:cxnLst>
                <a:cxn ang="0">
                  <a:pos x="connsiteX0" y="connsiteY0"/>
                </a:cxn>
                <a:cxn ang="0">
                  <a:pos x="connsiteX1" y="connsiteY1"/>
                </a:cxn>
                <a:cxn ang="0">
                  <a:pos x="connsiteX2" y="connsiteY2"/>
                </a:cxn>
                <a:cxn ang="0">
                  <a:pos x="connsiteX3" y="connsiteY3"/>
                </a:cxn>
              </a:cxnLst>
              <a:rect l="l" t="t" r="r" b="b"/>
              <a:pathLst>
                <a:path w="27634" h="11053">
                  <a:moveTo>
                    <a:pt x="0" y="0"/>
                  </a:moveTo>
                  <a:lnTo>
                    <a:pt x="27634" y="0"/>
                  </a:lnTo>
                  <a:lnTo>
                    <a:pt x="27634"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7" name="Freeform: Shape 1526">
              <a:extLst>
                <a:ext uri="{FF2B5EF4-FFF2-40B4-BE49-F238E27FC236}">
                  <a16:creationId xmlns:a16="http://schemas.microsoft.com/office/drawing/2014/main" id="{AE114B54-178B-325A-9BBB-C7FFCBACB44F}"/>
                </a:ext>
              </a:extLst>
            </p:cNvPr>
            <p:cNvSpPr/>
            <p:nvPr/>
          </p:nvSpPr>
          <p:spPr>
            <a:xfrm>
              <a:off x="2562642" y="5783173"/>
              <a:ext cx="20116" cy="10058"/>
            </a:xfrm>
            <a:custGeom>
              <a:avLst/>
              <a:gdLst>
                <a:gd name="connsiteX0" fmla="*/ 0 w 22107"/>
                <a:gd name="connsiteY0" fmla="*/ 0 h 11053"/>
                <a:gd name="connsiteX1" fmla="*/ 22107 w 22107"/>
                <a:gd name="connsiteY1" fmla="*/ 0 h 11053"/>
                <a:gd name="connsiteX2" fmla="*/ 22107 w 22107"/>
                <a:gd name="connsiteY2" fmla="*/ 11054 h 11053"/>
                <a:gd name="connsiteX3" fmla="*/ 0 w 22107"/>
                <a:gd name="connsiteY3" fmla="*/ 11054 h 11053"/>
              </a:gdLst>
              <a:ahLst/>
              <a:cxnLst>
                <a:cxn ang="0">
                  <a:pos x="connsiteX0" y="connsiteY0"/>
                </a:cxn>
                <a:cxn ang="0">
                  <a:pos x="connsiteX1" y="connsiteY1"/>
                </a:cxn>
                <a:cxn ang="0">
                  <a:pos x="connsiteX2" y="connsiteY2"/>
                </a:cxn>
                <a:cxn ang="0">
                  <a:pos x="connsiteX3" y="connsiteY3"/>
                </a:cxn>
              </a:cxnLst>
              <a:rect l="l" t="t" r="r" b="b"/>
              <a:pathLst>
                <a:path w="22107" h="11053">
                  <a:moveTo>
                    <a:pt x="0" y="0"/>
                  </a:moveTo>
                  <a:lnTo>
                    <a:pt x="22107" y="0"/>
                  </a:lnTo>
                  <a:lnTo>
                    <a:pt x="22107"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8" name="Freeform: Shape 1527">
              <a:extLst>
                <a:ext uri="{FF2B5EF4-FFF2-40B4-BE49-F238E27FC236}">
                  <a16:creationId xmlns:a16="http://schemas.microsoft.com/office/drawing/2014/main" id="{A9E086F2-B375-4609-635C-F50E0A8E55BB}"/>
                </a:ext>
              </a:extLst>
            </p:cNvPr>
            <p:cNvSpPr/>
            <p:nvPr/>
          </p:nvSpPr>
          <p:spPr>
            <a:xfrm>
              <a:off x="2421825" y="5783173"/>
              <a:ext cx="25146" cy="10058"/>
            </a:xfrm>
            <a:custGeom>
              <a:avLst/>
              <a:gdLst>
                <a:gd name="connsiteX0" fmla="*/ 0 w 27634"/>
                <a:gd name="connsiteY0" fmla="*/ 0 h 11053"/>
                <a:gd name="connsiteX1" fmla="*/ 27634 w 27634"/>
                <a:gd name="connsiteY1" fmla="*/ 0 h 11053"/>
                <a:gd name="connsiteX2" fmla="*/ 27634 w 27634"/>
                <a:gd name="connsiteY2" fmla="*/ 11054 h 11053"/>
                <a:gd name="connsiteX3" fmla="*/ 0 w 27634"/>
                <a:gd name="connsiteY3" fmla="*/ 11054 h 11053"/>
              </a:gdLst>
              <a:ahLst/>
              <a:cxnLst>
                <a:cxn ang="0">
                  <a:pos x="connsiteX0" y="connsiteY0"/>
                </a:cxn>
                <a:cxn ang="0">
                  <a:pos x="connsiteX1" y="connsiteY1"/>
                </a:cxn>
                <a:cxn ang="0">
                  <a:pos x="connsiteX2" y="connsiteY2"/>
                </a:cxn>
                <a:cxn ang="0">
                  <a:pos x="connsiteX3" y="connsiteY3"/>
                </a:cxn>
              </a:cxnLst>
              <a:rect l="l" t="t" r="r" b="b"/>
              <a:pathLst>
                <a:path w="27634" h="11053">
                  <a:moveTo>
                    <a:pt x="0" y="0"/>
                  </a:moveTo>
                  <a:lnTo>
                    <a:pt x="27634" y="0"/>
                  </a:lnTo>
                  <a:lnTo>
                    <a:pt x="27634"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29" name="Freeform: Shape 1528">
              <a:extLst>
                <a:ext uri="{FF2B5EF4-FFF2-40B4-BE49-F238E27FC236}">
                  <a16:creationId xmlns:a16="http://schemas.microsoft.com/office/drawing/2014/main" id="{E20F9738-9CA4-5DF3-C4EA-59BCD86B1193}"/>
                </a:ext>
              </a:extLst>
            </p:cNvPr>
            <p:cNvSpPr/>
            <p:nvPr/>
          </p:nvSpPr>
          <p:spPr>
            <a:xfrm>
              <a:off x="2341357" y="5783173"/>
              <a:ext cx="35204" cy="10058"/>
            </a:xfrm>
            <a:custGeom>
              <a:avLst/>
              <a:gdLst>
                <a:gd name="connsiteX0" fmla="*/ 0 w 38687"/>
                <a:gd name="connsiteY0" fmla="*/ 0 h 11053"/>
                <a:gd name="connsiteX1" fmla="*/ 38688 w 38687"/>
                <a:gd name="connsiteY1" fmla="*/ 0 h 11053"/>
                <a:gd name="connsiteX2" fmla="*/ 38688 w 38687"/>
                <a:gd name="connsiteY2" fmla="*/ 11054 h 11053"/>
                <a:gd name="connsiteX3" fmla="*/ 0 w 38687"/>
                <a:gd name="connsiteY3" fmla="*/ 11054 h 11053"/>
              </a:gdLst>
              <a:ahLst/>
              <a:cxnLst>
                <a:cxn ang="0">
                  <a:pos x="connsiteX0" y="connsiteY0"/>
                </a:cxn>
                <a:cxn ang="0">
                  <a:pos x="connsiteX1" y="connsiteY1"/>
                </a:cxn>
                <a:cxn ang="0">
                  <a:pos x="connsiteX2" y="connsiteY2"/>
                </a:cxn>
                <a:cxn ang="0">
                  <a:pos x="connsiteX3" y="connsiteY3"/>
                </a:cxn>
              </a:cxnLst>
              <a:rect l="l" t="t" r="r" b="b"/>
              <a:pathLst>
                <a:path w="38687" h="11053">
                  <a:moveTo>
                    <a:pt x="0" y="0"/>
                  </a:moveTo>
                  <a:lnTo>
                    <a:pt x="38688" y="0"/>
                  </a:lnTo>
                  <a:lnTo>
                    <a:pt x="38688" y="11054"/>
                  </a:lnTo>
                  <a:lnTo>
                    <a:pt x="0" y="11054"/>
                  </a:ln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0" name="Freeform: Shape 1529">
              <a:extLst>
                <a:ext uri="{FF2B5EF4-FFF2-40B4-BE49-F238E27FC236}">
                  <a16:creationId xmlns:a16="http://schemas.microsoft.com/office/drawing/2014/main" id="{D0C05CFE-C14A-71DE-B978-09277878B32A}"/>
                </a:ext>
              </a:extLst>
            </p:cNvPr>
            <p:cNvSpPr/>
            <p:nvPr/>
          </p:nvSpPr>
          <p:spPr>
            <a:xfrm>
              <a:off x="2441942" y="5642305"/>
              <a:ext cx="40233" cy="40233"/>
            </a:xfrm>
            <a:custGeom>
              <a:avLst/>
              <a:gdLst>
                <a:gd name="connsiteX0" fmla="*/ 22107 w 44214"/>
                <a:gd name="connsiteY0" fmla="*/ 44215 h 44214"/>
                <a:gd name="connsiteX1" fmla="*/ 0 w 44214"/>
                <a:gd name="connsiteY1" fmla="*/ 22107 h 44214"/>
                <a:gd name="connsiteX2" fmla="*/ 22107 w 44214"/>
                <a:gd name="connsiteY2" fmla="*/ 0 h 44214"/>
                <a:gd name="connsiteX3" fmla="*/ 44215 w 44214"/>
                <a:gd name="connsiteY3" fmla="*/ 22107 h 44214"/>
                <a:gd name="connsiteX4" fmla="*/ 22107 w 44214"/>
                <a:gd name="connsiteY4" fmla="*/ 44215 h 44214"/>
                <a:gd name="connsiteX5" fmla="*/ 22107 w 44214"/>
                <a:gd name="connsiteY5" fmla="*/ 11054 h 44214"/>
                <a:gd name="connsiteX6" fmla="*/ 10942 w 44214"/>
                <a:gd name="connsiteY6" fmla="*/ 22219 h 44214"/>
                <a:gd name="connsiteX7" fmla="*/ 22107 w 44214"/>
                <a:gd name="connsiteY7" fmla="*/ 33384 h 44214"/>
                <a:gd name="connsiteX8" fmla="*/ 33273 w 44214"/>
                <a:gd name="connsiteY8" fmla="*/ 22219 h 44214"/>
                <a:gd name="connsiteX9" fmla="*/ 22107 w 44214"/>
                <a:gd name="connsiteY9" fmla="*/ 11110 h 4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14" h="44214">
                  <a:moveTo>
                    <a:pt x="22107" y="44215"/>
                  </a:moveTo>
                  <a:cubicBezTo>
                    <a:pt x="9898" y="44215"/>
                    <a:pt x="0" y="34317"/>
                    <a:pt x="0" y="22107"/>
                  </a:cubicBezTo>
                  <a:cubicBezTo>
                    <a:pt x="0" y="9898"/>
                    <a:pt x="9898" y="0"/>
                    <a:pt x="22107" y="0"/>
                  </a:cubicBezTo>
                  <a:cubicBezTo>
                    <a:pt x="34317" y="0"/>
                    <a:pt x="44215" y="9898"/>
                    <a:pt x="44215" y="22107"/>
                  </a:cubicBezTo>
                  <a:cubicBezTo>
                    <a:pt x="44199" y="34311"/>
                    <a:pt x="34311" y="44199"/>
                    <a:pt x="22107" y="44215"/>
                  </a:cubicBezTo>
                  <a:close/>
                  <a:moveTo>
                    <a:pt x="22107" y="11054"/>
                  </a:moveTo>
                  <a:cubicBezTo>
                    <a:pt x="15941" y="11054"/>
                    <a:pt x="10942" y="16053"/>
                    <a:pt x="10942" y="22219"/>
                  </a:cubicBezTo>
                  <a:cubicBezTo>
                    <a:pt x="10942" y="28385"/>
                    <a:pt x="15941" y="33384"/>
                    <a:pt x="22107" y="33384"/>
                  </a:cubicBezTo>
                  <a:cubicBezTo>
                    <a:pt x="28274" y="33384"/>
                    <a:pt x="33273" y="28385"/>
                    <a:pt x="33273" y="22219"/>
                  </a:cubicBezTo>
                  <a:cubicBezTo>
                    <a:pt x="33242" y="16074"/>
                    <a:pt x="28252" y="11110"/>
                    <a:pt x="22107" y="11110"/>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1" name="Freeform: Shape 1530">
              <a:extLst>
                <a:ext uri="{FF2B5EF4-FFF2-40B4-BE49-F238E27FC236}">
                  <a16:creationId xmlns:a16="http://schemas.microsoft.com/office/drawing/2014/main" id="{88B7BB8B-70FD-5757-2B8A-68C0DB9415E2}"/>
                </a:ext>
              </a:extLst>
            </p:cNvPr>
            <p:cNvSpPr/>
            <p:nvPr/>
          </p:nvSpPr>
          <p:spPr>
            <a:xfrm>
              <a:off x="2441942" y="5768086"/>
              <a:ext cx="40233" cy="40233"/>
            </a:xfrm>
            <a:custGeom>
              <a:avLst/>
              <a:gdLst>
                <a:gd name="connsiteX0" fmla="*/ 22107 w 44214"/>
                <a:gd name="connsiteY0" fmla="*/ 44215 h 44214"/>
                <a:gd name="connsiteX1" fmla="*/ 0 w 44214"/>
                <a:gd name="connsiteY1" fmla="*/ 22107 h 44214"/>
                <a:gd name="connsiteX2" fmla="*/ 22107 w 44214"/>
                <a:gd name="connsiteY2" fmla="*/ 0 h 44214"/>
                <a:gd name="connsiteX3" fmla="*/ 44215 w 44214"/>
                <a:gd name="connsiteY3" fmla="*/ 22107 h 44214"/>
                <a:gd name="connsiteX4" fmla="*/ 22107 w 44214"/>
                <a:gd name="connsiteY4" fmla="*/ 44215 h 44214"/>
                <a:gd name="connsiteX5" fmla="*/ 22107 w 44214"/>
                <a:gd name="connsiteY5" fmla="*/ 11054 h 44214"/>
                <a:gd name="connsiteX6" fmla="*/ 10942 w 44214"/>
                <a:gd name="connsiteY6" fmla="*/ 22219 h 44214"/>
                <a:gd name="connsiteX7" fmla="*/ 22107 w 44214"/>
                <a:gd name="connsiteY7" fmla="*/ 33384 h 44214"/>
                <a:gd name="connsiteX8" fmla="*/ 33273 w 44214"/>
                <a:gd name="connsiteY8" fmla="*/ 22219 h 44214"/>
                <a:gd name="connsiteX9" fmla="*/ 22107 w 44214"/>
                <a:gd name="connsiteY9" fmla="*/ 11054 h 4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14" h="44214">
                  <a:moveTo>
                    <a:pt x="22107" y="44215"/>
                  </a:moveTo>
                  <a:cubicBezTo>
                    <a:pt x="9898" y="44215"/>
                    <a:pt x="0" y="34317"/>
                    <a:pt x="0" y="22107"/>
                  </a:cubicBezTo>
                  <a:cubicBezTo>
                    <a:pt x="0" y="9898"/>
                    <a:pt x="9898" y="0"/>
                    <a:pt x="22107" y="0"/>
                  </a:cubicBezTo>
                  <a:cubicBezTo>
                    <a:pt x="34317" y="0"/>
                    <a:pt x="44215" y="9898"/>
                    <a:pt x="44215" y="22107"/>
                  </a:cubicBezTo>
                  <a:cubicBezTo>
                    <a:pt x="44199" y="34311"/>
                    <a:pt x="34311" y="44198"/>
                    <a:pt x="22107" y="44215"/>
                  </a:cubicBezTo>
                  <a:close/>
                  <a:moveTo>
                    <a:pt x="22107" y="11054"/>
                  </a:moveTo>
                  <a:cubicBezTo>
                    <a:pt x="15941" y="11054"/>
                    <a:pt x="10942" y="16053"/>
                    <a:pt x="10942" y="22219"/>
                  </a:cubicBezTo>
                  <a:cubicBezTo>
                    <a:pt x="10942" y="28385"/>
                    <a:pt x="15941" y="33384"/>
                    <a:pt x="22107" y="33384"/>
                  </a:cubicBezTo>
                  <a:cubicBezTo>
                    <a:pt x="28274" y="33384"/>
                    <a:pt x="33273" y="28385"/>
                    <a:pt x="33273" y="22219"/>
                  </a:cubicBezTo>
                  <a:cubicBezTo>
                    <a:pt x="33273" y="16053"/>
                    <a:pt x="28274" y="11054"/>
                    <a:pt x="22107" y="11054"/>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2" name="Freeform: Shape 1531">
              <a:extLst>
                <a:ext uri="{FF2B5EF4-FFF2-40B4-BE49-F238E27FC236}">
                  <a16:creationId xmlns:a16="http://schemas.microsoft.com/office/drawing/2014/main" id="{ED2F150A-B13D-7B9E-D9AF-CE0B7D9FC5DB}"/>
                </a:ext>
              </a:extLst>
            </p:cNvPr>
            <p:cNvSpPr/>
            <p:nvPr/>
          </p:nvSpPr>
          <p:spPr>
            <a:xfrm>
              <a:off x="2512351" y="5768086"/>
              <a:ext cx="40233" cy="40233"/>
            </a:xfrm>
            <a:custGeom>
              <a:avLst/>
              <a:gdLst>
                <a:gd name="connsiteX0" fmla="*/ 22107 w 44214"/>
                <a:gd name="connsiteY0" fmla="*/ 44215 h 44214"/>
                <a:gd name="connsiteX1" fmla="*/ 0 w 44214"/>
                <a:gd name="connsiteY1" fmla="*/ 22107 h 44214"/>
                <a:gd name="connsiteX2" fmla="*/ 22107 w 44214"/>
                <a:gd name="connsiteY2" fmla="*/ 0 h 44214"/>
                <a:gd name="connsiteX3" fmla="*/ 44215 w 44214"/>
                <a:gd name="connsiteY3" fmla="*/ 22107 h 44214"/>
                <a:gd name="connsiteX4" fmla="*/ 22107 w 44214"/>
                <a:gd name="connsiteY4" fmla="*/ 44215 h 44214"/>
                <a:gd name="connsiteX5" fmla="*/ 22107 w 44214"/>
                <a:gd name="connsiteY5" fmla="*/ 11054 h 44214"/>
                <a:gd name="connsiteX6" fmla="*/ 10942 w 44214"/>
                <a:gd name="connsiteY6" fmla="*/ 22219 h 44214"/>
                <a:gd name="connsiteX7" fmla="*/ 22107 w 44214"/>
                <a:gd name="connsiteY7" fmla="*/ 33384 h 44214"/>
                <a:gd name="connsiteX8" fmla="*/ 33273 w 44214"/>
                <a:gd name="connsiteY8" fmla="*/ 22219 h 44214"/>
                <a:gd name="connsiteX9" fmla="*/ 22107 w 44214"/>
                <a:gd name="connsiteY9" fmla="*/ 11054 h 4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14" h="44214">
                  <a:moveTo>
                    <a:pt x="22107" y="44215"/>
                  </a:moveTo>
                  <a:cubicBezTo>
                    <a:pt x="9898" y="44215"/>
                    <a:pt x="0" y="34317"/>
                    <a:pt x="0" y="22107"/>
                  </a:cubicBezTo>
                  <a:cubicBezTo>
                    <a:pt x="0" y="9898"/>
                    <a:pt x="9898" y="0"/>
                    <a:pt x="22107" y="0"/>
                  </a:cubicBezTo>
                  <a:cubicBezTo>
                    <a:pt x="34317" y="0"/>
                    <a:pt x="44215" y="9898"/>
                    <a:pt x="44215" y="22107"/>
                  </a:cubicBezTo>
                  <a:cubicBezTo>
                    <a:pt x="44199" y="34311"/>
                    <a:pt x="34310" y="44198"/>
                    <a:pt x="22107" y="44215"/>
                  </a:cubicBezTo>
                  <a:close/>
                  <a:moveTo>
                    <a:pt x="22107" y="11054"/>
                  </a:moveTo>
                  <a:cubicBezTo>
                    <a:pt x="15941" y="11054"/>
                    <a:pt x="10942" y="16053"/>
                    <a:pt x="10942" y="22219"/>
                  </a:cubicBezTo>
                  <a:cubicBezTo>
                    <a:pt x="10942" y="28385"/>
                    <a:pt x="15941" y="33384"/>
                    <a:pt x="22107" y="33384"/>
                  </a:cubicBezTo>
                  <a:cubicBezTo>
                    <a:pt x="28274" y="33384"/>
                    <a:pt x="33273" y="28385"/>
                    <a:pt x="33273" y="22219"/>
                  </a:cubicBezTo>
                  <a:cubicBezTo>
                    <a:pt x="33273" y="16053"/>
                    <a:pt x="28274" y="11054"/>
                    <a:pt x="22107" y="11054"/>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3" name="Freeform: Shape 1532">
              <a:extLst>
                <a:ext uri="{FF2B5EF4-FFF2-40B4-BE49-F238E27FC236}">
                  <a16:creationId xmlns:a16="http://schemas.microsoft.com/office/drawing/2014/main" id="{38C37226-DB49-5F84-5DAD-0481958B74CF}"/>
                </a:ext>
              </a:extLst>
            </p:cNvPr>
            <p:cNvSpPr/>
            <p:nvPr/>
          </p:nvSpPr>
          <p:spPr>
            <a:xfrm>
              <a:off x="2371533" y="5768086"/>
              <a:ext cx="40233" cy="40233"/>
            </a:xfrm>
            <a:custGeom>
              <a:avLst/>
              <a:gdLst>
                <a:gd name="connsiteX0" fmla="*/ 22107 w 44214"/>
                <a:gd name="connsiteY0" fmla="*/ 44215 h 44214"/>
                <a:gd name="connsiteX1" fmla="*/ 0 w 44214"/>
                <a:gd name="connsiteY1" fmla="*/ 22107 h 44214"/>
                <a:gd name="connsiteX2" fmla="*/ 22107 w 44214"/>
                <a:gd name="connsiteY2" fmla="*/ 0 h 44214"/>
                <a:gd name="connsiteX3" fmla="*/ 44215 w 44214"/>
                <a:gd name="connsiteY3" fmla="*/ 22107 h 44214"/>
                <a:gd name="connsiteX4" fmla="*/ 22107 w 44214"/>
                <a:gd name="connsiteY4" fmla="*/ 44215 h 44214"/>
                <a:gd name="connsiteX5" fmla="*/ 22107 w 44214"/>
                <a:gd name="connsiteY5" fmla="*/ 11054 h 44214"/>
                <a:gd name="connsiteX6" fmla="*/ 10942 w 44214"/>
                <a:gd name="connsiteY6" fmla="*/ 22219 h 44214"/>
                <a:gd name="connsiteX7" fmla="*/ 22107 w 44214"/>
                <a:gd name="connsiteY7" fmla="*/ 33384 h 44214"/>
                <a:gd name="connsiteX8" fmla="*/ 33273 w 44214"/>
                <a:gd name="connsiteY8" fmla="*/ 22219 h 44214"/>
                <a:gd name="connsiteX9" fmla="*/ 22107 w 44214"/>
                <a:gd name="connsiteY9" fmla="*/ 11054 h 4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14" h="44214">
                  <a:moveTo>
                    <a:pt x="22107" y="44215"/>
                  </a:moveTo>
                  <a:cubicBezTo>
                    <a:pt x="9898" y="44215"/>
                    <a:pt x="0" y="34317"/>
                    <a:pt x="0" y="22107"/>
                  </a:cubicBezTo>
                  <a:cubicBezTo>
                    <a:pt x="0" y="9898"/>
                    <a:pt x="9898" y="0"/>
                    <a:pt x="22107" y="0"/>
                  </a:cubicBezTo>
                  <a:cubicBezTo>
                    <a:pt x="34317" y="0"/>
                    <a:pt x="44215" y="9898"/>
                    <a:pt x="44215" y="22107"/>
                  </a:cubicBezTo>
                  <a:cubicBezTo>
                    <a:pt x="44199" y="34311"/>
                    <a:pt x="34311" y="44198"/>
                    <a:pt x="22107" y="44215"/>
                  </a:cubicBezTo>
                  <a:close/>
                  <a:moveTo>
                    <a:pt x="22107" y="11054"/>
                  </a:moveTo>
                  <a:cubicBezTo>
                    <a:pt x="15941" y="11054"/>
                    <a:pt x="10942" y="16053"/>
                    <a:pt x="10942" y="22219"/>
                  </a:cubicBezTo>
                  <a:cubicBezTo>
                    <a:pt x="10942" y="28385"/>
                    <a:pt x="15941" y="33384"/>
                    <a:pt x="22107" y="33384"/>
                  </a:cubicBezTo>
                  <a:cubicBezTo>
                    <a:pt x="28274" y="33384"/>
                    <a:pt x="33273" y="28385"/>
                    <a:pt x="33273" y="22219"/>
                  </a:cubicBezTo>
                  <a:cubicBezTo>
                    <a:pt x="33273" y="16053"/>
                    <a:pt x="28274" y="11054"/>
                    <a:pt x="22107" y="11054"/>
                  </a:cubicBezTo>
                  <a:close/>
                </a:path>
              </a:pathLst>
            </a:custGeom>
            <a:solidFill>
              <a:srgbClr val="FF0000"/>
            </a:solidFill>
            <a:ln w="27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4" name="Freeform: Shape 1533">
              <a:extLst>
                <a:ext uri="{FF2B5EF4-FFF2-40B4-BE49-F238E27FC236}">
                  <a16:creationId xmlns:a16="http://schemas.microsoft.com/office/drawing/2014/main" id="{97107B39-1628-BE32-47AB-6F00F09F78E1}"/>
                </a:ext>
              </a:extLst>
            </p:cNvPr>
            <p:cNvSpPr/>
            <p:nvPr/>
          </p:nvSpPr>
          <p:spPr>
            <a:xfrm>
              <a:off x="2347723" y="5228887"/>
              <a:ext cx="126742" cy="164401"/>
            </a:xfrm>
            <a:custGeom>
              <a:avLst/>
              <a:gdLst>
                <a:gd name="connsiteX0" fmla="*/ 130317 w 134429"/>
                <a:gd name="connsiteY0" fmla="*/ 138241 h 138240"/>
                <a:gd name="connsiteX1" fmla="*/ 4062 w 134429"/>
                <a:gd name="connsiteY1" fmla="*/ 138241 h 138240"/>
                <a:gd name="connsiteX2" fmla="*/ 0 w 134429"/>
                <a:gd name="connsiteY2" fmla="*/ 135022 h 138240"/>
                <a:gd name="connsiteX3" fmla="*/ 1 w 134429"/>
                <a:gd name="connsiteY3" fmla="*/ 134981 h 138240"/>
                <a:gd name="connsiteX4" fmla="*/ 1 w 134429"/>
                <a:gd name="connsiteY4" fmla="*/ 3260 h 138240"/>
                <a:gd name="connsiteX5" fmla="*/ 4010 w 134429"/>
                <a:gd name="connsiteY5" fmla="*/ 0 h 138240"/>
                <a:gd name="connsiteX6" fmla="*/ 4062 w 134429"/>
                <a:gd name="connsiteY6" fmla="*/ 0 h 138240"/>
                <a:gd name="connsiteX7" fmla="*/ 130317 w 134429"/>
                <a:gd name="connsiteY7" fmla="*/ 0 h 138240"/>
                <a:gd name="connsiteX8" fmla="*/ 134430 w 134429"/>
                <a:gd name="connsiteY8" fmla="*/ 3260 h 138240"/>
                <a:gd name="connsiteX9" fmla="*/ 134430 w 134429"/>
                <a:gd name="connsiteY9" fmla="*/ 134981 h 138240"/>
                <a:gd name="connsiteX10" fmla="*/ 130317 w 134429"/>
                <a:gd name="connsiteY10" fmla="*/ 138241 h 138240"/>
                <a:gd name="connsiteX11" fmla="*/ 8174 w 134429"/>
                <a:gd name="connsiteY11" fmla="*/ 131761 h 138240"/>
                <a:gd name="connsiteX12" fmla="*/ 126410 w 134429"/>
                <a:gd name="connsiteY12" fmla="*/ 131761 h 138240"/>
                <a:gd name="connsiteX13" fmla="*/ 126410 w 134429"/>
                <a:gd name="connsiteY13" fmla="*/ 6480 h 138240"/>
                <a:gd name="connsiteX14" fmla="*/ 8174 w 134429"/>
                <a:gd name="connsiteY14" fmla="*/ 6480 h 13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429" h="138240">
                  <a:moveTo>
                    <a:pt x="130317" y="138241"/>
                  </a:moveTo>
                  <a:lnTo>
                    <a:pt x="4062" y="138241"/>
                  </a:lnTo>
                  <a:cubicBezTo>
                    <a:pt x="1819" y="138241"/>
                    <a:pt x="1" y="136800"/>
                    <a:pt x="0" y="135022"/>
                  </a:cubicBezTo>
                  <a:cubicBezTo>
                    <a:pt x="0" y="135008"/>
                    <a:pt x="1" y="134994"/>
                    <a:pt x="1" y="134981"/>
                  </a:cubicBezTo>
                  <a:lnTo>
                    <a:pt x="1" y="3260"/>
                  </a:lnTo>
                  <a:cubicBezTo>
                    <a:pt x="-28" y="1482"/>
                    <a:pt x="1767" y="23"/>
                    <a:pt x="4010" y="0"/>
                  </a:cubicBezTo>
                  <a:cubicBezTo>
                    <a:pt x="4027" y="0"/>
                    <a:pt x="4044" y="0"/>
                    <a:pt x="4062" y="0"/>
                  </a:cubicBezTo>
                  <a:lnTo>
                    <a:pt x="130317" y="0"/>
                  </a:lnTo>
                  <a:cubicBezTo>
                    <a:pt x="132588" y="0"/>
                    <a:pt x="134430" y="1460"/>
                    <a:pt x="134430" y="3260"/>
                  </a:cubicBezTo>
                  <a:lnTo>
                    <a:pt x="134430" y="134981"/>
                  </a:lnTo>
                  <a:cubicBezTo>
                    <a:pt x="134430" y="136781"/>
                    <a:pt x="132588" y="138241"/>
                    <a:pt x="130317" y="138241"/>
                  </a:cubicBezTo>
                  <a:close/>
                  <a:moveTo>
                    <a:pt x="8174" y="131761"/>
                  </a:moveTo>
                  <a:lnTo>
                    <a:pt x="126410" y="131761"/>
                  </a:lnTo>
                  <a:lnTo>
                    <a:pt x="126410" y="6480"/>
                  </a:lnTo>
                  <a:lnTo>
                    <a:pt x="8174" y="6480"/>
                  </a:ln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5" name="Freeform: Shape 1534">
              <a:extLst>
                <a:ext uri="{FF2B5EF4-FFF2-40B4-BE49-F238E27FC236}">
                  <a16:creationId xmlns:a16="http://schemas.microsoft.com/office/drawing/2014/main" id="{45DCC799-36DC-1E69-32C5-9EAF64B07BDF}"/>
                </a:ext>
              </a:extLst>
            </p:cNvPr>
            <p:cNvSpPr/>
            <p:nvPr/>
          </p:nvSpPr>
          <p:spPr>
            <a:xfrm>
              <a:off x="2362507" y="5245269"/>
              <a:ext cx="46480" cy="49388"/>
            </a:xfrm>
            <a:custGeom>
              <a:avLst/>
              <a:gdLst>
                <a:gd name="connsiteX0" fmla="*/ 45238 w 49299"/>
                <a:gd name="connsiteY0" fmla="*/ 41529 h 41529"/>
                <a:gd name="connsiteX1" fmla="*/ 4113 w 49299"/>
                <a:gd name="connsiteY1" fmla="*/ 41529 h 41529"/>
                <a:gd name="connsiteX2" fmla="*/ 0 w 49299"/>
                <a:gd name="connsiteY2" fmla="*/ 38269 h 41529"/>
                <a:gd name="connsiteX3" fmla="*/ 0 w 49299"/>
                <a:gd name="connsiteY3" fmla="*/ 3260 h 41529"/>
                <a:gd name="connsiteX4" fmla="*/ 4113 w 49299"/>
                <a:gd name="connsiteY4" fmla="*/ 0 h 41529"/>
                <a:gd name="connsiteX5" fmla="*/ 45238 w 49299"/>
                <a:gd name="connsiteY5" fmla="*/ 0 h 41529"/>
                <a:gd name="connsiteX6" fmla="*/ 49299 w 49299"/>
                <a:gd name="connsiteY6" fmla="*/ 3260 h 41529"/>
                <a:gd name="connsiteX7" fmla="*/ 49299 w 49299"/>
                <a:gd name="connsiteY7" fmla="*/ 38269 h 41529"/>
                <a:gd name="connsiteX8" fmla="*/ 45238 w 49299"/>
                <a:gd name="connsiteY8" fmla="*/ 41529 h 41529"/>
                <a:gd name="connsiteX9" fmla="*/ 8379 w 49299"/>
                <a:gd name="connsiteY9" fmla="*/ 35212 h 41529"/>
                <a:gd name="connsiteX10" fmla="*/ 41126 w 49299"/>
                <a:gd name="connsiteY10" fmla="*/ 35212 h 41529"/>
                <a:gd name="connsiteX11" fmla="*/ 41126 w 49299"/>
                <a:gd name="connsiteY11" fmla="*/ 6684 h 41529"/>
                <a:gd name="connsiteX12" fmla="*/ 8379 w 49299"/>
                <a:gd name="connsiteY12" fmla="*/ 6684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99" h="41529">
                  <a:moveTo>
                    <a:pt x="45238" y="41529"/>
                  </a:moveTo>
                  <a:lnTo>
                    <a:pt x="4113" y="41529"/>
                  </a:lnTo>
                  <a:cubicBezTo>
                    <a:pt x="1841" y="41529"/>
                    <a:pt x="0" y="40070"/>
                    <a:pt x="0" y="38269"/>
                  </a:cubicBezTo>
                  <a:lnTo>
                    <a:pt x="0" y="3260"/>
                  </a:lnTo>
                  <a:cubicBezTo>
                    <a:pt x="0" y="1460"/>
                    <a:pt x="1841" y="0"/>
                    <a:pt x="4113" y="0"/>
                  </a:cubicBezTo>
                  <a:lnTo>
                    <a:pt x="45238" y="0"/>
                  </a:lnTo>
                  <a:cubicBezTo>
                    <a:pt x="47489" y="22"/>
                    <a:pt x="49299" y="1475"/>
                    <a:pt x="49299" y="3260"/>
                  </a:cubicBezTo>
                  <a:lnTo>
                    <a:pt x="49299" y="38269"/>
                  </a:lnTo>
                  <a:cubicBezTo>
                    <a:pt x="49299" y="40054"/>
                    <a:pt x="47489" y="41507"/>
                    <a:pt x="45238" y="41529"/>
                  </a:cubicBezTo>
                  <a:close/>
                  <a:moveTo>
                    <a:pt x="8379" y="35212"/>
                  </a:moveTo>
                  <a:lnTo>
                    <a:pt x="41126" y="35212"/>
                  </a:lnTo>
                  <a:lnTo>
                    <a:pt x="41126" y="6684"/>
                  </a:lnTo>
                  <a:lnTo>
                    <a:pt x="8379" y="6684"/>
                  </a:ln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6" name="Freeform: Shape 1535">
              <a:extLst>
                <a:ext uri="{FF2B5EF4-FFF2-40B4-BE49-F238E27FC236}">
                  <a16:creationId xmlns:a16="http://schemas.microsoft.com/office/drawing/2014/main" id="{A4D5C059-3E3F-3953-7AEA-A7A25DA19EF3}"/>
                </a:ext>
              </a:extLst>
            </p:cNvPr>
            <p:cNvSpPr/>
            <p:nvPr/>
          </p:nvSpPr>
          <p:spPr>
            <a:xfrm>
              <a:off x="2418244" y="5245512"/>
              <a:ext cx="39695" cy="7706"/>
            </a:xfrm>
            <a:custGeom>
              <a:avLst/>
              <a:gdLst>
                <a:gd name="connsiteX0" fmla="*/ 37990 w 42102"/>
                <a:gd name="connsiteY0" fmla="*/ 6480 h 6480"/>
                <a:gd name="connsiteX1" fmla="*/ 4113 w 42102"/>
                <a:gd name="connsiteY1" fmla="*/ 6480 h 6480"/>
                <a:gd name="connsiteX2" fmla="*/ 1 w 42102"/>
                <a:gd name="connsiteY2" fmla="*/ 3302 h 6480"/>
                <a:gd name="connsiteX3" fmla="*/ 0 w 42102"/>
                <a:gd name="connsiteY3" fmla="*/ 3260 h 6480"/>
                <a:gd name="connsiteX4" fmla="*/ 4113 w 42102"/>
                <a:gd name="connsiteY4" fmla="*/ 0 h 6480"/>
                <a:gd name="connsiteX5" fmla="*/ 37990 w 42102"/>
                <a:gd name="connsiteY5" fmla="*/ 0 h 6480"/>
                <a:gd name="connsiteX6" fmla="*/ 42102 w 42102"/>
                <a:gd name="connsiteY6" fmla="*/ 3260 h 6480"/>
                <a:gd name="connsiteX7" fmla="*/ 38042 w 42102"/>
                <a:gd name="connsiteY7" fmla="*/ 6480 h 6480"/>
                <a:gd name="connsiteX8" fmla="*/ 37990 w 421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02" h="6480">
                  <a:moveTo>
                    <a:pt x="37990" y="6480"/>
                  </a:moveTo>
                  <a:lnTo>
                    <a:pt x="4113" y="6480"/>
                  </a:lnTo>
                  <a:cubicBezTo>
                    <a:pt x="1870" y="6502"/>
                    <a:pt x="29" y="5079"/>
                    <a:pt x="1" y="3302"/>
                  </a:cubicBezTo>
                  <a:cubicBezTo>
                    <a:pt x="0" y="3288"/>
                    <a:pt x="0" y="3274"/>
                    <a:pt x="0" y="3260"/>
                  </a:cubicBezTo>
                  <a:cubicBezTo>
                    <a:pt x="0" y="1460"/>
                    <a:pt x="1841" y="0"/>
                    <a:pt x="4113" y="0"/>
                  </a:cubicBezTo>
                  <a:lnTo>
                    <a:pt x="37990" y="0"/>
                  </a:lnTo>
                  <a:cubicBezTo>
                    <a:pt x="40261" y="0"/>
                    <a:pt x="42102" y="1460"/>
                    <a:pt x="42102" y="3260"/>
                  </a:cubicBezTo>
                  <a:cubicBezTo>
                    <a:pt x="42102" y="5039"/>
                    <a:pt x="40285" y="6480"/>
                    <a:pt x="38042" y="6480"/>
                  </a:cubicBezTo>
                  <a:cubicBezTo>
                    <a:pt x="38024" y="6480"/>
                    <a:pt x="38007" y="6480"/>
                    <a:pt x="37990"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7" name="Freeform: Shape 1536">
              <a:extLst>
                <a:ext uri="{FF2B5EF4-FFF2-40B4-BE49-F238E27FC236}">
                  <a16:creationId xmlns:a16="http://schemas.microsoft.com/office/drawing/2014/main" id="{07C20D53-CABC-F1A7-EE5C-EBA5D280BF77}"/>
                </a:ext>
              </a:extLst>
            </p:cNvPr>
            <p:cNvSpPr/>
            <p:nvPr/>
          </p:nvSpPr>
          <p:spPr>
            <a:xfrm>
              <a:off x="2418244" y="5266110"/>
              <a:ext cx="39695" cy="7706"/>
            </a:xfrm>
            <a:custGeom>
              <a:avLst/>
              <a:gdLst>
                <a:gd name="connsiteX0" fmla="*/ 37990 w 42102"/>
                <a:gd name="connsiteY0" fmla="*/ 6480 h 6480"/>
                <a:gd name="connsiteX1" fmla="*/ 4113 w 42102"/>
                <a:gd name="connsiteY1" fmla="*/ 6480 h 6480"/>
                <a:gd name="connsiteX2" fmla="*/ 0 w 42102"/>
                <a:gd name="connsiteY2" fmla="*/ 3220 h 6480"/>
                <a:gd name="connsiteX3" fmla="*/ 4061 w 42102"/>
                <a:gd name="connsiteY3" fmla="*/ 0 h 6480"/>
                <a:gd name="connsiteX4" fmla="*/ 4113 w 42102"/>
                <a:gd name="connsiteY4" fmla="*/ 0 h 6480"/>
                <a:gd name="connsiteX5" fmla="*/ 37990 w 42102"/>
                <a:gd name="connsiteY5" fmla="*/ 0 h 6480"/>
                <a:gd name="connsiteX6" fmla="*/ 42102 w 42102"/>
                <a:gd name="connsiteY6" fmla="*/ 3179 h 6480"/>
                <a:gd name="connsiteX7" fmla="*/ 42102 w 42102"/>
                <a:gd name="connsiteY7" fmla="*/ 3220 h 6480"/>
                <a:gd name="connsiteX8" fmla="*/ 37990 w 421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02" h="6480">
                  <a:moveTo>
                    <a:pt x="37990" y="6480"/>
                  </a:moveTo>
                  <a:lnTo>
                    <a:pt x="4113" y="6480"/>
                  </a:lnTo>
                  <a:cubicBezTo>
                    <a:pt x="1841" y="6480"/>
                    <a:pt x="0" y="5021"/>
                    <a:pt x="0" y="3220"/>
                  </a:cubicBezTo>
                  <a:cubicBezTo>
                    <a:pt x="0" y="1442"/>
                    <a:pt x="1818" y="0"/>
                    <a:pt x="4061" y="0"/>
                  </a:cubicBezTo>
                  <a:cubicBezTo>
                    <a:pt x="4078" y="0"/>
                    <a:pt x="4095" y="0"/>
                    <a:pt x="4113" y="0"/>
                  </a:cubicBezTo>
                  <a:lnTo>
                    <a:pt x="37990" y="0"/>
                  </a:lnTo>
                  <a:cubicBezTo>
                    <a:pt x="40233" y="-22"/>
                    <a:pt x="42074" y="1401"/>
                    <a:pt x="42102" y="3179"/>
                  </a:cubicBezTo>
                  <a:cubicBezTo>
                    <a:pt x="42102" y="3193"/>
                    <a:pt x="42102" y="3206"/>
                    <a:pt x="42102" y="3220"/>
                  </a:cubicBezTo>
                  <a:cubicBezTo>
                    <a:pt x="42102" y="5021"/>
                    <a:pt x="40261" y="6480"/>
                    <a:pt x="37990"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8" name="Freeform: Shape 1537">
              <a:extLst>
                <a:ext uri="{FF2B5EF4-FFF2-40B4-BE49-F238E27FC236}">
                  <a16:creationId xmlns:a16="http://schemas.microsoft.com/office/drawing/2014/main" id="{75BA41BC-4DC1-FD29-03A9-A5524F8D3C89}"/>
                </a:ext>
              </a:extLst>
            </p:cNvPr>
            <p:cNvSpPr/>
            <p:nvPr/>
          </p:nvSpPr>
          <p:spPr>
            <a:xfrm>
              <a:off x="2418244" y="5286951"/>
              <a:ext cx="39695" cy="7706"/>
            </a:xfrm>
            <a:custGeom>
              <a:avLst/>
              <a:gdLst>
                <a:gd name="connsiteX0" fmla="*/ 37990 w 42102"/>
                <a:gd name="connsiteY0" fmla="*/ 6480 h 6480"/>
                <a:gd name="connsiteX1" fmla="*/ 4113 w 42102"/>
                <a:gd name="connsiteY1" fmla="*/ 6480 h 6480"/>
                <a:gd name="connsiteX2" fmla="*/ 0 w 42102"/>
                <a:gd name="connsiteY2" fmla="*/ 3220 h 6480"/>
                <a:gd name="connsiteX3" fmla="*/ 4061 w 42102"/>
                <a:gd name="connsiteY3" fmla="*/ 0 h 6480"/>
                <a:gd name="connsiteX4" fmla="*/ 4113 w 42102"/>
                <a:gd name="connsiteY4" fmla="*/ 0 h 6480"/>
                <a:gd name="connsiteX5" fmla="*/ 37990 w 42102"/>
                <a:gd name="connsiteY5" fmla="*/ 0 h 6480"/>
                <a:gd name="connsiteX6" fmla="*/ 42102 w 42102"/>
                <a:gd name="connsiteY6" fmla="*/ 3179 h 6480"/>
                <a:gd name="connsiteX7" fmla="*/ 42102 w 42102"/>
                <a:gd name="connsiteY7" fmla="*/ 3220 h 6480"/>
                <a:gd name="connsiteX8" fmla="*/ 37990 w 421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02" h="6480">
                  <a:moveTo>
                    <a:pt x="37990" y="6480"/>
                  </a:moveTo>
                  <a:lnTo>
                    <a:pt x="4113" y="6480"/>
                  </a:lnTo>
                  <a:cubicBezTo>
                    <a:pt x="1841" y="6480"/>
                    <a:pt x="0" y="5021"/>
                    <a:pt x="0" y="3220"/>
                  </a:cubicBezTo>
                  <a:cubicBezTo>
                    <a:pt x="0" y="1442"/>
                    <a:pt x="1818" y="0"/>
                    <a:pt x="4061" y="0"/>
                  </a:cubicBezTo>
                  <a:cubicBezTo>
                    <a:pt x="4078" y="0"/>
                    <a:pt x="4095" y="0"/>
                    <a:pt x="4113" y="0"/>
                  </a:cubicBezTo>
                  <a:lnTo>
                    <a:pt x="37990" y="0"/>
                  </a:lnTo>
                  <a:cubicBezTo>
                    <a:pt x="40233" y="-22"/>
                    <a:pt x="42074" y="1401"/>
                    <a:pt x="42102" y="3179"/>
                  </a:cubicBezTo>
                  <a:cubicBezTo>
                    <a:pt x="42102" y="3193"/>
                    <a:pt x="42102" y="3206"/>
                    <a:pt x="42102" y="3220"/>
                  </a:cubicBezTo>
                  <a:cubicBezTo>
                    <a:pt x="42102" y="5021"/>
                    <a:pt x="40261" y="6480"/>
                    <a:pt x="37990"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39" name="Freeform: Shape 1538">
              <a:extLst>
                <a:ext uri="{FF2B5EF4-FFF2-40B4-BE49-F238E27FC236}">
                  <a16:creationId xmlns:a16="http://schemas.microsoft.com/office/drawing/2014/main" id="{876BBFC9-DC4A-E49D-13F0-FB3A157575A8}"/>
                </a:ext>
              </a:extLst>
            </p:cNvPr>
            <p:cNvSpPr/>
            <p:nvPr/>
          </p:nvSpPr>
          <p:spPr>
            <a:xfrm>
              <a:off x="2369970" y="5306338"/>
              <a:ext cx="13909" cy="7706"/>
            </a:xfrm>
            <a:custGeom>
              <a:avLst/>
              <a:gdLst>
                <a:gd name="connsiteX0" fmla="*/ 10641 w 14753"/>
                <a:gd name="connsiteY0" fmla="*/ 6480 h 6480"/>
                <a:gd name="connsiteX1" fmla="*/ 4113 w 14753"/>
                <a:gd name="connsiteY1" fmla="*/ 6480 h 6480"/>
                <a:gd name="connsiteX2" fmla="*/ 0 w 14753"/>
                <a:gd name="connsiteY2" fmla="*/ 3220 h 6480"/>
                <a:gd name="connsiteX3" fmla="*/ 4061 w 14753"/>
                <a:gd name="connsiteY3" fmla="*/ 0 h 6480"/>
                <a:gd name="connsiteX4" fmla="*/ 4113 w 14753"/>
                <a:gd name="connsiteY4" fmla="*/ 0 h 6480"/>
                <a:gd name="connsiteX5" fmla="*/ 10641 w 14753"/>
                <a:gd name="connsiteY5" fmla="*/ 0 h 6480"/>
                <a:gd name="connsiteX6" fmla="*/ 14753 w 14753"/>
                <a:gd name="connsiteY6" fmla="*/ 3179 h 6480"/>
                <a:gd name="connsiteX7" fmla="*/ 14754 w 14753"/>
                <a:gd name="connsiteY7" fmla="*/ 3220 h 6480"/>
                <a:gd name="connsiteX8" fmla="*/ 10641 w 14753"/>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3" h="6480">
                  <a:moveTo>
                    <a:pt x="10641" y="6480"/>
                  </a:moveTo>
                  <a:lnTo>
                    <a:pt x="4113" y="6480"/>
                  </a:lnTo>
                  <a:cubicBezTo>
                    <a:pt x="1841" y="6480"/>
                    <a:pt x="0" y="5021"/>
                    <a:pt x="0" y="3220"/>
                  </a:cubicBezTo>
                  <a:cubicBezTo>
                    <a:pt x="0" y="1442"/>
                    <a:pt x="1818" y="0"/>
                    <a:pt x="4061" y="0"/>
                  </a:cubicBezTo>
                  <a:cubicBezTo>
                    <a:pt x="4078" y="0"/>
                    <a:pt x="4095" y="0"/>
                    <a:pt x="4113" y="0"/>
                  </a:cubicBezTo>
                  <a:lnTo>
                    <a:pt x="10641" y="0"/>
                  </a:lnTo>
                  <a:cubicBezTo>
                    <a:pt x="12884" y="-22"/>
                    <a:pt x="14725" y="1401"/>
                    <a:pt x="14753" y="3179"/>
                  </a:cubicBezTo>
                  <a:cubicBezTo>
                    <a:pt x="14754" y="3193"/>
                    <a:pt x="14754" y="3206"/>
                    <a:pt x="14754" y="3220"/>
                  </a:cubicBezTo>
                  <a:cubicBezTo>
                    <a:pt x="14754" y="5021"/>
                    <a:pt x="12912"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0" name="Freeform: Shape 1539">
              <a:extLst>
                <a:ext uri="{FF2B5EF4-FFF2-40B4-BE49-F238E27FC236}">
                  <a16:creationId xmlns:a16="http://schemas.microsoft.com/office/drawing/2014/main" id="{7AFDD169-9578-DB68-B7E9-F2234D6C25D3}"/>
                </a:ext>
              </a:extLst>
            </p:cNvPr>
            <p:cNvSpPr/>
            <p:nvPr/>
          </p:nvSpPr>
          <p:spPr>
            <a:xfrm>
              <a:off x="2400990" y="5306338"/>
              <a:ext cx="20162" cy="7706"/>
            </a:xfrm>
            <a:custGeom>
              <a:avLst/>
              <a:gdLst>
                <a:gd name="connsiteX0" fmla="*/ 17324 w 21385"/>
                <a:gd name="connsiteY0" fmla="*/ 6480 h 6480"/>
                <a:gd name="connsiteX1" fmla="*/ 4113 w 21385"/>
                <a:gd name="connsiteY1" fmla="*/ 6480 h 6480"/>
                <a:gd name="connsiteX2" fmla="*/ 0 w 21385"/>
                <a:gd name="connsiteY2" fmla="*/ 3220 h 6480"/>
                <a:gd name="connsiteX3" fmla="*/ 4061 w 21385"/>
                <a:gd name="connsiteY3" fmla="*/ 0 h 6480"/>
                <a:gd name="connsiteX4" fmla="*/ 4113 w 21385"/>
                <a:gd name="connsiteY4" fmla="*/ 0 h 6480"/>
                <a:gd name="connsiteX5" fmla="*/ 17324 w 21385"/>
                <a:gd name="connsiteY5" fmla="*/ 0 h 6480"/>
                <a:gd name="connsiteX6" fmla="*/ 21385 w 21385"/>
                <a:gd name="connsiteY6" fmla="*/ 3220 h 6480"/>
                <a:gd name="connsiteX7" fmla="*/ 17376 w 21385"/>
                <a:gd name="connsiteY7" fmla="*/ 6480 h 6480"/>
                <a:gd name="connsiteX8" fmla="*/ 17324 w 21385"/>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85" h="6480">
                  <a:moveTo>
                    <a:pt x="17324" y="6480"/>
                  </a:moveTo>
                  <a:lnTo>
                    <a:pt x="4113" y="6480"/>
                  </a:lnTo>
                  <a:cubicBezTo>
                    <a:pt x="1841" y="6480"/>
                    <a:pt x="0" y="5021"/>
                    <a:pt x="0" y="3220"/>
                  </a:cubicBezTo>
                  <a:cubicBezTo>
                    <a:pt x="0" y="1442"/>
                    <a:pt x="1818" y="0"/>
                    <a:pt x="4061" y="0"/>
                  </a:cubicBezTo>
                  <a:cubicBezTo>
                    <a:pt x="4078" y="0"/>
                    <a:pt x="4095" y="0"/>
                    <a:pt x="4113" y="0"/>
                  </a:cubicBezTo>
                  <a:lnTo>
                    <a:pt x="17324" y="0"/>
                  </a:lnTo>
                  <a:cubicBezTo>
                    <a:pt x="19567" y="0"/>
                    <a:pt x="21385" y="1442"/>
                    <a:pt x="21385" y="3220"/>
                  </a:cubicBezTo>
                  <a:cubicBezTo>
                    <a:pt x="21414" y="4998"/>
                    <a:pt x="19618" y="6458"/>
                    <a:pt x="17376" y="6480"/>
                  </a:cubicBezTo>
                  <a:cubicBezTo>
                    <a:pt x="17359" y="6480"/>
                    <a:pt x="17342" y="6480"/>
                    <a:pt x="17324"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1" name="Freeform: Shape 1540">
              <a:extLst>
                <a:ext uri="{FF2B5EF4-FFF2-40B4-BE49-F238E27FC236}">
                  <a16:creationId xmlns:a16="http://schemas.microsoft.com/office/drawing/2014/main" id="{FA9A7BB5-20C7-1683-F516-FC37774FF8A5}"/>
                </a:ext>
              </a:extLst>
            </p:cNvPr>
            <p:cNvSpPr/>
            <p:nvPr/>
          </p:nvSpPr>
          <p:spPr>
            <a:xfrm>
              <a:off x="2438309" y="5306338"/>
              <a:ext cx="13861" cy="7706"/>
            </a:xfrm>
            <a:custGeom>
              <a:avLst/>
              <a:gdLst>
                <a:gd name="connsiteX0" fmla="*/ 10641 w 14702"/>
                <a:gd name="connsiteY0" fmla="*/ 6480 h 6480"/>
                <a:gd name="connsiteX1" fmla="*/ 4113 w 14702"/>
                <a:gd name="connsiteY1" fmla="*/ 6480 h 6480"/>
                <a:gd name="connsiteX2" fmla="*/ 0 w 14702"/>
                <a:gd name="connsiteY2" fmla="*/ 3220 h 6480"/>
                <a:gd name="connsiteX3" fmla="*/ 4061 w 14702"/>
                <a:gd name="connsiteY3" fmla="*/ 0 h 6480"/>
                <a:gd name="connsiteX4" fmla="*/ 4113 w 14702"/>
                <a:gd name="connsiteY4" fmla="*/ 0 h 6480"/>
                <a:gd name="connsiteX5" fmla="*/ 10641 w 14702"/>
                <a:gd name="connsiteY5" fmla="*/ 0 h 6480"/>
                <a:gd name="connsiteX6" fmla="*/ 14702 w 14702"/>
                <a:gd name="connsiteY6" fmla="*/ 3220 h 6480"/>
                <a:gd name="connsiteX7" fmla="*/ 10693 w 14702"/>
                <a:gd name="connsiteY7" fmla="*/ 6480 h 6480"/>
                <a:gd name="connsiteX8" fmla="*/ 10641 w 147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2" h="6480">
                  <a:moveTo>
                    <a:pt x="10641" y="6480"/>
                  </a:moveTo>
                  <a:lnTo>
                    <a:pt x="4113" y="6480"/>
                  </a:lnTo>
                  <a:cubicBezTo>
                    <a:pt x="1841" y="6480"/>
                    <a:pt x="0" y="5021"/>
                    <a:pt x="0" y="3220"/>
                  </a:cubicBezTo>
                  <a:cubicBezTo>
                    <a:pt x="0" y="1442"/>
                    <a:pt x="1818" y="0"/>
                    <a:pt x="4061" y="0"/>
                  </a:cubicBezTo>
                  <a:cubicBezTo>
                    <a:pt x="4078" y="0"/>
                    <a:pt x="4095" y="0"/>
                    <a:pt x="4113" y="0"/>
                  </a:cubicBezTo>
                  <a:lnTo>
                    <a:pt x="10641" y="0"/>
                  </a:lnTo>
                  <a:cubicBezTo>
                    <a:pt x="12884" y="0"/>
                    <a:pt x="14702" y="1442"/>
                    <a:pt x="14702" y="3220"/>
                  </a:cubicBezTo>
                  <a:cubicBezTo>
                    <a:pt x="14731" y="4998"/>
                    <a:pt x="12936" y="6458"/>
                    <a:pt x="10693" y="6480"/>
                  </a:cubicBezTo>
                  <a:cubicBezTo>
                    <a:pt x="10676" y="6480"/>
                    <a:pt x="10659"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2" name="Freeform: Shape 1541">
              <a:extLst>
                <a:ext uri="{FF2B5EF4-FFF2-40B4-BE49-F238E27FC236}">
                  <a16:creationId xmlns:a16="http://schemas.microsoft.com/office/drawing/2014/main" id="{8D7D1786-AB0C-A576-63E2-ADDA1884E41C}"/>
                </a:ext>
              </a:extLst>
            </p:cNvPr>
            <p:cNvSpPr/>
            <p:nvPr/>
          </p:nvSpPr>
          <p:spPr>
            <a:xfrm>
              <a:off x="2369970" y="5326453"/>
              <a:ext cx="13909" cy="7706"/>
            </a:xfrm>
            <a:custGeom>
              <a:avLst/>
              <a:gdLst>
                <a:gd name="connsiteX0" fmla="*/ 10641 w 14753"/>
                <a:gd name="connsiteY0" fmla="*/ 6480 h 6480"/>
                <a:gd name="connsiteX1" fmla="*/ 4113 w 14753"/>
                <a:gd name="connsiteY1" fmla="*/ 6480 h 6480"/>
                <a:gd name="connsiteX2" fmla="*/ 1 w 14753"/>
                <a:gd name="connsiteY2" fmla="*/ 3302 h 6480"/>
                <a:gd name="connsiteX3" fmla="*/ 0 w 14753"/>
                <a:gd name="connsiteY3" fmla="*/ 3260 h 6480"/>
                <a:gd name="connsiteX4" fmla="*/ 4113 w 14753"/>
                <a:gd name="connsiteY4" fmla="*/ 0 h 6480"/>
                <a:gd name="connsiteX5" fmla="*/ 10641 w 14753"/>
                <a:gd name="connsiteY5" fmla="*/ 0 h 6480"/>
                <a:gd name="connsiteX6" fmla="*/ 14754 w 14753"/>
                <a:gd name="connsiteY6" fmla="*/ 3260 h 6480"/>
                <a:gd name="connsiteX7" fmla="*/ 10693 w 14753"/>
                <a:gd name="connsiteY7" fmla="*/ 6480 h 6480"/>
                <a:gd name="connsiteX8" fmla="*/ 10641 w 14753"/>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3" h="6480">
                  <a:moveTo>
                    <a:pt x="10641" y="6480"/>
                  </a:moveTo>
                  <a:lnTo>
                    <a:pt x="4113" y="6480"/>
                  </a:lnTo>
                  <a:cubicBezTo>
                    <a:pt x="1870" y="6502"/>
                    <a:pt x="29" y="5079"/>
                    <a:pt x="1" y="3302"/>
                  </a:cubicBezTo>
                  <a:cubicBezTo>
                    <a:pt x="0" y="3288"/>
                    <a:pt x="0" y="3274"/>
                    <a:pt x="0" y="3260"/>
                  </a:cubicBezTo>
                  <a:cubicBezTo>
                    <a:pt x="0" y="1460"/>
                    <a:pt x="1841" y="0"/>
                    <a:pt x="4113" y="0"/>
                  </a:cubicBezTo>
                  <a:lnTo>
                    <a:pt x="10641" y="0"/>
                  </a:lnTo>
                  <a:cubicBezTo>
                    <a:pt x="12912" y="0"/>
                    <a:pt x="14754" y="1460"/>
                    <a:pt x="14754" y="3260"/>
                  </a:cubicBezTo>
                  <a:cubicBezTo>
                    <a:pt x="14754" y="5039"/>
                    <a:pt x="12936" y="6480"/>
                    <a:pt x="10693" y="6480"/>
                  </a:cubicBezTo>
                  <a:cubicBezTo>
                    <a:pt x="10676" y="6480"/>
                    <a:pt x="10659"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3" name="Freeform: Shape 1542">
              <a:extLst>
                <a:ext uri="{FF2B5EF4-FFF2-40B4-BE49-F238E27FC236}">
                  <a16:creationId xmlns:a16="http://schemas.microsoft.com/office/drawing/2014/main" id="{F74900FB-AB6F-28FE-C636-53115F53B46A}"/>
                </a:ext>
              </a:extLst>
            </p:cNvPr>
            <p:cNvSpPr/>
            <p:nvPr/>
          </p:nvSpPr>
          <p:spPr>
            <a:xfrm>
              <a:off x="2400990" y="5326453"/>
              <a:ext cx="20162" cy="7706"/>
            </a:xfrm>
            <a:custGeom>
              <a:avLst/>
              <a:gdLst>
                <a:gd name="connsiteX0" fmla="*/ 17324 w 21385"/>
                <a:gd name="connsiteY0" fmla="*/ 6480 h 6480"/>
                <a:gd name="connsiteX1" fmla="*/ 4113 w 21385"/>
                <a:gd name="connsiteY1" fmla="*/ 6480 h 6480"/>
                <a:gd name="connsiteX2" fmla="*/ 1 w 21385"/>
                <a:gd name="connsiteY2" fmla="*/ 3302 h 6480"/>
                <a:gd name="connsiteX3" fmla="*/ 0 w 21385"/>
                <a:gd name="connsiteY3" fmla="*/ 3260 h 6480"/>
                <a:gd name="connsiteX4" fmla="*/ 4113 w 21385"/>
                <a:gd name="connsiteY4" fmla="*/ 0 h 6480"/>
                <a:gd name="connsiteX5" fmla="*/ 17324 w 21385"/>
                <a:gd name="connsiteY5" fmla="*/ 0 h 6480"/>
                <a:gd name="connsiteX6" fmla="*/ 21386 w 21385"/>
                <a:gd name="connsiteY6" fmla="*/ 3219 h 6480"/>
                <a:gd name="connsiteX7" fmla="*/ 21385 w 21385"/>
                <a:gd name="connsiteY7" fmla="*/ 3260 h 6480"/>
                <a:gd name="connsiteX8" fmla="*/ 17324 w 21385"/>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85" h="6480">
                  <a:moveTo>
                    <a:pt x="17324" y="6480"/>
                  </a:moveTo>
                  <a:lnTo>
                    <a:pt x="4113" y="6480"/>
                  </a:lnTo>
                  <a:cubicBezTo>
                    <a:pt x="1870" y="6502"/>
                    <a:pt x="29" y="5079"/>
                    <a:pt x="1" y="3302"/>
                  </a:cubicBezTo>
                  <a:cubicBezTo>
                    <a:pt x="0" y="3288"/>
                    <a:pt x="0" y="3274"/>
                    <a:pt x="0" y="3260"/>
                  </a:cubicBezTo>
                  <a:cubicBezTo>
                    <a:pt x="0" y="1460"/>
                    <a:pt x="1841" y="0"/>
                    <a:pt x="4113" y="0"/>
                  </a:cubicBezTo>
                  <a:lnTo>
                    <a:pt x="17324" y="0"/>
                  </a:lnTo>
                  <a:cubicBezTo>
                    <a:pt x="19567" y="0"/>
                    <a:pt x="21385" y="1441"/>
                    <a:pt x="21386" y="3219"/>
                  </a:cubicBezTo>
                  <a:cubicBezTo>
                    <a:pt x="21386" y="3233"/>
                    <a:pt x="21385" y="3247"/>
                    <a:pt x="21385" y="3260"/>
                  </a:cubicBezTo>
                  <a:cubicBezTo>
                    <a:pt x="21385" y="5039"/>
                    <a:pt x="19567" y="6480"/>
                    <a:pt x="17324"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4" name="Freeform: Shape 1543">
              <a:extLst>
                <a:ext uri="{FF2B5EF4-FFF2-40B4-BE49-F238E27FC236}">
                  <a16:creationId xmlns:a16="http://schemas.microsoft.com/office/drawing/2014/main" id="{FE9AF36F-A10A-043A-7125-46834F7460E6}"/>
                </a:ext>
              </a:extLst>
            </p:cNvPr>
            <p:cNvSpPr/>
            <p:nvPr/>
          </p:nvSpPr>
          <p:spPr>
            <a:xfrm>
              <a:off x="2438309" y="5326453"/>
              <a:ext cx="13861" cy="7706"/>
            </a:xfrm>
            <a:custGeom>
              <a:avLst/>
              <a:gdLst>
                <a:gd name="connsiteX0" fmla="*/ 10641 w 14702"/>
                <a:gd name="connsiteY0" fmla="*/ 6480 h 6480"/>
                <a:gd name="connsiteX1" fmla="*/ 4113 w 14702"/>
                <a:gd name="connsiteY1" fmla="*/ 6480 h 6480"/>
                <a:gd name="connsiteX2" fmla="*/ 1 w 14702"/>
                <a:gd name="connsiteY2" fmla="*/ 3302 h 6480"/>
                <a:gd name="connsiteX3" fmla="*/ 0 w 14702"/>
                <a:gd name="connsiteY3" fmla="*/ 3260 h 6480"/>
                <a:gd name="connsiteX4" fmla="*/ 4113 w 14702"/>
                <a:gd name="connsiteY4" fmla="*/ 0 h 6480"/>
                <a:gd name="connsiteX5" fmla="*/ 10641 w 14702"/>
                <a:gd name="connsiteY5" fmla="*/ 0 h 6480"/>
                <a:gd name="connsiteX6" fmla="*/ 14703 w 14702"/>
                <a:gd name="connsiteY6" fmla="*/ 3219 h 6480"/>
                <a:gd name="connsiteX7" fmla="*/ 14702 w 14702"/>
                <a:gd name="connsiteY7" fmla="*/ 3260 h 6480"/>
                <a:gd name="connsiteX8" fmla="*/ 10641 w 147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2" h="6480">
                  <a:moveTo>
                    <a:pt x="10641" y="6480"/>
                  </a:moveTo>
                  <a:lnTo>
                    <a:pt x="4113" y="6480"/>
                  </a:lnTo>
                  <a:cubicBezTo>
                    <a:pt x="1870" y="6502"/>
                    <a:pt x="29" y="5079"/>
                    <a:pt x="1" y="3302"/>
                  </a:cubicBezTo>
                  <a:cubicBezTo>
                    <a:pt x="0" y="3288"/>
                    <a:pt x="0" y="3274"/>
                    <a:pt x="0" y="3260"/>
                  </a:cubicBezTo>
                  <a:cubicBezTo>
                    <a:pt x="0" y="1460"/>
                    <a:pt x="1841" y="0"/>
                    <a:pt x="4113" y="0"/>
                  </a:cubicBezTo>
                  <a:lnTo>
                    <a:pt x="10641" y="0"/>
                  </a:lnTo>
                  <a:cubicBezTo>
                    <a:pt x="12884" y="0"/>
                    <a:pt x="14702" y="1441"/>
                    <a:pt x="14703" y="3219"/>
                  </a:cubicBezTo>
                  <a:cubicBezTo>
                    <a:pt x="14703" y="3233"/>
                    <a:pt x="14702" y="3247"/>
                    <a:pt x="14702" y="3260"/>
                  </a:cubicBezTo>
                  <a:cubicBezTo>
                    <a:pt x="14702" y="5039"/>
                    <a:pt x="12884"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5" name="Freeform: Shape 1544">
              <a:extLst>
                <a:ext uri="{FF2B5EF4-FFF2-40B4-BE49-F238E27FC236}">
                  <a16:creationId xmlns:a16="http://schemas.microsoft.com/office/drawing/2014/main" id="{D79F6118-A520-EB5A-5299-D9DBDBEEC5A5}"/>
                </a:ext>
              </a:extLst>
            </p:cNvPr>
            <p:cNvSpPr/>
            <p:nvPr/>
          </p:nvSpPr>
          <p:spPr>
            <a:xfrm>
              <a:off x="2369970" y="5346566"/>
              <a:ext cx="13909" cy="7754"/>
            </a:xfrm>
            <a:custGeom>
              <a:avLst/>
              <a:gdLst>
                <a:gd name="connsiteX0" fmla="*/ 10641 w 14753"/>
                <a:gd name="connsiteY0" fmla="*/ 6521 h 6520"/>
                <a:gd name="connsiteX1" fmla="*/ 4113 w 14753"/>
                <a:gd name="connsiteY1" fmla="*/ 6521 h 6520"/>
                <a:gd name="connsiteX2" fmla="*/ 0 w 14753"/>
                <a:gd name="connsiteY2" fmla="*/ 3260 h 6520"/>
                <a:gd name="connsiteX3" fmla="*/ 4113 w 14753"/>
                <a:gd name="connsiteY3" fmla="*/ 0 h 6520"/>
                <a:gd name="connsiteX4" fmla="*/ 10641 w 14753"/>
                <a:gd name="connsiteY4" fmla="*/ 0 h 6520"/>
                <a:gd name="connsiteX5" fmla="*/ 14754 w 14753"/>
                <a:gd name="connsiteY5" fmla="*/ 3260 h 6520"/>
                <a:gd name="connsiteX6" fmla="*/ 10641 w 14753"/>
                <a:gd name="connsiteY6" fmla="*/ 6521 h 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53" h="6520">
                  <a:moveTo>
                    <a:pt x="10641" y="6521"/>
                  </a:moveTo>
                  <a:lnTo>
                    <a:pt x="4113" y="6521"/>
                  </a:lnTo>
                  <a:cubicBezTo>
                    <a:pt x="1841" y="6521"/>
                    <a:pt x="0" y="5061"/>
                    <a:pt x="0" y="3260"/>
                  </a:cubicBezTo>
                  <a:cubicBezTo>
                    <a:pt x="0" y="1460"/>
                    <a:pt x="1841" y="0"/>
                    <a:pt x="4113" y="0"/>
                  </a:cubicBezTo>
                  <a:lnTo>
                    <a:pt x="10641" y="0"/>
                  </a:lnTo>
                  <a:cubicBezTo>
                    <a:pt x="12912" y="0"/>
                    <a:pt x="14754" y="1460"/>
                    <a:pt x="14754" y="3260"/>
                  </a:cubicBezTo>
                  <a:cubicBezTo>
                    <a:pt x="14754" y="5061"/>
                    <a:pt x="12912" y="6521"/>
                    <a:pt x="10641" y="6521"/>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6" name="Freeform: Shape 1545">
              <a:extLst>
                <a:ext uri="{FF2B5EF4-FFF2-40B4-BE49-F238E27FC236}">
                  <a16:creationId xmlns:a16="http://schemas.microsoft.com/office/drawing/2014/main" id="{EACC2A22-3736-EBE3-FF3A-B4FACAA14269}"/>
                </a:ext>
              </a:extLst>
            </p:cNvPr>
            <p:cNvSpPr/>
            <p:nvPr/>
          </p:nvSpPr>
          <p:spPr>
            <a:xfrm>
              <a:off x="2400990" y="5346566"/>
              <a:ext cx="20210" cy="7754"/>
            </a:xfrm>
            <a:custGeom>
              <a:avLst/>
              <a:gdLst>
                <a:gd name="connsiteX0" fmla="*/ 17324 w 21436"/>
                <a:gd name="connsiteY0" fmla="*/ 6521 h 6520"/>
                <a:gd name="connsiteX1" fmla="*/ 4113 w 21436"/>
                <a:gd name="connsiteY1" fmla="*/ 6521 h 6520"/>
                <a:gd name="connsiteX2" fmla="*/ 0 w 21436"/>
                <a:gd name="connsiteY2" fmla="*/ 3260 h 6520"/>
                <a:gd name="connsiteX3" fmla="*/ 4113 w 21436"/>
                <a:gd name="connsiteY3" fmla="*/ 0 h 6520"/>
                <a:gd name="connsiteX4" fmla="*/ 17324 w 21436"/>
                <a:gd name="connsiteY4" fmla="*/ 0 h 6520"/>
                <a:gd name="connsiteX5" fmla="*/ 21437 w 21436"/>
                <a:gd name="connsiteY5" fmla="*/ 3260 h 6520"/>
                <a:gd name="connsiteX6" fmla="*/ 17324 w 21436"/>
                <a:gd name="connsiteY6" fmla="*/ 6521 h 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36" h="6520">
                  <a:moveTo>
                    <a:pt x="17324" y="6521"/>
                  </a:moveTo>
                  <a:lnTo>
                    <a:pt x="4113" y="6521"/>
                  </a:lnTo>
                  <a:cubicBezTo>
                    <a:pt x="1841" y="6521"/>
                    <a:pt x="0" y="5061"/>
                    <a:pt x="0" y="3260"/>
                  </a:cubicBezTo>
                  <a:cubicBezTo>
                    <a:pt x="0" y="1460"/>
                    <a:pt x="1841" y="0"/>
                    <a:pt x="4113" y="0"/>
                  </a:cubicBezTo>
                  <a:lnTo>
                    <a:pt x="17324" y="0"/>
                  </a:lnTo>
                  <a:cubicBezTo>
                    <a:pt x="19595" y="0"/>
                    <a:pt x="21437" y="1460"/>
                    <a:pt x="21437" y="3260"/>
                  </a:cubicBezTo>
                  <a:cubicBezTo>
                    <a:pt x="21437" y="5061"/>
                    <a:pt x="19595" y="6521"/>
                    <a:pt x="17324" y="6521"/>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7" name="Freeform: Shape 1546">
              <a:extLst>
                <a:ext uri="{FF2B5EF4-FFF2-40B4-BE49-F238E27FC236}">
                  <a16:creationId xmlns:a16="http://schemas.microsoft.com/office/drawing/2014/main" id="{CEAC6788-B75E-EE2D-C13B-AE1CA1D52004}"/>
                </a:ext>
              </a:extLst>
            </p:cNvPr>
            <p:cNvSpPr/>
            <p:nvPr/>
          </p:nvSpPr>
          <p:spPr>
            <a:xfrm>
              <a:off x="2438309" y="5346566"/>
              <a:ext cx="13909" cy="7754"/>
            </a:xfrm>
            <a:custGeom>
              <a:avLst/>
              <a:gdLst>
                <a:gd name="connsiteX0" fmla="*/ 10641 w 14753"/>
                <a:gd name="connsiteY0" fmla="*/ 6521 h 6520"/>
                <a:gd name="connsiteX1" fmla="*/ 4113 w 14753"/>
                <a:gd name="connsiteY1" fmla="*/ 6521 h 6520"/>
                <a:gd name="connsiteX2" fmla="*/ 0 w 14753"/>
                <a:gd name="connsiteY2" fmla="*/ 3260 h 6520"/>
                <a:gd name="connsiteX3" fmla="*/ 4113 w 14753"/>
                <a:gd name="connsiteY3" fmla="*/ 0 h 6520"/>
                <a:gd name="connsiteX4" fmla="*/ 10641 w 14753"/>
                <a:gd name="connsiteY4" fmla="*/ 0 h 6520"/>
                <a:gd name="connsiteX5" fmla="*/ 14754 w 14753"/>
                <a:gd name="connsiteY5" fmla="*/ 3260 h 6520"/>
                <a:gd name="connsiteX6" fmla="*/ 10641 w 14753"/>
                <a:gd name="connsiteY6" fmla="*/ 6521 h 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53" h="6520">
                  <a:moveTo>
                    <a:pt x="10641" y="6521"/>
                  </a:moveTo>
                  <a:lnTo>
                    <a:pt x="4113" y="6521"/>
                  </a:lnTo>
                  <a:cubicBezTo>
                    <a:pt x="1841" y="6521"/>
                    <a:pt x="0" y="5061"/>
                    <a:pt x="0" y="3260"/>
                  </a:cubicBezTo>
                  <a:cubicBezTo>
                    <a:pt x="0" y="1460"/>
                    <a:pt x="1841" y="0"/>
                    <a:pt x="4113" y="0"/>
                  </a:cubicBezTo>
                  <a:lnTo>
                    <a:pt x="10641" y="0"/>
                  </a:lnTo>
                  <a:cubicBezTo>
                    <a:pt x="12912" y="0"/>
                    <a:pt x="14754" y="1460"/>
                    <a:pt x="14754" y="3260"/>
                  </a:cubicBezTo>
                  <a:cubicBezTo>
                    <a:pt x="14754" y="5061"/>
                    <a:pt x="12912" y="6521"/>
                    <a:pt x="10641" y="6521"/>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8" name="Freeform: Shape 1547">
              <a:extLst>
                <a:ext uri="{FF2B5EF4-FFF2-40B4-BE49-F238E27FC236}">
                  <a16:creationId xmlns:a16="http://schemas.microsoft.com/office/drawing/2014/main" id="{E9822B36-DDA7-B33F-96D3-8409DE2CCAB4}"/>
                </a:ext>
              </a:extLst>
            </p:cNvPr>
            <p:cNvSpPr/>
            <p:nvPr/>
          </p:nvSpPr>
          <p:spPr>
            <a:xfrm>
              <a:off x="2369970" y="5366680"/>
              <a:ext cx="13909" cy="7706"/>
            </a:xfrm>
            <a:custGeom>
              <a:avLst/>
              <a:gdLst>
                <a:gd name="connsiteX0" fmla="*/ 10641 w 14753"/>
                <a:gd name="connsiteY0" fmla="*/ 6480 h 6480"/>
                <a:gd name="connsiteX1" fmla="*/ 4113 w 14753"/>
                <a:gd name="connsiteY1" fmla="*/ 6480 h 6480"/>
                <a:gd name="connsiteX2" fmla="*/ 0 w 14753"/>
                <a:gd name="connsiteY2" fmla="*/ 3220 h 6480"/>
                <a:gd name="connsiteX3" fmla="*/ 4061 w 14753"/>
                <a:gd name="connsiteY3" fmla="*/ 0 h 6480"/>
                <a:gd name="connsiteX4" fmla="*/ 4113 w 14753"/>
                <a:gd name="connsiteY4" fmla="*/ 0 h 6480"/>
                <a:gd name="connsiteX5" fmla="*/ 10641 w 14753"/>
                <a:gd name="connsiteY5" fmla="*/ 0 h 6480"/>
                <a:gd name="connsiteX6" fmla="*/ 14753 w 14753"/>
                <a:gd name="connsiteY6" fmla="*/ 3179 h 6480"/>
                <a:gd name="connsiteX7" fmla="*/ 14754 w 14753"/>
                <a:gd name="connsiteY7" fmla="*/ 3220 h 6480"/>
                <a:gd name="connsiteX8" fmla="*/ 10641 w 14753"/>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3" h="6480">
                  <a:moveTo>
                    <a:pt x="10641" y="6480"/>
                  </a:moveTo>
                  <a:lnTo>
                    <a:pt x="4113" y="6480"/>
                  </a:lnTo>
                  <a:cubicBezTo>
                    <a:pt x="1841" y="6480"/>
                    <a:pt x="0" y="5021"/>
                    <a:pt x="0" y="3220"/>
                  </a:cubicBezTo>
                  <a:cubicBezTo>
                    <a:pt x="0" y="1442"/>
                    <a:pt x="1818" y="0"/>
                    <a:pt x="4061" y="0"/>
                  </a:cubicBezTo>
                  <a:cubicBezTo>
                    <a:pt x="4078" y="0"/>
                    <a:pt x="4095" y="0"/>
                    <a:pt x="4113" y="0"/>
                  </a:cubicBezTo>
                  <a:lnTo>
                    <a:pt x="10641" y="0"/>
                  </a:lnTo>
                  <a:cubicBezTo>
                    <a:pt x="12884" y="-22"/>
                    <a:pt x="14725" y="1401"/>
                    <a:pt x="14753" y="3179"/>
                  </a:cubicBezTo>
                  <a:cubicBezTo>
                    <a:pt x="14754" y="3193"/>
                    <a:pt x="14754" y="3206"/>
                    <a:pt x="14754" y="3220"/>
                  </a:cubicBezTo>
                  <a:cubicBezTo>
                    <a:pt x="14754" y="5021"/>
                    <a:pt x="12912"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49" name="Freeform: Shape 1548">
              <a:extLst>
                <a:ext uri="{FF2B5EF4-FFF2-40B4-BE49-F238E27FC236}">
                  <a16:creationId xmlns:a16="http://schemas.microsoft.com/office/drawing/2014/main" id="{A6817C14-84E7-A690-F9F9-C0DB9C6F64B0}"/>
                </a:ext>
              </a:extLst>
            </p:cNvPr>
            <p:cNvSpPr/>
            <p:nvPr/>
          </p:nvSpPr>
          <p:spPr>
            <a:xfrm>
              <a:off x="2400990" y="5366680"/>
              <a:ext cx="20162" cy="7706"/>
            </a:xfrm>
            <a:custGeom>
              <a:avLst/>
              <a:gdLst>
                <a:gd name="connsiteX0" fmla="*/ 17324 w 21385"/>
                <a:gd name="connsiteY0" fmla="*/ 6480 h 6480"/>
                <a:gd name="connsiteX1" fmla="*/ 4113 w 21385"/>
                <a:gd name="connsiteY1" fmla="*/ 6480 h 6480"/>
                <a:gd name="connsiteX2" fmla="*/ 0 w 21385"/>
                <a:gd name="connsiteY2" fmla="*/ 3220 h 6480"/>
                <a:gd name="connsiteX3" fmla="*/ 4061 w 21385"/>
                <a:gd name="connsiteY3" fmla="*/ 0 h 6480"/>
                <a:gd name="connsiteX4" fmla="*/ 4113 w 21385"/>
                <a:gd name="connsiteY4" fmla="*/ 0 h 6480"/>
                <a:gd name="connsiteX5" fmla="*/ 17324 w 21385"/>
                <a:gd name="connsiteY5" fmla="*/ 0 h 6480"/>
                <a:gd name="connsiteX6" fmla="*/ 21385 w 21385"/>
                <a:gd name="connsiteY6" fmla="*/ 3220 h 6480"/>
                <a:gd name="connsiteX7" fmla="*/ 17376 w 21385"/>
                <a:gd name="connsiteY7" fmla="*/ 6480 h 6480"/>
                <a:gd name="connsiteX8" fmla="*/ 17324 w 21385"/>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85" h="6480">
                  <a:moveTo>
                    <a:pt x="17324" y="6480"/>
                  </a:moveTo>
                  <a:lnTo>
                    <a:pt x="4113" y="6480"/>
                  </a:lnTo>
                  <a:cubicBezTo>
                    <a:pt x="1841" y="6480"/>
                    <a:pt x="0" y="5021"/>
                    <a:pt x="0" y="3220"/>
                  </a:cubicBezTo>
                  <a:cubicBezTo>
                    <a:pt x="0" y="1442"/>
                    <a:pt x="1818" y="0"/>
                    <a:pt x="4061" y="0"/>
                  </a:cubicBezTo>
                  <a:cubicBezTo>
                    <a:pt x="4078" y="0"/>
                    <a:pt x="4095" y="0"/>
                    <a:pt x="4113" y="0"/>
                  </a:cubicBezTo>
                  <a:lnTo>
                    <a:pt x="17324" y="0"/>
                  </a:lnTo>
                  <a:cubicBezTo>
                    <a:pt x="19567" y="0"/>
                    <a:pt x="21385" y="1442"/>
                    <a:pt x="21385" y="3220"/>
                  </a:cubicBezTo>
                  <a:cubicBezTo>
                    <a:pt x="21414" y="4998"/>
                    <a:pt x="19618" y="6458"/>
                    <a:pt x="17376" y="6480"/>
                  </a:cubicBezTo>
                  <a:cubicBezTo>
                    <a:pt x="17359" y="6480"/>
                    <a:pt x="17342" y="6480"/>
                    <a:pt x="17324"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0" name="Freeform: Shape 1549">
              <a:extLst>
                <a:ext uri="{FF2B5EF4-FFF2-40B4-BE49-F238E27FC236}">
                  <a16:creationId xmlns:a16="http://schemas.microsoft.com/office/drawing/2014/main" id="{7DB53EC0-1F1E-286A-4289-0FAC608C918F}"/>
                </a:ext>
              </a:extLst>
            </p:cNvPr>
            <p:cNvSpPr/>
            <p:nvPr/>
          </p:nvSpPr>
          <p:spPr>
            <a:xfrm>
              <a:off x="2438309" y="5366680"/>
              <a:ext cx="13861" cy="7706"/>
            </a:xfrm>
            <a:custGeom>
              <a:avLst/>
              <a:gdLst>
                <a:gd name="connsiteX0" fmla="*/ 10641 w 14702"/>
                <a:gd name="connsiteY0" fmla="*/ 6480 h 6480"/>
                <a:gd name="connsiteX1" fmla="*/ 4113 w 14702"/>
                <a:gd name="connsiteY1" fmla="*/ 6480 h 6480"/>
                <a:gd name="connsiteX2" fmla="*/ 0 w 14702"/>
                <a:gd name="connsiteY2" fmla="*/ 3220 h 6480"/>
                <a:gd name="connsiteX3" fmla="*/ 4061 w 14702"/>
                <a:gd name="connsiteY3" fmla="*/ 0 h 6480"/>
                <a:gd name="connsiteX4" fmla="*/ 4113 w 14702"/>
                <a:gd name="connsiteY4" fmla="*/ 0 h 6480"/>
                <a:gd name="connsiteX5" fmla="*/ 10641 w 14702"/>
                <a:gd name="connsiteY5" fmla="*/ 0 h 6480"/>
                <a:gd name="connsiteX6" fmla="*/ 14702 w 14702"/>
                <a:gd name="connsiteY6" fmla="*/ 3220 h 6480"/>
                <a:gd name="connsiteX7" fmla="*/ 10693 w 14702"/>
                <a:gd name="connsiteY7" fmla="*/ 6480 h 6480"/>
                <a:gd name="connsiteX8" fmla="*/ 10641 w 1470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2" h="6480">
                  <a:moveTo>
                    <a:pt x="10641" y="6480"/>
                  </a:moveTo>
                  <a:lnTo>
                    <a:pt x="4113" y="6480"/>
                  </a:lnTo>
                  <a:cubicBezTo>
                    <a:pt x="1841" y="6480"/>
                    <a:pt x="0" y="5021"/>
                    <a:pt x="0" y="3220"/>
                  </a:cubicBezTo>
                  <a:cubicBezTo>
                    <a:pt x="0" y="1442"/>
                    <a:pt x="1818" y="0"/>
                    <a:pt x="4061" y="0"/>
                  </a:cubicBezTo>
                  <a:cubicBezTo>
                    <a:pt x="4078" y="0"/>
                    <a:pt x="4095" y="0"/>
                    <a:pt x="4113" y="0"/>
                  </a:cubicBezTo>
                  <a:lnTo>
                    <a:pt x="10641" y="0"/>
                  </a:lnTo>
                  <a:cubicBezTo>
                    <a:pt x="12884" y="0"/>
                    <a:pt x="14702" y="1442"/>
                    <a:pt x="14702" y="3220"/>
                  </a:cubicBezTo>
                  <a:cubicBezTo>
                    <a:pt x="14731" y="4998"/>
                    <a:pt x="12936" y="6458"/>
                    <a:pt x="10693" y="6480"/>
                  </a:cubicBezTo>
                  <a:cubicBezTo>
                    <a:pt x="10676" y="6480"/>
                    <a:pt x="10659" y="6480"/>
                    <a:pt x="10641"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1" name="Freeform: Shape 1550">
              <a:extLst>
                <a:ext uri="{FF2B5EF4-FFF2-40B4-BE49-F238E27FC236}">
                  <a16:creationId xmlns:a16="http://schemas.microsoft.com/office/drawing/2014/main" id="{4968A57A-828E-91A3-2905-7930937F85AA}"/>
                </a:ext>
              </a:extLst>
            </p:cNvPr>
            <p:cNvSpPr/>
            <p:nvPr/>
          </p:nvSpPr>
          <p:spPr>
            <a:xfrm>
              <a:off x="2505049" y="5280844"/>
              <a:ext cx="71344" cy="71344"/>
            </a:xfrm>
            <a:custGeom>
              <a:avLst/>
              <a:gdLst>
                <a:gd name="connsiteX0" fmla="*/ 37836 w 75671"/>
                <a:gd name="connsiteY0" fmla="*/ 59991 h 59991"/>
                <a:gd name="connsiteX1" fmla="*/ 0 w 75671"/>
                <a:gd name="connsiteY1" fmla="*/ 29996 h 59991"/>
                <a:gd name="connsiteX2" fmla="*/ 37836 w 75671"/>
                <a:gd name="connsiteY2" fmla="*/ 0 h 59991"/>
                <a:gd name="connsiteX3" fmla="*/ 75671 w 75671"/>
                <a:gd name="connsiteY3" fmla="*/ 29996 h 59991"/>
                <a:gd name="connsiteX4" fmla="*/ 37836 w 75671"/>
                <a:gd name="connsiteY4" fmla="*/ 59991 h 59991"/>
                <a:gd name="connsiteX5" fmla="*/ 37836 w 75671"/>
                <a:gd name="connsiteY5" fmla="*/ 6480 h 59991"/>
                <a:gd name="connsiteX6" fmla="*/ 8174 w 75671"/>
                <a:gd name="connsiteY6" fmla="*/ 29996 h 59991"/>
                <a:gd name="connsiteX7" fmla="*/ 37836 w 75671"/>
                <a:gd name="connsiteY7" fmla="*/ 53511 h 59991"/>
                <a:gd name="connsiteX8" fmla="*/ 67497 w 75671"/>
                <a:gd name="connsiteY8" fmla="*/ 29996 h 59991"/>
                <a:gd name="connsiteX9" fmla="*/ 37836 w 75671"/>
                <a:gd name="connsiteY9" fmla="*/ 6480 h 5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71" h="59991">
                  <a:moveTo>
                    <a:pt x="37836" y="59991"/>
                  </a:moveTo>
                  <a:cubicBezTo>
                    <a:pt x="16940" y="59991"/>
                    <a:pt x="0" y="46562"/>
                    <a:pt x="0" y="29996"/>
                  </a:cubicBezTo>
                  <a:cubicBezTo>
                    <a:pt x="0" y="13430"/>
                    <a:pt x="16940" y="0"/>
                    <a:pt x="37836" y="0"/>
                  </a:cubicBezTo>
                  <a:cubicBezTo>
                    <a:pt x="58731" y="0"/>
                    <a:pt x="75671" y="13430"/>
                    <a:pt x="75671" y="29996"/>
                  </a:cubicBezTo>
                  <a:cubicBezTo>
                    <a:pt x="75643" y="46552"/>
                    <a:pt x="58720" y="59969"/>
                    <a:pt x="37836" y="59991"/>
                  </a:cubicBezTo>
                  <a:close/>
                  <a:moveTo>
                    <a:pt x="37836" y="6480"/>
                  </a:moveTo>
                  <a:cubicBezTo>
                    <a:pt x="21454" y="6480"/>
                    <a:pt x="8174" y="17008"/>
                    <a:pt x="8174" y="29996"/>
                  </a:cubicBezTo>
                  <a:cubicBezTo>
                    <a:pt x="8174" y="42983"/>
                    <a:pt x="21454" y="53511"/>
                    <a:pt x="37836" y="53511"/>
                  </a:cubicBezTo>
                  <a:cubicBezTo>
                    <a:pt x="54217" y="53511"/>
                    <a:pt x="67497" y="42983"/>
                    <a:pt x="67497" y="29996"/>
                  </a:cubicBezTo>
                  <a:cubicBezTo>
                    <a:pt x="67469" y="17018"/>
                    <a:pt x="54206" y="6502"/>
                    <a:pt x="37836"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2" name="Freeform: Shape 1551">
              <a:extLst>
                <a:ext uri="{FF2B5EF4-FFF2-40B4-BE49-F238E27FC236}">
                  <a16:creationId xmlns:a16="http://schemas.microsoft.com/office/drawing/2014/main" id="{EF4E1A8A-FEA6-DEDB-DCF0-CBF9749E4E74}"/>
                </a:ext>
              </a:extLst>
            </p:cNvPr>
            <p:cNvSpPr/>
            <p:nvPr/>
          </p:nvSpPr>
          <p:spPr>
            <a:xfrm>
              <a:off x="2466712" y="5258695"/>
              <a:ext cx="77839" cy="29856"/>
            </a:xfrm>
            <a:custGeom>
              <a:avLst/>
              <a:gdLst>
                <a:gd name="connsiteX0" fmla="*/ 78498 w 82560"/>
                <a:gd name="connsiteY0" fmla="*/ 25105 h 25105"/>
                <a:gd name="connsiteX1" fmla="*/ 74386 w 82560"/>
                <a:gd name="connsiteY1" fmla="*/ 21845 h 25105"/>
                <a:gd name="connsiteX2" fmla="*/ 74386 w 82560"/>
                <a:gd name="connsiteY2" fmla="*/ 6521 h 25105"/>
                <a:gd name="connsiteX3" fmla="*/ 4113 w 82560"/>
                <a:gd name="connsiteY3" fmla="*/ 6521 h 25105"/>
                <a:gd name="connsiteX4" fmla="*/ 0 w 82560"/>
                <a:gd name="connsiteY4" fmla="*/ 3260 h 25105"/>
                <a:gd name="connsiteX5" fmla="*/ 4113 w 82560"/>
                <a:gd name="connsiteY5" fmla="*/ 0 h 25105"/>
                <a:gd name="connsiteX6" fmla="*/ 78498 w 82560"/>
                <a:gd name="connsiteY6" fmla="*/ 0 h 25105"/>
                <a:gd name="connsiteX7" fmla="*/ 82560 w 82560"/>
                <a:gd name="connsiteY7" fmla="*/ 3219 h 25105"/>
                <a:gd name="connsiteX8" fmla="*/ 82560 w 82560"/>
                <a:gd name="connsiteY8" fmla="*/ 3260 h 25105"/>
                <a:gd name="connsiteX9" fmla="*/ 82560 w 82560"/>
                <a:gd name="connsiteY9" fmla="*/ 21845 h 25105"/>
                <a:gd name="connsiteX10" fmla="*/ 78550 w 82560"/>
                <a:gd name="connsiteY10" fmla="*/ 25105 h 25105"/>
                <a:gd name="connsiteX11" fmla="*/ 78498 w 82560"/>
                <a:gd name="connsiteY11" fmla="*/ 25105 h 2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560" h="25105">
                  <a:moveTo>
                    <a:pt x="78498" y="25105"/>
                  </a:moveTo>
                  <a:cubicBezTo>
                    <a:pt x="76227" y="25105"/>
                    <a:pt x="74386" y="23645"/>
                    <a:pt x="74386" y="21845"/>
                  </a:cubicBezTo>
                  <a:lnTo>
                    <a:pt x="74386" y="6521"/>
                  </a:lnTo>
                  <a:lnTo>
                    <a:pt x="4113" y="6521"/>
                  </a:lnTo>
                  <a:cubicBezTo>
                    <a:pt x="1841" y="6521"/>
                    <a:pt x="0" y="5061"/>
                    <a:pt x="0" y="3260"/>
                  </a:cubicBezTo>
                  <a:cubicBezTo>
                    <a:pt x="0" y="1460"/>
                    <a:pt x="1841" y="0"/>
                    <a:pt x="4113" y="0"/>
                  </a:cubicBezTo>
                  <a:lnTo>
                    <a:pt x="78498" y="0"/>
                  </a:lnTo>
                  <a:cubicBezTo>
                    <a:pt x="80741" y="0"/>
                    <a:pt x="82560" y="1441"/>
                    <a:pt x="82560" y="3219"/>
                  </a:cubicBezTo>
                  <a:cubicBezTo>
                    <a:pt x="82560" y="3233"/>
                    <a:pt x="82560" y="3247"/>
                    <a:pt x="82560" y="3260"/>
                  </a:cubicBezTo>
                  <a:lnTo>
                    <a:pt x="82560" y="21845"/>
                  </a:lnTo>
                  <a:cubicBezTo>
                    <a:pt x="82588" y="23623"/>
                    <a:pt x="80793" y="25082"/>
                    <a:pt x="78550" y="25105"/>
                  </a:cubicBezTo>
                  <a:cubicBezTo>
                    <a:pt x="78533" y="25105"/>
                    <a:pt x="78516" y="25105"/>
                    <a:pt x="78498" y="25105"/>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3" name="Freeform: Shape 1552">
              <a:extLst>
                <a:ext uri="{FF2B5EF4-FFF2-40B4-BE49-F238E27FC236}">
                  <a16:creationId xmlns:a16="http://schemas.microsoft.com/office/drawing/2014/main" id="{ACEB9462-B9C2-BC90-9944-99D80BD2B650}"/>
                </a:ext>
              </a:extLst>
            </p:cNvPr>
            <p:cNvSpPr/>
            <p:nvPr/>
          </p:nvSpPr>
          <p:spPr>
            <a:xfrm>
              <a:off x="2407242" y="5385583"/>
              <a:ext cx="77693" cy="38095"/>
            </a:xfrm>
            <a:custGeom>
              <a:avLst/>
              <a:gdLst>
                <a:gd name="connsiteX0" fmla="*/ 78293 w 82405"/>
                <a:gd name="connsiteY0" fmla="*/ 32034 h 32033"/>
                <a:gd name="connsiteX1" fmla="*/ 4062 w 82405"/>
                <a:gd name="connsiteY1" fmla="*/ 32034 h 32033"/>
                <a:gd name="connsiteX2" fmla="*/ 0 w 82405"/>
                <a:gd name="connsiteY2" fmla="*/ 28814 h 32033"/>
                <a:gd name="connsiteX3" fmla="*/ 1 w 82405"/>
                <a:gd name="connsiteY3" fmla="*/ 28773 h 32033"/>
                <a:gd name="connsiteX4" fmla="*/ 1 w 82405"/>
                <a:gd name="connsiteY4" fmla="*/ 3220 h 32033"/>
                <a:gd name="connsiteX5" fmla="*/ 4062 w 82405"/>
                <a:gd name="connsiteY5" fmla="*/ 0 h 32033"/>
                <a:gd name="connsiteX6" fmla="*/ 8174 w 82405"/>
                <a:gd name="connsiteY6" fmla="*/ 3179 h 32033"/>
                <a:gd name="connsiteX7" fmla="*/ 8174 w 82405"/>
                <a:gd name="connsiteY7" fmla="*/ 3220 h 32033"/>
                <a:gd name="connsiteX8" fmla="*/ 8174 w 82405"/>
                <a:gd name="connsiteY8" fmla="*/ 25554 h 32033"/>
                <a:gd name="connsiteX9" fmla="*/ 78293 w 82405"/>
                <a:gd name="connsiteY9" fmla="*/ 25554 h 32033"/>
                <a:gd name="connsiteX10" fmla="*/ 82405 w 82405"/>
                <a:gd name="connsiteY10" fmla="*/ 28732 h 32033"/>
                <a:gd name="connsiteX11" fmla="*/ 82406 w 82405"/>
                <a:gd name="connsiteY11" fmla="*/ 28773 h 32033"/>
                <a:gd name="connsiteX12" fmla="*/ 78293 w 82405"/>
                <a:gd name="connsiteY12" fmla="*/ 32034 h 3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05" h="32033">
                  <a:moveTo>
                    <a:pt x="78293" y="32034"/>
                  </a:moveTo>
                  <a:lnTo>
                    <a:pt x="4062" y="32034"/>
                  </a:lnTo>
                  <a:cubicBezTo>
                    <a:pt x="1819" y="32034"/>
                    <a:pt x="1" y="30593"/>
                    <a:pt x="0" y="28814"/>
                  </a:cubicBezTo>
                  <a:cubicBezTo>
                    <a:pt x="0" y="28801"/>
                    <a:pt x="1" y="28787"/>
                    <a:pt x="1" y="28773"/>
                  </a:cubicBezTo>
                  <a:lnTo>
                    <a:pt x="1" y="3220"/>
                  </a:lnTo>
                  <a:cubicBezTo>
                    <a:pt x="1" y="1442"/>
                    <a:pt x="1819" y="0"/>
                    <a:pt x="4062" y="0"/>
                  </a:cubicBezTo>
                  <a:cubicBezTo>
                    <a:pt x="6305" y="-22"/>
                    <a:pt x="8145" y="1401"/>
                    <a:pt x="8174" y="3179"/>
                  </a:cubicBezTo>
                  <a:cubicBezTo>
                    <a:pt x="8174" y="3193"/>
                    <a:pt x="8174" y="3206"/>
                    <a:pt x="8174" y="3220"/>
                  </a:cubicBezTo>
                  <a:lnTo>
                    <a:pt x="8174" y="25554"/>
                  </a:lnTo>
                  <a:lnTo>
                    <a:pt x="78293" y="25554"/>
                  </a:lnTo>
                  <a:cubicBezTo>
                    <a:pt x="80536" y="25531"/>
                    <a:pt x="82377" y="26954"/>
                    <a:pt x="82405" y="28732"/>
                  </a:cubicBezTo>
                  <a:cubicBezTo>
                    <a:pt x="82406" y="28746"/>
                    <a:pt x="82406" y="28759"/>
                    <a:pt x="82406" y="28773"/>
                  </a:cubicBezTo>
                  <a:cubicBezTo>
                    <a:pt x="82406" y="30574"/>
                    <a:pt x="80564" y="32034"/>
                    <a:pt x="78293" y="32034"/>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4" name="Freeform: Shape 1553">
              <a:extLst>
                <a:ext uri="{FF2B5EF4-FFF2-40B4-BE49-F238E27FC236}">
                  <a16:creationId xmlns:a16="http://schemas.microsoft.com/office/drawing/2014/main" id="{3078707C-751E-E323-308D-BE501CB6DFE2}"/>
                </a:ext>
              </a:extLst>
            </p:cNvPr>
            <p:cNvSpPr/>
            <p:nvPr/>
          </p:nvSpPr>
          <p:spPr>
            <a:xfrm>
              <a:off x="2483385" y="5312640"/>
              <a:ext cx="29371" cy="7706"/>
            </a:xfrm>
            <a:custGeom>
              <a:avLst/>
              <a:gdLst>
                <a:gd name="connsiteX0" fmla="*/ 27040 w 31152"/>
                <a:gd name="connsiteY0" fmla="*/ 6480 h 6480"/>
                <a:gd name="connsiteX1" fmla="*/ 4113 w 31152"/>
                <a:gd name="connsiteY1" fmla="*/ 6480 h 6480"/>
                <a:gd name="connsiteX2" fmla="*/ 1 w 31152"/>
                <a:gd name="connsiteY2" fmla="*/ 3302 h 6480"/>
                <a:gd name="connsiteX3" fmla="*/ 0 w 31152"/>
                <a:gd name="connsiteY3" fmla="*/ 3260 h 6480"/>
                <a:gd name="connsiteX4" fmla="*/ 4113 w 31152"/>
                <a:gd name="connsiteY4" fmla="*/ 0 h 6480"/>
                <a:gd name="connsiteX5" fmla="*/ 27040 w 31152"/>
                <a:gd name="connsiteY5" fmla="*/ 0 h 6480"/>
                <a:gd name="connsiteX6" fmla="*/ 31153 w 31152"/>
                <a:gd name="connsiteY6" fmla="*/ 3260 h 6480"/>
                <a:gd name="connsiteX7" fmla="*/ 27092 w 31152"/>
                <a:gd name="connsiteY7" fmla="*/ 6480 h 6480"/>
                <a:gd name="connsiteX8" fmla="*/ 27040 w 31152"/>
                <a:gd name="connsiteY8" fmla="*/ 6480 h 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52" h="6480">
                  <a:moveTo>
                    <a:pt x="27040" y="6480"/>
                  </a:moveTo>
                  <a:lnTo>
                    <a:pt x="4113" y="6480"/>
                  </a:lnTo>
                  <a:cubicBezTo>
                    <a:pt x="1870" y="6502"/>
                    <a:pt x="29" y="5079"/>
                    <a:pt x="1" y="3302"/>
                  </a:cubicBezTo>
                  <a:cubicBezTo>
                    <a:pt x="0" y="3288"/>
                    <a:pt x="0" y="3274"/>
                    <a:pt x="0" y="3260"/>
                  </a:cubicBezTo>
                  <a:cubicBezTo>
                    <a:pt x="0" y="1460"/>
                    <a:pt x="1841" y="0"/>
                    <a:pt x="4113" y="0"/>
                  </a:cubicBezTo>
                  <a:lnTo>
                    <a:pt x="27040" y="0"/>
                  </a:lnTo>
                  <a:cubicBezTo>
                    <a:pt x="29311" y="0"/>
                    <a:pt x="31153" y="1460"/>
                    <a:pt x="31153" y="3260"/>
                  </a:cubicBezTo>
                  <a:cubicBezTo>
                    <a:pt x="31153" y="5039"/>
                    <a:pt x="29335" y="6480"/>
                    <a:pt x="27092" y="6480"/>
                  </a:cubicBezTo>
                  <a:cubicBezTo>
                    <a:pt x="27074" y="6480"/>
                    <a:pt x="27058" y="6480"/>
                    <a:pt x="27040" y="6480"/>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5" name="Freeform: Shape 1554">
              <a:extLst>
                <a:ext uri="{FF2B5EF4-FFF2-40B4-BE49-F238E27FC236}">
                  <a16:creationId xmlns:a16="http://schemas.microsoft.com/office/drawing/2014/main" id="{202086F6-3BE0-B3DA-EA9D-1F0143DCC6F6}"/>
                </a:ext>
              </a:extLst>
            </p:cNvPr>
            <p:cNvSpPr/>
            <p:nvPr/>
          </p:nvSpPr>
          <p:spPr>
            <a:xfrm>
              <a:off x="2515227" y="5361446"/>
              <a:ext cx="7706" cy="24186"/>
            </a:xfrm>
            <a:custGeom>
              <a:avLst/>
              <a:gdLst>
                <a:gd name="connsiteX0" fmla="*/ 4113 w 8173"/>
                <a:gd name="connsiteY0" fmla="*/ 20337 h 20337"/>
                <a:gd name="connsiteX1" fmla="*/ 1 w 8173"/>
                <a:gd name="connsiteY1" fmla="*/ 17159 h 20337"/>
                <a:gd name="connsiteX2" fmla="*/ 0 w 8173"/>
                <a:gd name="connsiteY2" fmla="*/ 17118 h 20337"/>
                <a:gd name="connsiteX3" fmla="*/ 0 w 8173"/>
                <a:gd name="connsiteY3" fmla="*/ 3220 h 20337"/>
                <a:gd name="connsiteX4" fmla="*/ 4061 w 8173"/>
                <a:gd name="connsiteY4" fmla="*/ 0 h 20337"/>
                <a:gd name="connsiteX5" fmla="*/ 4113 w 8173"/>
                <a:gd name="connsiteY5" fmla="*/ 0 h 20337"/>
                <a:gd name="connsiteX6" fmla="*/ 8174 w 8173"/>
                <a:gd name="connsiteY6" fmla="*/ 3220 h 20337"/>
                <a:gd name="connsiteX7" fmla="*/ 8174 w 8173"/>
                <a:gd name="connsiteY7" fmla="*/ 17118 h 20337"/>
                <a:gd name="connsiteX8" fmla="*/ 4113 w 8173"/>
                <a:gd name="connsiteY8" fmla="*/ 20337 h 2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73" h="20337">
                  <a:moveTo>
                    <a:pt x="4113" y="20337"/>
                  </a:moveTo>
                  <a:cubicBezTo>
                    <a:pt x="1870" y="20360"/>
                    <a:pt x="29" y="18936"/>
                    <a:pt x="1" y="17159"/>
                  </a:cubicBezTo>
                  <a:cubicBezTo>
                    <a:pt x="0" y="17145"/>
                    <a:pt x="0" y="17131"/>
                    <a:pt x="0" y="17118"/>
                  </a:cubicBezTo>
                  <a:lnTo>
                    <a:pt x="0" y="3220"/>
                  </a:lnTo>
                  <a:cubicBezTo>
                    <a:pt x="0" y="1442"/>
                    <a:pt x="1818" y="0"/>
                    <a:pt x="4061" y="0"/>
                  </a:cubicBezTo>
                  <a:cubicBezTo>
                    <a:pt x="4078" y="0"/>
                    <a:pt x="4095" y="0"/>
                    <a:pt x="4113" y="0"/>
                  </a:cubicBezTo>
                  <a:cubicBezTo>
                    <a:pt x="6355" y="0"/>
                    <a:pt x="8174" y="1442"/>
                    <a:pt x="8174" y="3220"/>
                  </a:cubicBezTo>
                  <a:lnTo>
                    <a:pt x="8174" y="17118"/>
                  </a:lnTo>
                  <a:cubicBezTo>
                    <a:pt x="8174" y="18896"/>
                    <a:pt x="6355" y="20337"/>
                    <a:pt x="4113" y="20337"/>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6" name="Freeform: Shape 1555">
              <a:extLst>
                <a:ext uri="{FF2B5EF4-FFF2-40B4-BE49-F238E27FC236}">
                  <a16:creationId xmlns:a16="http://schemas.microsoft.com/office/drawing/2014/main" id="{E65BD7C1-DCC9-A226-31B2-A3E94B7E3693}"/>
                </a:ext>
              </a:extLst>
            </p:cNvPr>
            <p:cNvSpPr/>
            <p:nvPr/>
          </p:nvSpPr>
          <p:spPr>
            <a:xfrm>
              <a:off x="2477180" y="5377877"/>
              <a:ext cx="83897" cy="83752"/>
            </a:xfrm>
            <a:custGeom>
              <a:avLst/>
              <a:gdLst>
                <a:gd name="connsiteX0" fmla="*/ 50173 w 88985"/>
                <a:gd name="connsiteY0" fmla="*/ 70425 h 70425"/>
                <a:gd name="connsiteX1" fmla="*/ 38709 w 88985"/>
                <a:gd name="connsiteY1" fmla="*/ 70425 h 70425"/>
                <a:gd name="connsiteX2" fmla="*/ 30690 w 88985"/>
                <a:gd name="connsiteY2" fmla="*/ 64067 h 70425"/>
                <a:gd name="connsiteX3" fmla="*/ 30690 w 88985"/>
                <a:gd name="connsiteY3" fmla="*/ 64026 h 70425"/>
                <a:gd name="connsiteX4" fmla="*/ 30690 w 88985"/>
                <a:gd name="connsiteY4" fmla="*/ 61581 h 70425"/>
                <a:gd name="connsiteX5" fmla="*/ 28479 w 88985"/>
                <a:gd name="connsiteY5" fmla="*/ 63293 h 70425"/>
                <a:gd name="connsiteX6" fmla="*/ 22773 w 88985"/>
                <a:gd name="connsiteY6" fmla="*/ 65167 h 70425"/>
                <a:gd name="connsiteX7" fmla="*/ 17067 w 88985"/>
                <a:gd name="connsiteY7" fmla="*/ 63293 h 70425"/>
                <a:gd name="connsiteX8" fmla="*/ 8996 w 88985"/>
                <a:gd name="connsiteY8" fmla="*/ 56975 h 70425"/>
                <a:gd name="connsiteX9" fmla="*/ 8996 w 88985"/>
                <a:gd name="connsiteY9" fmla="*/ 47928 h 70425"/>
                <a:gd name="connsiteX10" fmla="*/ 11155 w 88985"/>
                <a:gd name="connsiteY10" fmla="*/ 46216 h 70425"/>
                <a:gd name="connsiteX11" fmla="*/ 8071 w 88985"/>
                <a:gd name="connsiteY11" fmla="*/ 46216 h 70425"/>
                <a:gd name="connsiteX12" fmla="*/ 0 w 88985"/>
                <a:gd name="connsiteY12" fmla="*/ 39818 h 70425"/>
                <a:gd name="connsiteX13" fmla="*/ 0 w 88985"/>
                <a:gd name="connsiteY13" fmla="*/ 30729 h 70425"/>
                <a:gd name="connsiteX14" fmla="*/ 8071 w 88985"/>
                <a:gd name="connsiteY14" fmla="*/ 24331 h 70425"/>
                <a:gd name="connsiteX15" fmla="*/ 11155 w 88985"/>
                <a:gd name="connsiteY15" fmla="*/ 24331 h 70425"/>
                <a:gd name="connsiteX16" fmla="*/ 8996 w 88985"/>
                <a:gd name="connsiteY16" fmla="*/ 22619 h 70425"/>
                <a:gd name="connsiteX17" fmla="*/ 8996 w 88985"/>
                <a:gd name="connsiteY17" fmla="*/ 13571 h 70425"/>
                <a:gd name="connsiteX18" fmla="*/ 17067 w 88985"/>
                <a:gd name="connsiteY18" fmla="*/ 7132 h 70425"/>
                <a:gd name="connsiteX19" fmla="*/ 22773 w 88985"/>
                <a:gd name="connsiteY19" fmla="*/ 5217 h 70425"/>
                <a:gd name="connsiteX20" fmla="*/ 28479 w 88985"/>
                <a:gd name="connsiteY20" fmla="*/ 7091 h 70425"/>
                <a:gd name="connsiteX21" fmla="*/ 30690 w 88985"/>
                <a:gd name="connsiteY21" fmla="*/ 8844 h 70425"/>
                <a:gd name="connsiteX22" fmla="*/ 30690 w 88985"/>
                <a:gd name="connsiteY22" fmla="*/ 6399 h 70425"/>
                <a:gd name="connsiteX23" fmla="*/ 38658 w 88985"/>
                <a:gd name="connsiteY23" fmla="*/ 0 h 70425"/>
                <a:gd name="connsiteX24" fmla="*/ 38709 w 88985"/>
                <a:gd name="connsiteY24" fmla="*/ 0 h 70425"/>
                <a:gd name="connsiteX25" fmla="*/ 50173 w 88985"/>
                <a:gd name="connsiteY25" fmla="*/ 0 h 70425"/>
                <a:gd name="connsiteX26" fmla="*/ 58244 w 88985"/>
                <a:gd name="connsiteY26" fmla="*/ 6399 h 70425"/>
                <a:gd name="connsiteX27" fmla="*/ 58244 w 88985"/>
                <a:gd name="connsiteY27" fmla="*/ 8844 h 70425"/>
                <a:gd name="connsiteX28" fmla="*/ 60455 w 88985"/>
                <a:gd name="connsiteY28" fmla="*/ 7091 h 70425"/>
                <a:gd name="connsiteX29" fmla="*/ 66212 w 88985"/>
                <a:gd name="connsiteY29" fmla="*/ 5217 h 70425"/>
                <a:gd name="connsiteX30" fmla="*/ 71918 w 88985"/>
                <a:gd name="connsiteY30" fmla="*/ 7091 h 70425"/>
                <a:gd name="connsiteX31" fmla="*/ 80041 w 88985"/>
                <a:gd name="connsiteY31" fmla="*/ 13531 h 70425"/>
                <a:gd name="connsiteX32" fmla="*/ 80041 w 88985"/>
                <a:gd name="connsiteY32" fmla="*/ 22578 h 70425"/>
                <a:gd name="connsiteX33" fmla="*/ 77830 w 88985"/>
                <a:gd name="connsiteY33" fmla="*/ 24290 h 70425"/>
                <a:gd name="connsiteX34" fmla="*/ 80915 w 88985"/>
                <a:gd name="connsiteY34" fmla="*/ 24290 h 70425"/>
                <a:gd name="connsiteX35" fmla="*/ 88985 w 88985"/>
                <a:gd name="connsiteY35" fmla="*/ 30689 h 70425"/>
                <a:gd name="connsiteX36" fmla="*/ 88985 w 88985"/>
                <a:gd name="connsiteY36" fmla="*/ 39777 h 70425"/>
                <a:gd name="connsiteX37" fmla="*/ 80915 w 88985"/>
                <a:gd name="connsiteY37" fmla="*/ 46175 h 70425"/>
                <a:gd name="connsiteX38" fmla="*/ 77830 w 88985"/>
                <a:gd name="connsiteY38" fmla="*/ 46175 h 70425"/>
                <a:gd name="connsiteX39" fmla="*/ 80041 w 88985"/>
                <a:gd name="connsiteY39" fmla="*/ 47887 h 70425"/>
                <a:gd name="connsiteX40" fmla="*/ 80041 w 88985"/>
                <a:gd name="connsiteY40" fmla="*/ 56935 h 70425"/>
                <a:gd name="connsiteX41" fmla="*/ 71918 w 88985"/>
                <a:gd name="connsiteY41" fmla="*/ 63333 h 70425"/>
                <a:gd name="connsiteX42" fmla="*/ 66212 w 88985"/>
                <a:gd name="connsiteY42" fmla="*/ 65208 h 70425"/>
                <a:gd name="connsiteX43" fmla="*/ 60506 w 88985"/>
                <a:gd name="connsiteY43" fmla="*/ 63333 h 70425"/>
                <a:gd name="connsiteX44" fmla="*/ 58347 w 88985"/>
                <a:gd name="connsiteY44" fmla="*/ 61622 h 70425"/>
                <a:gd name="connsiteX45" fmla="*/ 58347 w 88985"/>
                <a:gd name="connsiteY45" fmla="*/ 64067 h 70425"/>
                <a:gd name="connsiteX46" fmla="*/ 50226 w 88985"/>
                <a:gd name="connsiteY46" fmla="*/ 70425 h 70425"/>
                <a:gd name="connsiteX47" fmla="*/ 50173 w 88985"/>
                <a:gd name="connsiteY47" fmla="*/ 70425 h 70425"/>
                <a:gd name="connsiteX48" fmla="*/ 33312 w 88985"/>
                <a:gd name="connsiteY48" fmla="*/ 51677 h 70425"/>
                <a:gd name="connsiteX49" fmla="*/ 34957 w 88985"/>
                <a:gd name="connsiteY49" fmla="*/ 51963 h 70425"/>
                <a:gd name="connsiteX50" fmla="*/ 36190 w 88985"/>
                <a:gd name="connsiteY50" fmla="*/ 52370 h 70425"/>
                <a:gd name="connsiteX51" fmla="*/ 38864 w 88985"/>
                <a:gd name="connsiteY51" fmla="*/ 55386 h 70425"/>
                <a:gd name="connsiteX52" fmla="*/ 38864 w 88985"/>
                <a:gd name="connsiteY52" fmla="*/ 64026 h 70425"/>
                <a:gd name="connsiteX53" fmla="*/ 50173 w 88985"/>
                <a:gd name="connsiteY53" fmla="*/ 64026 h 70425"/>
                <a:gd name="connsiteX54" fmla="*/ 50173 w 88985"/>
                <a:gd name="connsiteY54" fmla="*/ 55468 h 70425"/>
                <a:gd name="connsiteX55" fmla="*/ 52795 w 88985"/>
                <a:gd name="connsiteY55" fmla="*/ 52452 h 70425"/>
                <a:gd name="connsiteX56" fmla="*/ 54029 w 88985"/>
                <a:gd name="connsiteY56" fmla="*/ 52044 h 70425"/>
                <a:gd name="connsiteX57" fmla="*/ 58604 w 88985"/>
                <a:gd name="connsiteY57" fmla="*/ 52696 h 70425"/>
                <a:gd name="connsiteX58" fmla="*/ 66315 w 88985"/>
                <a:gd name="connsiteY58" fmla="*/ 58809 h 70425"/>
                <a:gd name="connsiteX59" fmla="*/ 74232 w 88985"/>
                <a:gd name="connsiteY59" fmla="*/ 52370 h 70425"/>
                <a:gd name="connsiteX60" fmla="*/ 66572 w 88985"/>
                <a:gd name="connsiteY60" fmla="*/ 46420 h 70425"/>
                <a:gd name="connsiteX61" fmla="*/ 65698 w 88985"/>
                <a:gd name="connsiteY61" fmla="*/ 42793 h 70425"/>
                <a:gd name="connsiteX62" fmla="*/ 66212 w 88985"/>
                <a:gd name="connsiteY62" fmla="*/ 41896 h 70425"/>
                <a:gd name="connsiteX63" fmla="*/ 70068 w 88985"/>
                <a:gd name="connsiteY63" fmla="*/ 39777 h 70425"/>
                <a:gd name="connsiteX64" fmla="*/ 80915 w 88985"/>
                <a:gd name="connsiteY64" fmla="*/ 39777 h 70425"/>
                <a:gd name="connsiteX65" fmla="*/ 80915 w 88985"/>
                <a:gd name="connsiteY65" fmla="*/ 30892 h 70425"/>
                <a:gd name="connsiteX66" fmla="*/ 69965 w 88985"/>
                <a:gd name="connsiteY66" fmla="*/ 30892 h 70425"/>
                <a:gd name="connsiteX67" fmla="*/ 66109 w 88985"/>
                <a:gd name="connsiteY67" fmla="*/ 28814 h 70425"/>
                <a:gd name="connsiteX68" fmla="*/ 65595 w 88985"/>
                <a:gd name="connsiteY68" fmla="*/ 27836 h 70425"/>
                <a:gd name="connsiteX69" fmla="*/ 66469 w 88985"/>
                <a:gd name="connsiteY69" fmla="*/ 24208 h 70425"/>
                <a:gd name="connsiteX70" fmla="*/ 74129 w 88985"/>
                <a:gd name="connsiteY70" fmla="*/ 18095 h 70425"/>
                <a:gd name="connsiteX71" fmla="*/ 66212 w 88985"/>
                <a:gd name="connsiteY71" fmla="*/ 11737 h 70425"/>
                <a:gd name="connsiteX72" fmla="*/ 58501 w 88985"/>
                <a:gd name="connsiteY72" fmla="*/ 17851 h 70425"/>
                <a:gd name="connsiteX73" fmla="*/ 53926 w 88985"/>
                <a:gd name="connsiteY73" fmla="*/ 18503 h 70425"/>
                <a:gd name="connsiteX74" fmla="*/ 52692 w 88985"/>
                <a:gd name="connsiteY74" fmla="*/ 18095 h 70425"/>
                <a:gd name="connsiteX75" fmla="*/ 50070 w 88985"/>
                <a:gd name="connsiteY75" fmla="*/ 15079 h 70425"/>
                <a:gd name="connsiteX76" fmla="*/ 50070 w 88985"/>
                <a:gd name="connsiteY76" fmla="*/ 6439 h 70425"/>
                <a:gd name="connsiteX77" fmla="*/ 38709 w 88985"/>
                <a:gd name="connsiteY77" fmla="*/ 6439 h 70425"/>
                <a:gd name="connsiteX78" fmla="*/ 38709 w 88985"/>
                <a:gd name="connsiteY78" fmla="*/ 14998 h 70425"/>
                <a:gd name="connsiteX79" fmla="*/ 36088 w 88985"/>
                <a:gd name="connsiteY79" fmla="*/ 18014 h 70425"/>
                <a:gd name="connsiteX80" fmla="*/ 34803 w 88985"/>
                <a:gd name="connsiteY80" fmla="*/ 18421 h 70425"/>
                <a:gd name="connsiteX81" fmla="*/ 30227 w 88985"/>
                <a:gd name="connsiteY81" fmla="*/ 17851 h 70425"/>
                <a:gd name="connsiteX82" fmla="*/ 22516 w 88985"/>
                <a:gd name="connsiteY82" fmla="*/ 11737 h 70425"/>
                <a:gd name="connsiteX83" fmla="*/ 14805 w 88985"/>
                <a:gd name="connsiteY83" fmla="*/ 18177 h 70425"/>
                <a:gd name="connsiteX84" fmla="*/ 22516 w 88985"/>
                <a:gd name="connsiteY84" fmla="*/ 24127 h 70425"/>
                <a:gd name="connsiteX85" fmla="*/ 23339 w 88985"/>
                <a:gd name="connsiteY85" fmla="*/ 27754 h 70425"/>
                <a:gd name="connsiteX86" fmla="*/ 22825 w 88985"/>
                <a:gd name="connsiteY86" fmla="*/ 28732 h 70425"/>
                <a:gd name="connsiteX87" fmla="*/ 19021 w 88985"/>
                <a:gd name="connsiteY87" fmla="*/ 30811 h 70425"/>
                <a:gd name="connsiteX88" fmla="*/ 8071 w 88985"/>
                <a:gd name="connsiteY88" fmla="*/ 30811 h 70425"/>
                <a:gd name="connsiteX89" fmla="*/ 8071 w 88985"/>
                <a:gd name="connsiteY89" fmla="*/ 39818 h 70425"/>
                <a:gd name="connsiteX90" fmla="*/ 18815 w 88985"/>
                <a:gd name="connsiteY90" fmla="*/ 39818 h 70425"/>
                <a:gd name="connsiteX91" fmla="*/ 22619 w 88985"/>
                <a:gd name="connsiteY91" fmla="*/ 41937 h 70425"/>
                <a:gd name="connsiteX92" fmla="*/ 23133 w 88985"/>
                <a:gd name="connsiteY92" fmla="*/ 42915 h 70425"/>
                <a:gd name="connsiteX93" fmla="*/ 22311 w 88985"/>
                <a:gd name="connsiteY93" fmla="*/ 46542 h 70425"/>
                <a:gd name="connsiteX94" fmla="*/ 14805 w 88985"/>
                <a:gd name="connsiteY94" fmla="*/ 52533 h 70425"/>
                <a:gd name="connsiteX95" fmla="*/ 22928 w 88985"/>
                <a:gd name="connsiteY95" fmla="*/ 58809 h 70425"/>
                <a:gd name="connsiteX96" fmla="*/ 30227 w 88985"/>
                <a:gd name="connsiteY96" fmla="*/ 52696 h 70425"/>
                <a:gd name="connsiteX97" fmla="*/ 33312 w 88985"/>
                <a:gd name="connsiteY97" fmla="*/ 51759 h 7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8985" h="70425">
                  <a:moveTo>
                    <a:pt x="50173" y="70425"/>
                  </a:moveTo>
                  <a:lnTo>
                    <a:pt x="38709" y="70425"/>
                  </a:lnTo>
                  <a:cubicBezTo>
                    <a:pt x="34280" y="70425"/>
                    <a:pt x="30690" y="67578"/>
                    <a:pt x="30690" y="64067"/>
                  </a:cubicBezTo>
                  <a:cubicBezTo>
                    <a:pt x="30690" y="64053"/>
                    <a:pt x="30690" y="64040"/>
                    <a:pt x="30690" y="64026"/>
                  </a:cubicBezTo>
                  <a:lnTo>
                    <a:pt x="30690" y="61581"/>
                  </a:lnTo>
                  <a:lnTo>
                    <a:pt x="28479" y="63293"/>
                  </a:lnTo>
                  <a:cubicBezTo>
                    <a:pt x="26979" y="64508"/>
                    <a:pt x="24918" y="65185"/>
                    <a:pt x="22773" y="65167"/>
                  </a:cubicBezTo>
                  <a:cubicBezTo>
                    <a:pt x="20631" y="65176"/>
                    <a:pt x="18574" y="64500"/>
                    <a:pt x="17067" y="63293"/>
                  </a:cubicBezTo>
                  <a:lnTo>
                    <a:pt x="8996" y="56975"/>
                  </a:lnTo>
                  <a:cubicBezTo>
                    <a:pt x="5873" y="54468"/>
                    <a:pt x="5873" y="50436"/>
                    <a:pt x="8996" y="47928"/>
                  </a:cubicBezTo>
                  <a:lnTo>
                    <a:pt x="11155" y="46216"/>
                  </a:lnTo>
                  <a:lnTo>
                    <a:pt x="8071" y="46216"/>
                  </a:lnTo>
                  <a:cubicBezTo>
                    <a:pt x="3625" y="46194"/>
                    <a:pt x="28" y="43342"/>
                    <a:pt x="0" y="39818"/>
                  </a:cubicBezTo>
                  <a:lnTo>
                    <a:pt x="0" y="30729"/>
                  </a:lnTo>
                  <a:cubicBezTo>
                    <a:pt x="0" y="27195"/>
                    <a:pt x="3613" y="24331"/>
                    <a:pt x="8071" y="24331"/>
                  </a:cubicBezTo>
                  <a:lnTo>
                    <a:pt x="11155" y="24331"/>
                  </a:lnTo>
                  <a:lnTo>
                    <a:pt x="8996" y="22619"/>
                  </a:lnTo>
                  <a:cubicBezTo>
                    <a:pt x="5873" y="20111"/>
                    <a:pt x="5873" y="16079"/>
                    <a:pt x="8996" y="13571"/>
                  </a:cubicBezTo>
                  <a:lnTo>
                    <a:pt x="17067" y="7132"/>
                  </a:lnTo>
                  <a:cubicBezTo>
                    <a:pt x="18578" y="5925"/>
                    <a:pt x="20628" y="5237"/>
                    <a:pt x="22773" y="5217"/>
                  </a:cubicBezTo>
                  <a:cubicBezTo>
                    <a:pt x="24914" y="5217"/>
                    <a:pt x="26966" y="5892"/>
                    <a:pt x="28479" y="7091"/>
                  </a:cubicBezTo>
                  <a:lnTo>
                    <a:pt x="30690" y="8844"/>
                  </a:lnTo>
                  <a:lnTo>
                    <a:pt x="30690" y="6399"/>
                  </a:lnTo>
                  <a:cubicBezTo>
                    <a:pt x="30662" y="2887"/>
                    <a:pt x="34229" y="23"/>
                    <a:pt x="38658" y="0"/>
                  </a:cubicBezTo>
                  <a:cubicBezTo>
                    <a:pt x="38675" y="0"/>
                    <a:pt x="38692" y="0"/>
                    <a:pt x="38709" y="0"/>
                  </a:cubicBezTo>
                  <a:lnTo>
                    <a:pt x="50173" y="0"/>
                  </a:lnTo>
                  <a:cubicBezTo>
                    <a:pt x="54631" y="0"/>
                    <a:pt x="58244" y="2865"/>
                    <a:pt x="58244" y="6399"/>
                  </a:cubicBezTo>
                  <a:lnTo>
                    <a:pt x="58244" y="8844"/>
                  </a:lnTo>
                  <a:lnTo>
                    <a:pt x="60455" y="7091"/>
                  </a:lnTo>
                  <a:cubicBezTo>
                    <a:pt x="61974" y="5874"/>
                    <a:pt x="64052" y="5197"/>
                    <a:pt x="66212" y="5217"/>
                  </a:cubicBezTo>
                  <a:cubicBezTo>
                    <a:pt x="68353" y="5217"/>
                    <a:pt x="70405" y="5892"/>
                    <a:pt x="71918" y="7091"/>
                  </a:cubicBezTo>
                  <a:lnTo>
                    <a:pt x="80041" y="13531"/>
                  </a:lnTo>
                  <a:cubicBezTo>
                    <a:pt x="83164" y="16038"/>
                    <a:pt x="83164" y="20071"/>
                    <a:pt x="80041" y="22578"/>
                  </a:cubicBezTo>
                  <a:lnTo>
                    <a:pt x="77830" y="24290"/>
                  </a:lnTo>
                  <a:lnTo>
                    <a:pt x="80915" y="24290"/>
                  </a:lnTo>
                  <a:cubicBezTo>
                    <a:pt x="85372" y="24290"/>
                    <a:pt x="88985" y="27155"/>
                    <a:pt x="88985" y="30689"/>
                  </a:cubicBezTo>
                  <a:lnTo>
                    <a:pt x="88985" y="39777"/>
                  </a:lnTo>
                  <a:cubicBezTo>
                    <a:pt x="88985" y="43311"/>
                    <a:pt x="85372" y="46175"/>
                    <a:pt x="80915" y="46175"/>
                  </a:cubicBezTo>
                  <a:lnTo>
                    <a:pt x="77830" y="46175"/>
                  </a:lnTo>
                  <a:lnTo>
                    <a:pt x="80041" y="47887"/>
                  </a:lnTo>
                  <a:cubicBezTo>
                    <a:pt x="83164" y="50395"/>
                    <a:pt x="83164" y="54427"/>
                    <a:pt x="80041" y="56935"/>
                  </a:cubicBezTo>
                  <a:lnTo>
                    <a:pt x="71918" y="63333"/>
                  </a:lnTo>
                  <a:cubicBezTo>
                    <a:pt x="70418" y="64549"/>
                    <a:pt x="68357" y="65226"/>
                    <a:pt x="66212" y="65208"/>
                  </a:cubicBezTo>
                  <a:cubicBezTo>
                    <a:pt x="64070" y="65217"/>
                    <a:pt x="62013" y="64541"/>
                    <a:pt x="60506" y="63333"/>
                  </a:cubicBezTo>
                  <a:lnTo>
                    <a:pt x="58347" y="61622"/>
                  </a:lnTo>
                  <a:lnTo>
                    <a:pt x="58347" y="64067"/>
                  </a:lnTo>
                  <a:cubicBezTo>
                    <a:pt x="58319" y="67601"/>
                    <a:pt x="54683" y="70447"/>
                    <a:pt x="50226" y="70425"/>
                  </a:cubicBezTo>
                  <a:cubicBezTo>
                    <a:pt x="50208" y="70425"/>
                    <a:pt x="50191" y="70425"/>
                    <a:pt x="50173" y="70425"/>
                  </a:cubicBezTo>
                  <a:close/>
                  <a:moveTo>
                    <a:pt x="33312" y="51677"/>
                  </a:moveTo>
                  <a:cubicBezTo>
                    <a:pt x="33881" y="51670"/>
                    <a:pt x="34444" y="51767"/>
                    <a:pt x="34957" y="51963"/>
                  </a:cubicBezTo>
                  <a:lnTo>
                    <a:pt x="36190" y="52370"/>
                  </a:lnTo>
                  <a:cubicBezTo>
                    <a:pt x="37782" y="52841"/>
                    <a:pt x="38844" y="54039"/>
                    <a:pt x="38864" y="55386"/>
                  </a:cubicBezTo>
                  <a:lnTo>
                    <a:pt x="38864" y="64026"/>
                  </a:lnTo>
                  <a:lnTo>
                    <a:pt x="50173" y="64026"/>
                  </a:lnTo>
                  <a:lnTo>
                    <a:pt x="50173" y="55468"/>
                  </a:lnTo>
                  <a:cubicBezTo>
                    <a:pt x="50171" y="54128"/>
                    <a:pt x="51215" y="52926"/>
                    <a:pt x="52795" y="52452"/>
                  </a:cubicBezTo>
                  <a:lnTo>
                    <a:pt x="54029" y="52044"/>
                  </a:lnTo>
                  <a:cubicBezTo>
                    <a:pt x="55576" y="51480"/>
                    <a:pt x="57402" y="51740"/>
                    <a:pt x="58604" y="52696"/>
                  </a:cubicBezTo>
                  <a:lnTo>
                    <a:pt x="66315" y="58809"/>
                  </a:lnTo>
                  <a:lnTo>
                    <a:pt x="74232" y="52370"/>
                  </a:lnTo>
                  <a:lnTo>
                    <a:pt x="66572" y="46420"/>
                  </a:lnTo>
                  <a:cubicBezTo>
                    <a:pt x="65362" y="45471"/>
                    <a:pt x="65014" y="44029"/>
                    <a:pt x="65698" y="42793"/>
                  </a:cubicBezTo>
                  <a:cubicBezTo>
                    <a:pt x="65888" y="42501"/>
                    <a:pt x="66059" y="42201"/>
                    <a:pt x="66212" y="41896"/>
                  </a:cubicBezTo>
                  <a:cubicBezTo>
                    <a:pt x="66813" y="40621"/>
                    <a:pt x="68351" y="39776"/>
                    <a:pt x="70068" y="39777"/>
                  </a:cubicBezTo>
                  <a:lnTo>
                    <a:pt x="80915" y="39777"/>
                  </a:lnTo>
                  <a:lnTo>
                    <a:pt x="80915" y="30892"/>
                  </a:lnTo>
                  <a:lnTo>
                    <a:pt x="69965" y="30892"/>
                  </a:lnTo>
                  <a:cubicBezTo>
                    <a:pt x="68261" y="30900"/>
                    <a:pt x="66727" y="30073"/>
                    <a:pt x="66109" y="28814"/>
                  </a:cubicBezTo>
                  <a:cubicBezTo>
                    <a:pt x="65960" y="28481"/>
                    <a:pt x="65789" y="28154"/>
                    <a:pt x="65595" y="27836"/>
                  </a:cubicBezTo>
                  <a:cubicBezTo>
                    <a:pt x="64912" y="26600"/>
                    <a:pt x="65259" y="25158"/>
                    <a:pt x="66469" y="24208"/>
                  </a:cubicBezTo>
                  <a:lnTo>
                    <a:pt x="74129" y="18095"/>
                  </a:lnTo>
                  <a:lnTo>
                    <a:pt x="66212" y="11737"/>
                  </a:lnTo>
                  <a:lnTo>
                    <a:pt x="58501" y="17851"/>
                  </a:lnTo>
                  <a:cubicBezTo>
                    <a:pt x="57299" y="18807"/>
                    <a:pt x="55473" y="19067"/>
                    <a:pt x="53926" y="18503"/>
                  </a:cubicBezTo>
                  <a:lnTo>
                    <a:pt x="52692" y="18095"/>
                  </a:lnTo>
                  <a:cubicBezTo>
                    <a:pt x="51112" y="17620"/>
                    <a:pt x="50068" y="16419"/>
                    <a:pt x="50070" y="15079"/>
                  </a:cubicBezTo>
                  <a:lnTo>
                    <a:pt x="50070" y="6439"/>
                  </a:lnTo>
                  <a:lnTo>
                    <a:pt x="38709" y="6439"/>
                  </a:lnTo>
                  <a:lnTo>
                    <a:pt x="38709" y="14998"/>
                  </a:lnTo>
                  <a:cubicBezTo>
                    <a:pt x="38712" y="16338"/>
                    <a:pt x="37668" y="17539"/>
                    <a:pt x="36088" y="18014"/>
                  </a:cubicBezTo>
                  <a:lnTo>
                    <a:pt x="34803" y="18421"/>
                  </a:lnTo>
                  <a:cubicBezTo>
                    <a:pt x="33275" y="18995"/>
                    <a:pt x="31460" y="18768"/>
                    <a:pt x="30227" y="17851"/>
                  </a:cubicBezTo>
                  <a:lnTo>
                    <a:pt x="22516" y="11737"/>
                  </a:lnTo>
                  <a:lnTo>
                    <a:pt x="14805" y="18177"/>
                  </a:lnTo>
                  <a:lnTo>
                    <a:pt x="22516" y="24127"/>
                  </a:lnTo>
                  <a:cubicBezTo>
                    <a:pt x="23722" y="25080"/>
                    <a:pt x="24051" y="26528"/>
                    <a:pt x="23339" y="27754"/>
                  </a:cubicBezTo>
                  <a:cubicBezTo>
                    <a:pt x="23190" y="28087"/>
                    <a:pt x="23018" y="28414"/>
                    <a:pt x="22825" y="28732"/>
                  </a:cubicBezTo>
                  <a:cubicBezTo>
                    <a:pt x="22238" y="29993"/>
                    <a:pt x="20715" y="30825"/>
                    <a:pt x="19021" y="30811"/>
                  </a:cubicBezTo>
                  <a:lnTo>
                    <a:pt x="8071" y="30811"/>
                  </a:lnTo>
                  <a:lnTo>
                    <a:pt x="8071" y="39818"/>
                  </a:lnTo>
                  <a:lnTo>
                    <a:pt x="18815" y="39818"/>
                  </a:lnTo>
                  <a:cubicBezTo>
                    <a:pt x="20518" y="39822"/>
                    <a:pt x="22037" y="40668"/>
                    <a:pt x="22619" y="41937"/>
                  </a:cubicBezTo>
                  <a:cubicBezTo>
                    <a:pt x="22812" y="42256"/>
                    <a:pt x="22984" y="42582"/>
                    <a:pt x="23133" y="42915"/>
                  </a:cubicBezTo>
                  <a:cubicBezTo>
                    <a:pt x="23845" y="44141"/>
                    <a:pt x="23517" y="45589"/>
                    <a:pt x="22311" y="46542"/>
                  </a:cubicBezTo>
                  <a:lnTo>
                    <a:pt x="14805" y="52533"/>
                  </a:lnTo>
                  <a:lnTo>
                    <a:pt x="22928" y="58809"/>
                  </a:lnTo>
                  <a:lnTo>
                    <a:pt x="30227" y="52696"/>
                  </a:lnTo>
                  <a:cubicBezTo>
                    <a:pt x="31048" y="52060"/>
                    <a:pt x="32164" y="51721"/>
                    <a:pt x="33312" y="51759"/>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7" name="Freeform: Shape 1556">
              <a:extLst>
                <a:ext uri="{FF2B5EF4-FFF2-40B4-BE49-F238E27FC236}">
                  <a16:creationId xmlns:a16="http://schemas.microsoft.com/office/drawing/2014/main" id="{85DF76DB-04C4-C9D0-F4A9-D8F24EDF306B}"/>
                </a:ext>
              </a:extLst>
            </p:cNvPr>
            <p:cNvSpPr/>
            <p:nvPr/>
          </p:nvSpPr>
          <p:spPr>
            <a:xfrm>
              <a:off x="2501414" y="5402110"/>
              <a:ext cx="35284" cy="35284"/>
            </a:xfrm>
            <a:custGeom>
              <a:avLst/>
              <a:gdLst>
                <a:gd name="connsiteX0" fmla="*/ 18764 w 37424"/>
                <a:gd name="connsiteY0" fmla="*/ 29670 h 29669"/>
                <a:gd name="connsiteX1" fmla="*/ 0 w 37424"/>
                <a:gd name="connsiteY1" fmla="*/ 14876 h 29669"/>
                <a:gd name="connsiteX2" fmla="*/ 18661 w 37424"/>
                <a:gd name="connsiteY2" fmla="*/ 0 h 29669"/>
                <a:gd name="connsiteX3" fmla="*/ 37424 w 37424"/>
                <a:gd name="connsiteY3" fmla="*/ 14794 h 29669"/>
                <a:gd name="connsiteX4" fmla="*/ 37424 w 37424"/>
                <a:gd name="connsiteY4" fmla="*/ 14835 h 29669"/>
                <a:gd name="connsiteX5" fmla="*/ 18764 w 37424"/>
                <a:gd name="connsiteY5" fmla="*/ 29670 h 29669"/>
                <a:gd name="connsiteX6" fmla="*/ 18764 w 37424"/>
                <a:gd name="connsiteY6" fmla="*/ 6521 h 29669"/>
                <a:gd name="connsiteX7" fmla="*/ 8482 w 37424"/>
                <a:gd name="connsiteY7" fmla="*/ 14672 h 29669"/>
                <a:gd name="connsiteX8" fmla="*/ 18764 w 37424"/>
                <a:gd name="connsiteY8" fmla="*/ 22823 h 29669"/>
                <a:gd name="connsiteX9" fmla="*/ 29045 w 37424"/>
                <a:gd name="connsiteY9" fmla="*/ 14672 h 29669"/>
                <a:gd name="connsiteX10" fmla="*/ 18764 w 37424"/>
                <a:gd name="connsiteY10" fmla="*/ 6562 h 2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24" h="29669">
                  <a:moveTo>
                    <a:pt x="18764" y="29670"/>
                  </a:moveTo>
                  <a:cubicBezTo>
                    <a:pt x="8429" y="29692"/>
                    <a:pt x="28" y="23069"/>
                    <a:pt x="0" y="14876"/>
                  </a:cubicBezTo>
                  <a:cubicBezTo>
                    <a:pt x="-28" y="6683"/>
                    <a:pt x="8326" y="23"/>
                    <a:pt x="18661" y="0"/>
                  </a:cubicBezTo>
                  <a:cubicBezTo>
                    <a:pt x="28995" y="-22"/>
                    <a:pt x="37396" y="6601"/>
                    <a:pt x="37424" y="14794"/>
                  </a:cubicBezTo>
                  <a:cubicBezTo>
                    <a:pt x="37424" y="14808"/>
                    <a:pt x="37424" y="14821"/>
                    <a:pt x="37424" y="14835"/>
                  </a:cubicBezTo>
                  <a:cubicBezTo>
                    <a:pt x="37424" y="23012"/>
                    <a:pt x="29078" y="29647"/>
                    <a:pt x="18764" y="29670"/>
                  </a:cubicBezTo>
                  <a:close/>
                  <a:moveTo>
                    <a:pt x="18764" y="6521"/>
                  </a:moveTo>
                  <a:cubicBezTo>
                    <a:pt x="13085" y="6521"/>
                    <a:pt x="8482" y="10170"/>
                    <a:pt x="8482" y="14672"/>
                  </a:cubicBezTo>
                  <a:cubicBezTo>
                    <a:pt x="8482" y="19174"/>
                    <a:pt x="13085" y="22823"/>
                    <a:pt x="18764" y="22823"/>
                  </a:cubicBezTo>
                  <a:cubicBezTo>
                    <a:pt x="24442" y="22823"/>
                    <a:pt x="29045" y="19174"/>
                    <a:pt x="29045" y="14672"/>
                  </a:cubicBezTo>
                  <a:cubicBezTo>
                    <a:pt x="29017" y="10186"/>
                    <a:pt x="24422" y="6562"/>
                    <a:pt x="18764" y="6562"/>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8" name="Freeform: Shape 1557">
              <a:extLst>
                <a:ext uri="{FF2B5EF4-FFF2-40B4-BE49-F238E27FC236}">
                  <a16:creationId xmlns:a16="http://schemas.microsoft.com/office/drawing/2014/main" id="{583CABB0-0DC6-3232-E08D-F7B675403C9E}"/>
                </a:ext>
              </a:extLst>
            </p:cNvPr>
            <p:cNvSpPr/>
            <p:nvPr/>
          </p:nvSpPr>
          <p:spPr>
            <a:xfrm>
              <a:off x="2519974" y="5296930"/>
              <a:ext cx="41300" cy="39180"/>
            </a:xfrm>
            <a:custGeom>
              <a:avLst/>
              <a:gdLst>
                <a:gd name="connsiteX0" fmla="*/ 31105 w 43805"/>
                <a:gd name="connsiteY0" fmla="*/ 32935 h 32945"/>
                <a:gd name="connsiteX1" fmla="*/ 27044 w 43805"/>
                <a:gd name="connsiteY1" fmla="*/ 31876 h 32945"/>
                <a:gd name="connsiteX2" fmla="*/ 21903 w 43805"/>
                <a:gd name="connsiteY2" fmla="*/ 29023 h 32945"/>
                <a:gd name="connsiteX3" fmla="*/ 16762 w 43805"/>
                <a:gd name="connsiteY3" fmla="*/ 31876 h 32945"/>
                <a:gd name="connsiteX4" fmla="*/ 8640 w 43805"/>
                <a:gd name="connsiteY4" fmla="*/ 31876 h 32945"/>
                <a:gd name="connsiteX5" fmla="*/ 6173 w 43805"/>
                <a:gd name="connsiteY5" fmla="*/ 25762 h 32945"/>
                <a:gd name="connsiteX6" fmla="*/ 8023 w 43805"/>
                <a:gd name="connsiteY6" fmla="*/ 21157 h 32945"/>
                <a:gd name="connsiteX7" fmla="*/ 2883 w 43805"/>
                <a:gd name="connsiteY7" fmla="*/ 18304 h 32945"/>
                <a:gd name="connsiteX8" fmla="*/ 1285 w 43805"/>
                <a:gd name="connsiteY8" fmla="*/ 10685 h 32945"/>
                <a:gd name="connsiteX9" fmla="*/ 6944 w 43805"/>
                <a:gd name="connsiteY9" fmla="*/ 8401 h 32945"/>
                <a:gd name="connsiteX10" fmla="*/ 13061 w 43805"/>
                <a:gd name="connsiteY10" fmla="*/ 8401 h 32945"/>
                <a:gd name="connsiteX11" fmla="*/ 15683 w 43805"/>
                <a:gd name="connsiteY11" fmla="*/ 3755 h 32945"/>
                <a:gd name="connsiteX12" fmla="*/ 24469 w 43805"/>
                <a:gd name="connsiteY12" fmla="*/ 287 h 32945"/>
                <a:gd name="connsiteX13" fmla="*/ 28843 w 43805"/>
                <a:gd name="connsiteY13" fmla="*/ 3755 h 32945"/>
                <a:gd name="connsiteX14" fmla="*/ 30694 w 43805"/>
                <a:gd name="connsiteY14" fmla="*/ 8401 h 32945"/>
                <a:gd name="connsiteX15" fmla="*/ 36863 w 43805"/>
                <a:gd name="connsiteY15" fmla="*/ 8401 h 32945"/>
                <a:gd name="connsiteX16" fmla="*/ 43806 w 43805"/>
                <a:gd name="connsiteY16" fmla="*/ 13818 h 32945"/>
                <a:gd name="connsiteX17" fmla="*/ 40924 w 43805"/>
                <a:gd name="connsiteY17" fmla="*/ 18304 h 32945"/>
                <a:gd name="connsiteX18" fmla="*/ 35783 w 43805"/>
                <a:gd name="connsiteY18" fmla="*/ 21157 h 32945"/>
                <a:gd name="connsiteX19" fmla="*/ 37685 w 43805"/>
                <a:gd name="connsiteY19" fmla="*/ 25762 h 32945"/>
                <a:gd name="connsiteX20" fmla="*/ 35166 w 43805"/>
                <a:gd name="connsiteY20" fmla="*/ 31876 h 32945"/>
                <a:gd name="connsiteX21" fmla="*/ 31105 w 43805"/>
                <a:gd name="connsiteY21" fmla="*/ 32935 h 32945"/>
                <a:gd name="connsiteX22" fmla="*/ 11416 w 43805"/>
                <a:gd name="connsiteY22" fmla="*/ 14881 h 32945"/>
                <a:gd name="connsiteX23" fmla="*/ 13986 w 43805"/>
                <a:gd name="connsiteY23" fmla="*/ 16348 h 32945"/>
                <a:gd name="connsiteX24" fmla="*/ 16454 w 43805"/>
                <a:gd name="connsiteY24" fmla="*/ 22461 h 32945"/>
                <a:gd name="connsiteX25" fmla="*/ 15529 w 43805"/>
                <a:gd name="connsiteY25" fmla="*/ 24825 h 32945"/>
                <a:gd name="connsiteX26" fmla="*/ 18048 w 43805"/>
                <a:gd name="connsiteY26" fmla="*/ 23358 h 32945"/>
                <a:gd name="connsiteX27" fmla="*/ 26170 w 43805"/>
                <a:gd name="connsiteY27" fmla="*/ 23358 h 32945"/>
                <a:gd name="connsiteX28" fmla="*/ 28689 w 43805"/>
                <a:gd name="connsiteY28" fmla="*/ 24825 h 32945"/>
                <a:gd name="connsiteX29" fmla="*/ 27712 w 43805"/>
                <a:gd name="connsiteY29" fmla="*/ 22461 h 32945"/>
                <a:gd name="connsiteX30" fmla="*/ 30231 w 43805"/>
                <a:gd name="connsiteY30" fmla="*/ 16348 h 32945"/>
                <a:gd name="connsiteX31" fmla="*/ 32750 w 43805"/>
                <a:gd name="connsiteY31" fmla="*/ 14881 h 32945"/>
                <a:gd name="connsiteX32" fmla="*/ 29614 w 43805"/>
                <a:gd name="connsiteY32" fmla="*/ 14881 h 32945"/>
                <a:gd name="connsiteX33" fmla="*/ 23085 w 43805"/>
                <a:gd name="connsiteY33" fmla="*/ 11091 h 32945"/>
                <a:gd name="connsiteX34" fmla="*/ 22109 w 43805"/>
                <a:gd name="connsiteY34" fmla="*/ 8727 h 32945"/>
                <a:gd name="connsiteX35" fmla="*/ 21132 w 43805"/>
                <a:gd name="connsiteY35" fmla="*/ 11091 h 32945"/>
                <a:gd name="connsiteX36" fmla="*/ 14552 w 43805"/>
                <a:gd name="connsiteY36" fmla="*/ 14881 h 3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805" h="32945">
                  <a:moveTo>
                    <a:pt x="31105" y="32935"/>
                  </a:moveTo>
                  <a:cubicBezTo>
                    <a:pt x="29642" y="32941"/>
                    <a:pt x="28216" y="32569"/>
                    <a:pt x="27044" y="31876"/>
                  </a:cubicBezTo>
                  <a:lnTo>
                    <a:pt x="21903" y="29023"/>
                  </a:lnTo>
                  <a:lnTo>
                    <a:pt x="16762" y="31876"/>
                  </a:lnTo>
                  <a:cubicBezTo>
                    <a:pt x="14354" y="33302"/>
                    <a:pt x="11049" y="33302"/>
                    <a:pt x="8640" y="31876"/>
                  </a:cubicBezTo>
                  <a:cubicBezTo>
                    <a:pt x="6220" y="30485"/>
                    <a:pt x="5221" y="28009"/>
                    <a:pt x="6173" y="25762"/>
                  </a:cubicBezTo>
                  <a:lnTo>
                    <a:pt x="8023" y="21157"/>
                  </a:lnTo>
                  <a:lnTo>
                    <a:pt x="2883" y="18304"/>
                  </a:lnTo>
                  <a:cubicBezTo>
                    <a:pt x="-212" y="16550"/>
                    <a:pt x="-927" y="13139"/>
                    <a:pt x="1285" y="10685"/>
                  </a:cubicBezTo>
                  <a:cubicBezTo>
                    <a:pt x="2590" y="9239"/>
                    <a:pt x="4701" y="8386"/>
                    <a:pt x="6944" y="8401"/>
                  </a:cubicBezTo>
                  <a:lnTo>
                    <a:pt x="13061" y="8401"/>
                  </a:lnTo>
                  <a:lnTo>
                    <a:pt x="15683" y="3755"/>
                  </a:lnTo>
                  <a:cubicBezTo>
                    <a:pt x="16901" y="874"/>
                    <a:pt x="20834" y="-679"/>
                    <a:pt x="24469" y="287"/>
                  </a:cubicBezTo>
                  <a:cubicBezTo>
                    <a:pt x="26532" y="835"/>
                    <a:pt x="28152" y="2119"/>
                    <a:pt x="28843" y="3755"/>
                  </a:cubicBezTo>
                  <a:lnTo>
                    <a:pt x="30694" y="8401"/>
                  </a:lnTo>
                  <a:lnTo>
                    <a:pt x="36863" y="8401"/>
                  </a:lnTo>
                  <a:cubicBezTo>
                    <a:pt x="40667" y="8377"/>
                    <a:pt x="43775" y="10802"/>
                    <a:pt x="43806" y="13818"/>
                  </a:cubicBezTo>
                  <a:cubicBezTo>
                    <a:pt x="43824" y="15596"/>
                    <a:pt x="42748" y="17270"/>
                    <a:pt x="40924" y="18304"/>
                  </a:cubicBezTo>
                  <a:lnTo>
                    <a:pt x="35783" y="21157"/>
                  </a:lnTo>
                  <a:lnTo>
                    <a:pt x="37685" y="25762"/>
                  </a:lnTo>
                  <a:cubicBezTo>
                    <a:pt x="38643" y="28017"/>
                    <a:pt x="37619" y="30504"/>
                    <a:pt x="35166" y="31876"/>
                  </a:cubicBezTo>
                  <a:cubicBezTo>
                    <a:pt x="34001" y="32580"/>
                    <a:pt x="32570" y="32954"/>
                    <a:pt x="31105" y="32935"/>
                  </a:cubicBezTo>
                  <a:close/>
                  <a:moveTo>
                    <a:pt x="11416" y="14881"/>
                  </a:moveTo>
                  <a:lnTo>
                    <a:pt x="13986" y="16348"/>
                  </a:lnTo>
                  <a:cubicBezTo>
                    <a:pt x="16406" y="17739"/>
                    <a:pt x="17406" y="20215"/>
                    <a:pt x="16454" y="22461"/>
                  </a:cubicBezTo>
                  <a:lnTo>
                    <a:pt x="15529" y="24825"/>
                  </a:lnTo>
                  <a:lnTo>
                    <a:pt x="18048" y="23358"/>
                  </a:lnTo>
                  <a:cubicBezTo>
                    <a:pt x="20472" y="21971"/>
                    <a:pt x="23745" y="21971"/>
                    <a:pt x="26170" y="23358"/>
                  </a:cubicBezTo>
                  <a:lnTo>
                    <a:pt x="28689" y="24825"/>
                  </a:lnTo>
                  <a:lnTo>
                    <a:pt x="27712" y="22461"/>
                  </a:lnTo>
                  <a:cubicBezTo>
                    <a:pt x="26789" y="20206"/>
                    <a:pt x="27807" y="17736"/>
                    <a:pt x="30231" y="16348"/>
                  </a:cubicBezTo>
                  <a:lnTo>
                    <a:pt x="32750" y="14881"/>
                  </a:lnTo>
                  <a:lnTo>
                    <a:pt x="29614" y="14881"/>
                  </a:lnTo>
                  <a:cubicBezTo>
                    <a:pt x="26627" y="14884"/>
                    <a:pt x="23984" y="13349"/>
                    <a:pt x="23085" y="11091"/>
                  </a:cubicBezTo>
                  <a:lnTo>
                    <a:pt x="22109" y="8727"/>
                  </a:lnTo>
                  <a:lnTo>
                    <a:pt x="21132" y="11091"/>
                  </a:lnTo>
                  <a:cubicBezTo>
                    <a:pt x="20228" y="13363"/>
                    <a:pt x="17558" y="14902"/>
                    <a:pt x="14552" y="14881"/>
                  </a:cubicBezTo>
                  <a:close/>
                </a:path>
              </a:pathLst>
            </a:custGeom>
            <a:solidFill>
              <a:srgbClr val="FF0000"/>
            </a:solidFill>
            <a:ln w="50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59" name="Freeform: Shape 1558">
              <a:extLst>
                <a:ext uri="{FF2B5EF4-FFF2-40B4-BE49-F238E27FC236}">
                  <a16:creationId xmlns:a16="http://schemas.microsoft.com/office/drawing/2014/main" id="{F8A3F0BC-EE94-3B7E-7F2D-44E62E184F70}"/>
                </a:ext>
              </a:extLst>
            </p:cNvPr>
            <p:cNvSpPr/>
            <p:nvPr/>
          </p:nvSpPr>
          <p:spPr>
            <a:xfrm>
              <a:off x="2386951" y="5991420"/>
              <a:ext cx="150215" cy="150215"/>
            </a:xfrm>
            <a:custGeom>
              <a:avLst/>
              <a:gdLst>
                <a:gd name="connsiteX0" fmla="*/ 162449 w 174455"/>
                <a:gd name="connsiteY0" fmla="*/ 53461 h 138306"/>
                <a:gd name="connsiteX1" fmla="*/ 150502 w 174455"/>
                <a:gd name="connsiteY1" fmla="*/ 53461 h 138306"/>
                <a:gd name="connsiteX2" fmla="*/ 145974 w 174455"/>
                <a:gd name="connsiteY2" fmla="*/ 44785 h 138306"/>
                <a:gd name="connsiteX3" fmla="*/ 154396 w 174455"/>
                <a:gd name="connsiteY3" fmla="*/ 38108 h 138306"/>
                <a:gd name="connsiteX4" fmla="*/ 154396 w 174455"/>
                <a:gd name="connsiteY4" fmla="*/ 24649 h 138306"/>
                <a:gd name="connsiteX5" fmla="*/ 143364 w 174455"/>
                <a:gd name="connsiteY5" fmla="*/ 15903 h 138306"/>
                <a:gd name="connsiteX6" fmla="*/ 126387 w 174455"/>
                <a:gd name="connsiteY6" fmla="*/ 15903 h 138306"/>
                <a:gd name="connsiteX7" fmla="*/ 117965 w 174455"/>
                <a:gd name="connsiteY7" fmla="*/ 22579 h 138306"/>
                <a:gd name="connsiteX8" fmla="*/ 107021 w 174455"/>
                <a:gd name="connsiteY8" fmla="*/ 18990 h 138306"/>
                <a:gd name="connsiteX9" fmla="*/ 107021 w 174455"/>
                <a:gd name="connsiteY9" fmla="*/ 9518 h 138306"/>
                <a:gd name="connsiteX10" fmla="*/ 95030 w 174455"/>
                <a:gd name="connsiteY10" fmla="*/ 0 h 138306"/>
                <a:gd name="connsiteX11" fmla="*/ 79425 w 174455"/>
                <a:gd name="connsiteY11" fmla="*/ 0 h 138306"/>
                <a:gd name="connsiteX12" fmla="*/ 67434 w 174455"/>
                <a:gd name="connsiteY12" fmla="*/ 9518 h 138306"/>
                <a:gd name="connsiteX13" fmla="*/ 67434 w 174455"/>
                <a:gd name="connsiteY13" fmla="*/ 18990 h 138306"/>
                <a:gd name="connsiteX14" fmla="*/ 56490 w 174455"/>
                <a:gd name="connsiteY14" fmla="*/ 22579 h 138306"/>
                <a:gd name="connsiteX15" fmla="*/ 48068 w 174455"/>
                <a:gd name="connsiteY15" fmla="*/ 15914 h 138306"/>
                <a:gd name="connsiteX16" fmla="*/ 31131 w 174455"/>
                <a:gd name="connsiteY16" fmla="*/ 15883 h 138306"/>
                <a:gd name="connsiteX17" fmla="*/ 31092 w 174455"/>
                <a:gd name="connsiteY17" fmla="*/ 15914 h 138306"/>
                <a:gd name="connsiteX18" fmla="*/ 20059 w 174455"/>
                <a:gd name="connsiteY18" fmla="*/ 24649 h 138306"/>
                <a:gd name="connsiteX19" fmla="*/ 20059 w 174455"/>
                <a:gd name="connsiteY19" fmla="*/ 38108 h 138306"/>
                <a:gd name="connsiteX20" fmla="*/ 28481 w 174455"/>
                <a:gd name="connsiteY20" fmla="*/ 44785 h 138306"/>
                <a:gd name="connsiteX21" fmla="*/ 23953 w 174455"/>
                <a:gd name="connsiteY21" fmla="*/ 53461 h 138306"/>
                <a:gd name="connsiteX22" fmla="*/ 12006 w 174455"/>
                <a:gd name="connsiteY22" fmla="*/ 53461 h 138306"/>
                <a:gd name="connsiteX23" fmla="*/ 0 w 174455"/>
                <a:gd name="connsiteY23" fmla="*/ 62968 h 138306"/>
                <a:gd name="connsiteX24" fmla="*/ 0 w 174455"/>
                <a:gd name="connsiteY24" fmla="*/ 75339 h 138306"/>
                <a:gd name="connsiteX25" fmla="*/ 12006 w 174455"/>
                <a:gd name="connsiteY25" fmla="*/ 84845 h 138306"/>
                <a:gd name="connsiteX26" fmla="*/ 23953 w 174455"/>
                <a:gd name="connsiteY26" fmla="*/ 84845 h 138306"/>
                <a:gd name="connsiteX27" fmla="*/ 28481 w 174455"/>
                <a:gd name="connsiteY27" fmla="*/ 93522 h 138306"/>
                <a:gd name="connsiteX28" fmla="*/ 20059 w 174455"/>
                <a:gd name="connsiteY28" fmla="*/ 100199 h 138306"/>
                <a:gd name="connsiteX29" fmla="*/ 20059 w 174455"/>
                <a:gd name="connsiteY29" fmla="*/ 113657 h 138306"/>
                <a:gd name="connsiteX30" fmla="*/ 31092 w 174455"/>
                <a:gd name="connsiteY30" fmla="*/ 122404 h 138306"/>
                <a:gd name="connsiteX31" fmla="*/ 48068 w 174455"/>
                <a:gd name="connsiteY31" fmla="*/ 122404 h 138306"/>
                <a:gd name="connsiteX32" fmla="*/ 56490 w 174455"/>
                <a:gd name="connsiteY32" fmla="*/ 115727 h 138306"/>
                <a:gd name="connsiteX33" fmla="*/ 67434 w 174455"/>
                <a:gd name="connsiteY33" fmla="*/ 119317 h 138306"/>
                <a:gd name="connsiteX34" fmla="*/ 67434 w 174455"/>
                <a:gd name="connsiteY34" fmla="*/ 128788 h 138306"/>
                <a:gd name="connsiteX35" fmla="*/ 79425 w 174455"/>
                <a:gd name="connsiteY35" fmla="*/ 138307 h 138306"/>
                <a:gd name="connsiteX36" fmla="*/ 95030 w 174455"/>
                <a:gd name="connsiteY36" fmla="*/ 138307 h 138306"/>
                <a:gd name="connsiteX37" fmla="*/ 107021 w 174455"/>
                <a:gd name="connsiteY37" fmla="*/ 128788 h 138306"/>
                <a:gd name="connsiteX38" fmla="*/ 107021 w 174455"/>
                <a:gd name="connsiteY38" fmla="*/ 119317 h 138306"/>
                <a:gd name="connsiteX39" fmla="*/ 117965 w 174455"/>
                <a:gd name="connsiteY39" fmla="*/ 115727 h 138306"/>
                <a:gd name="connsiteX40" fmla="*/ 126387 w 174455"/>
                <a:gd name="connsiteY40" fmla="*/ 122404 h 138306"/>
                <a:gd name="connsiteX41" fmla="*/ 143364 w 174455"/>
                <a:gd name="connsiteY41" fmla="*/ 122404 h 138306"/>
                <a:gd name="connsiteX42" fmla="*/ 154396 w 174455"/>
                <a:gd name="connsiteY42" fmla="*/ 113657 h 138306"/>
                <a:gd name="connsiteX43" fmla="*/ 154396 w 174455"/>
                <a:gd name="connsiteY43" fmla="*/ 100199 h 138306"/>
                <a:gd name="connsiteX44" fmla="*/ 145974 w 174455"/>
                <a:gd name="connsiteY44" fmla="*/ 93522 h 138306"/>
                <a:gd name="connsiteX45" fmla="*/ 150502 w 174455"/>
                <a:gd name="connsiteY45" fmla="*/ 84845 h 138306"/>
                <a:gd name="connsiteX46" fmla="*/ 162449 w 174455"/>
                <a:gd name="connsiteY46" fmla="*/ 84845 h 138306"/>
                <a:gd name="connsiteX47" fmla="*/ 174455 w 174455"/>
                <a:gd name="connsiteY47" fmla="*/ 75339 h 138306"/>
                <a:gd name="connsiteX48" fmla="*/ 174455 w 174455"/>
                <a:gd name="connsiteY48" fmla="*/ 62968 h 138306"/>
                <a:gd name="connsiteX49" fmla="*/ 162449 w 174455"/>
                <a:gd name="connsiteY49" fmla="*/ 53461 h 138306"/>
                <a:gd name="connsiteX50" fmla="*/ 165856 w 174455"/>
                <a:gd name="connsiteY50" fmla="*/ 75339 h 138306"/>
                <a:gd name="connsiteX51" fmla="*/ 162449 w 174455"/>
                <a:gd name="connsiteY51" fmla="*/ 78040 h 138306"/>
                <a:gd name="connsiteX52" fmla="*/ 147272 w 174455"/>
                <a:gd name="connsiteY52" fmla="*/ 78040 h 138306"/>
                <a:gd name="connsiteX53" fmla="*/ 143098 w 174455"/>
                <a:gd name="connsiteY53" fmla="*/ 80601 h 138306"/>
                <a:gd name="connsiteX54" fmla="*/ 136933 w 174455"/>
                <a:gd name="connsiteY54" fmla="*/ 92376 h 138306"/>
                <a:gd name="connsiteX55" fmla="*/ 137597 w 174455"/>
                <a:gd name="connsiteY55" fmla="*/ 96527 h 138306"/>
                <a:gd name="connsiteX56" fmla="*/ 148319 w 174455"/>
                <a:gd name="connsiteY56" fmla="*/ 105016 h 138306"/>
                <a:gd name="connsiteX57" fmla="*/ 148319 w 174455"/>
                <a:gd name="connsiteY57" fmla="*/ 108840 h 138306"/>
                <a:gd name="connsiteX58" fmla="*/ 137287 w 174455"/>
                <a:gd name="connsiteY58" fmla="*/ 117586 h 138306"/>
                <a:gd name="connsiteX59" fmla="*/ 132464 w 174455"/>
                <a:gd name="connsiteY59" fmla="*/ 117586 h 138306"/>
                <a:gd name="connsiteX60" fmla="*/ 121756 w 174455"/>
                <a:gd name="connsiteY60" fmla="*/ 109085 h 138306"/>
                <a:gd name="connsiteX61" fmla="*/ 116520 w 174455"/>
                <a:gd name="connsiteY61" fmla="*/ 108559 h 138306"/>
                <a:gd name="connsiteX62" fmla="*/ 101653 w 174455"/>
                <a:gd name="connsiteY62" fmla="*/ 113447 h 138306"/>
                <a:gd name="connsiteX63" fmla="*/ 98437 w 174455"/>
                <a:gd name="connsiteY63" fmla="*/ 116756 h 138306"/>
                <a:gd name="connsiteX64" fmla="*/ 98437 w 174455"/>
                <a:gd name="connsiteY64" fmla="*/ 128788 h 138306"/>
                <a:gd name="connsiteX65" fmla="*/ 95030 w 174455"/>
                <a:gd name="connsiteY65" fmla="*/ 131489 h 138306"/>
                <a:gd name="connsiteX66" fmla="*/ 79425 w 174455"/>
                <a:gd name="connsiteY66" fmla="*/ 131489 h 138306"/>
                <a:gd name="connsiteX67" fmla="*/ 76018 w 174455"/>
                <a:gd name="connsiteY67" fmla="*/ 128788 h 138306"/>
                <a:gd name="connsiteX68" fmla="*/ 76018 w 174455"/>
                <a:gd name="connsiteY68" fmla="*/ 116756 h 138306"/>
                <a:gd name="connsiteX69" fmla="*/ 72803 w 174455"/>
                <a:gd name="connsiteY69" fmla="*/ 113447 h 138306"/>
                <a:gd name="connsiteX70" fmla="*/ 57935 w 174455"/>
                <a:gd name="connsiteY70" fmla="*/ 108559 h 138306"/>
                <a:gd name="connsiteX71" fmla="*/ 55738 w 174455"/>
                <a:gd name="connsiteY71" fmla="*/ 108091 h 138306"/>
                <a:gd name="connsiteX72" fmla="*/ 52699 w 174455"/>
                <a:gd name="connsiteY72" fmla="*/ 109085 h 138306"/>
                <a:gd name="connsiteX73" fmla="*/ 41991 w 174455"/>
                <a:gd name="connsiteY73" fmla="*/ 117586 h 138306"/>
                <a:gd name="connsiteX74" fmla="*/ 37168 w 174455"/>
                <a:gd name="connsiteY74" fmla="*/ 117586 h 138306"/>
                <a:gd name="connsiteX75" fmla="*/ 26136 w 174455"/>
                <a:gd name="connsiteY75" fmla="*/ 108840 h 138306"/>
                <a:gd name="connsiteX76" fmla="*/ 26136 w 174455"/>
                <a:gd name="connsiteY76" fmla="*/ 105016 h 138306"/>
                <a:gd name="connsiteX77" fmla="*/ 36859 w 174455"/>
                <a:gd name="connsiteY77" fmla="*/ 96527 h 138306"/>
                <a:gd name="connsiteX78" fmla="*/ 37522 w 174455"/>
                <a:gd name="connsiteY78" fmla="*/ 92376 h 138306"/>
                <a:gd name="connsiteX79" fmla="*/ 31357 w 174455"/>
                <a:gd name="connsiteY79" fmla="*/ 80601 h 138306"/>
                <a:gd name="connsiteX80" fmla="*/ 27183 w 174455"/>
                <a:gd name="connsiteY80" fmla="*/ 78040 h 138306"/>
                <a:gd name="connsiteX81" fmla="*/ 12006 w 174455"/>
                <a:gd name="connsiteY81" fmla="*/ 78040 h 138306"/>
                <a:gd name="connsiteX82" fmla="*/ 8599 w 174455"/>
                <a:gd name="connsiteY82" fmla="*/ 75339 h 138306"/>
                <a:gd name="connsiteX83" fmla="*/ 8599 w 174455"/>
                <a:gd name="connsiteY83" fmla="*/ 62968 h 138306"/>
                <a:gd name="connsiteX84" fmla="*/ 12006 w 174455"/>
                <a:gd name="connsiteY84" fmla="*/ 60266 h 138306"/>
                <a:gd name="connsiteX85" fmla="*/ 27183 w 174455"/>
                <a:gd name="connsiteY85" fmla="*/ 60266 h 138306"/>
                <a:gd name="connsiteX86" fmla="*/ 31357 w 174455"/>
                <a:gd name="connsiteY86" fmla="*/ 57717 h 138306"/>
                <a:gd name="connsiteX87" fmla="*/ 37522 w 174455"/>
                <a:gd name="connsiteY87" fmla="*/ 45931 h 138306"/>
                <a:gd name="connsiteX88" fmla="*/ 36859 w 174455"/>
                <a:gd name="connsiteY88" fmla="*/ 41780 h 138306"/>
                <a:gd name="connsiteX89" fmla="*/ 26136 w 174455"/>
                <a:gd name="connsiteY89" fmla="*/ 33290 h 138306"/>
                <a:gd name="connsiteX90" fmla="*/ 26136 w 174455"/>
                <a:gd name="connsiteY90" fmla="*/ 29467 h 138306"/>
                <a:gd name="connsiteX91" fmla="*/ 37168 w 174455"/>
                <a:gd name="connsiteY91" fmla="*/ 20720 h 138306"/>
                <a:gd name="connsiteX92" fmla="*/ 41991 w 174455"/>
                <a:gd name="connsiteY92" fmla="*/ 20720 h 138306"/>
                <a:gd name="connsiteX93" fmla="*/ 52699 w 174455"/>
                <a:gd name="connsiteY93" fmla="*/ 29221 h 138306"/>
                <a:gd name="connsiteX94" fmla="*/ 57935 w 174455"/>
                <a:gd name="connsiteY94" fmla="*/ 29747 h 138306"/>
                <a:gd name="connsiteX95" fmla="*/ 72803 w 174455"/>
                <a:gd name="connsiteY95" fmla="*/ 24860 h 138306"/>
                <a:gd name="connsiteX96" fmla="*/ 76018 w 174455"/>
                <a:gd name="connsiteY96" fmla="*/ 21550 h 138306"/>
                <a:gd name="connsiteX97" fmla="*/ 76018 w 174455"/>
                <a:gd name="connsiteY97" fmla="*/ 9518 h 138306"/>
                <a:gd name="connsiteX98" fmla="*/ 79425 w 174455"/>
                <a:gd name="connsiteY98" fmla="*/ 6817 h 138306"/>
                <a:gd name="connsiteX99" fmla="*/ 95030 w 174455"/>
                <a:gd name="connsiteY99" fmla="*/ 6817 h 138306"/>
                <a:gd name="connsiteX100" fmla="*/ 98437 w 174455"/>
                <a:gd name="connsiteY100" fmla="*/ 9518 h 138306"/>
                <a:gd name="connsiteX101" fmla="*/ 98437 w 174455"/>
                <a:gd name="connsiteY101" fmla="*/ 21550 h 138306"/>
                <a:gd name="connsiteX102" fmla="*/ 101653 w 174455"/>
                <a:gd name="connsiteY102" fmla="*/ 24860 h 138306"/>
                <a:gd name="connsiteX103" fmla="*/ 116520 w 174455"/>
                <a:gd name="connsiteY103" fmla="*/ 29747 h 138306"/>
                <a:gd name="connsiteX104" fmla="*/ 121756 w 174455"/>
                <a:gd name="connsiteY104" fmla="*/ 29221 h 138306"/>
                <a:gd name="connsiteX105" fmla="*/ 132464 w 174455"/>
                <a:gd name="connsiteY105" fmla="*/ 20720 h 138306"/>
                <a:gd name="connsiteX106" fmla="*/ 137287 w 174455"/>
                <a:gd name="connsiteY106" fmla="*/ 20720 h 138306"/>
                <a:gd name="connsiteX107" fmla="*/ 148319 w 174455"/>
                <a:gd name="connsiteY107" fmla="*/ 29467 h 138306"/>
                <a:gd name="connsiteX108" fmla="*/ 148319 w 174455"/>
                <a:gd name="connsiteY108" fmla="*/ 33290 h 138306"/>
                <a:gd name="connsiteX109" fmla="*/ 137597 w 174455"/>
                <a:gd name="connsiteY109" fmla="*/ 41780 h 138306"/>
                <a:gd name="connsiteX110" fmla="*/ 136933 w 174455"/>
                <a:gd name="connsiteY110" fmla="*/ 45931 h 138306"/>
                <a:gd name="connsiteX111" fmla="*/ 143098 w 174455"/>
                <a:gd name="connsiteY111" fmla="*/ 57717 h 138306"/>
                <a:gd name="connsiteX112" fmla="*/ 147272 w 174455"/>
                <a:gd name="connsiteY112" fmla="*/ 60266 h 138306"/>
                <a:gd name="connsiteX113" fmla="*/ 162449 w 174455"/>
                <a:gd name="connsiteY113" fmla="*/ 60266 h 138306"/>
                <a:gd name="connsiteX114" fmla="*/ 165856 w 174455"/>
                <a:gd name="connsiteY114" fmla="*/ 62968 h 13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4455" h="138306">
                  <a:moveTo>
                    <a:pt x="162449" y="53461"/>
                  </a:moveTo>
                  <a:lnTo>
                    <a:pt x="150502" y="53461"/>
                  </a:lnTo>
                  <a:cubicBezTo>
                    <a:pt x="149320" y="50468"/>
                    <a:pt x="147805" y="47565"/>
                    <a:pt x="145974" y="44785"/>
                  </a:cubicBezTo>
                  <a:lnTo>
                    <a:pt x="154396" y="38108"/>
                  </a:lnTo>
                  <a:cubicBezTo>
                    <a:pt x="159075" y="34388"/>
                    <a:pt x="159075" y="28369"/>
                    <a:pt x="154396" y="24649"/>
                  </a:cubicBezTo>
                  <a:lnTo>
                    <a:pt x="143364" y="15903"/>
                  </a:lnTo>
                  <a:cubicBezTo>
                    <a:pt x="138672" y="12193"/>
                    <a:pt x="131079" y="12193"/>
                    <a:pt x="126387" y="15903"/>
                  </a:cubicBezTo>
                  <a:lnTo>
                    <a:pt x="117965" y="22579"/>
                  </a:lnTo>
                  <a:cubicBezTo>
                    <a:pt x="114458" y="21128"/>
                    <a:pt x="110796" y="19927"/>
                    <a:pt x="107021" y="18990"/>
                  </a:cubicBezTo>
                  <a:lnTo>
                    <a:pt x="107021" y="9518"/>
                  </a:lnTo>
                  <a:cubicBezTo>
                    <a:pt x="107014" y="4269"/>
                    <a:pt x="101651" y="13"/>
                    <a:pt x="95030" y="0"/>
                  </a:cubicBezTo>
                  <a:lnTo>
                    <a:pt x="79425" y="0"/>
                  </a:lnTo>
                  <a:cubicBezTo>
                    <a:pt x="72804" y="13"/>
                    <a:pt x="67442" y="4269"/>
                    <a:pt x="67434" y="9518"/>
                  </a:cubicBezTo>
                  <a:lnTo>
                    <a:pt x="67434" y="18990"/>
                  </a:lnTo>
                  <a:cubicBezTo>
                    <a:pt x="63659" y="19927"/>
                    <a:pt x="59997" y="21128"/>
                    <a:pt x="56490" y="22579"/>
                  </a:cubicBezTo>
                  <a:lnTo>
                    <a:pt x="48068" y="15914"/>
                  </a:lnTo>
                  <a:cubicBezTo>
                    <a:pt x="43402" y="12198"/>
                    <a:pt x="35819" y="12184"/>
                    <a:pt x="31131" y="15883"/>
                  </a:cubicBezTo>
                  <a:cubicBezTo>
                    <a:pt x="31118" y="15894"/>
                    <a:pt x="31105" y="15904"/>
                    <a:pt x="31092" y="15914"/>
                  </a:cubicBezTo>
                  <a:lnTo>
                    <a:pt x="20059" y="24649"/>
                  </a:lnTo>
                  <a:cubicBezTo>
                    <a:pt x="15380" y="28369"/>
                    <a:pt x="15380" y="34388"/>
                    <a:pt x="20059" y="38108"/>
                  </a:cubicBezTo>
                  <a:lnTo>
                    <a:pt x="28481" y="44785"/>
                  </a:lnTo>
                  <a:cubicBezTo>
                    <a:pt x="26651" y="47565"/>
                    <a:pt x="25135" y="50468"/>
                    <a:pt x="23953" y="53461"/>
                  </a:cubicBezTo>
                  <a:lnTo>
                    <a:pt x="12006" y="53461"/>
                  </a:lnTo>
                  <a:cubicBezTo>
                    <a:pt x="5384" y="53468"/>
                    <a:pt x="16" y="57718"/>
                    <a:pt x="0" y="62968"/>
                  </a:cubicBezTo>
                  <a:lnTo>
                    <a:pt x="0" y="75339"/>
                  </a:lnTo>
                  <a:cubicBezTo>
                    <a:pt x="16" y="80588"/>
                    <a:pt x="5384" y="84840"/>
                    <a:pt x="12006" y="84845"/>
                  </a:cubicBezTo>
                  <a:lnTo>
                    <a:pt x="23953" y="84845"/>
                  </a:lnTo>
                  <a:cubicBezTo>
                    <a:pt x="25135" y="87838"/>
                    <a:pt x="26651" y="90741"/>
                    <a:pt x="28481" y="93522"/>
                  </a:cubicBezTo>
                  <a:lnTo>
                    <a:pt x="20059" y="100199"/>
                  </a:lnTo>
                  <a:cubicBezTo>
                    <a:pt x="15380" y="103918"/>
                    <a:pt x="15380" y="109938"/>
                    <a:pt x="20059" y="113657"/>
                  </a:cubicBezTo>
                  <a:lnTo>
                    <a:pt x="31092" y="122404"/>
                  </a:lnTo>
                  <a:cubicBezTo>
                    <a:pt x="35783" y="126113"/>
                    <a:pt x="43377" y="126113"/>
                    <a:pt x="48068" y="122404"/>
                  </a:cubicBezTo>
                  <a:lnTo>
                    <a:pt x="56490" y="115727"/>
                  </a:lnTo>
                  <a:cubicBezTo>
                    <a:pt x="59997" y="117178"/>
                    <a:pt x="63659" y="118379"/>
                    <a:pt x="67434" y="119317"/>
                  </a:cubicBezTo>
                  <a:lnTo>
                    <a:pt x="67434" y="128788"/>
                  </a:lnTo>
                  <a:cubicBezTo>
                    <a:pt x="67442" y="134037"/>
                    <a:pt x="72804" y="138294"/>
                    <a:pt x="79425" y="138307"/>
                  </a:cubicBezTo>
                  <a:lnTo>
                    <a:pt x="95030" y="138307"/>
                  </a:lnTo>
                  <a:cubicBezTo>
                    <a:pt x="101651" y="138294"/>
                    <a:pt x="107014" y="134037"/>
                    <a:pt x="107021" y="128788"/>
                  </a:cubicBezTo>
                  <a:lnTo>
                    <a:pt x="107021" y="119317"/>
                  </a:lnTo>
                  <a:cubicBezTo>
                    <a:pt x="110796" y="118379"/>
                    <a:pt x="114458" y="117178"/>
                    <a:pt x="117965" y="115727"/>
                  </a:cubicBezTo>
                  <a:lnTo>
                    <a:pt x="126387" y="122404"/>
                  </a:lnTo>
                  <a:cubicBezTo>
                    <a:pt x="131079" y="126113"/>
                    <a:pt x="138672" y="126113"/>
                    <a:pt x="143364" y="122404"/>
                  </a:cubicBezTo>
                  <a:lnTo>
                    <a:pt x="154396" y="113657"/>
                  </a:lnTo>
                  <a:cubicBezTo>
                    <a:pt x="159075" y="109938"/>
                    <a:pt x="159075" y="103918"/>
                    <a:pt x="154396" y="100199"/>
                  </a:cubicBezTo>
                  <a:lnTo>
                    <a:pt x="145974" y="93522"/>
                  </a:lnTo>
                  <a:cubicBezTo>
                    <a:pt x="147805" y="90741"/>
                    <a:pt x="149320" y="87838"/>
                    <a:pt x="150502" y="84845"/>
                  </a:cubicBezTo>
                  <a:lnTo>
                    <a:pt x="162449" y="84845"/>
                  </a:lnTo>
                  <a:cubicBezTo>
                    <a:pt x="169070" y="84840"/>
                    <a:pt x="174439" y="80588"/>
                    <a:pt x="174455" y="75339"/>
                  </a:cubicBezTo>
                  <a:lnTo>
                    <a:pt x="174455" y="62968"/>
                  </a:lnTo>
                  <a:cubicBezTo>
                    <a:pt x="174439" y="57718"/>
                    <a:pt x="169070" y="53468"/>
                    <a:pt x="162449" y="53461"/>
                  </a:cubicBezTo>
                  <a:close/>
                  <a:moveTo>
                    <a:pt x="165856" y="75339"/>
                  </a:moveTo>
                  <a:cubicBezTo>
                    <a:pt x="165856" y="76831"/>
                    <a:pt x="164331" y="78040"/>
                    <a:pt x="162449" y="78040"/>
                  </a:cubicBezTo>
                  <a:lnTo>
                    <a:pt x="147272" y="78040"/>
                  </a:lnTo>
                  <a:cubicBezTo>
                    <a:pt x="145309" y="78042"/>
                    <a:pt x="143594" y="79095"/>
                    <a:pt x="143098" y="80601"/>
                  </a:cubicBezTo>
                  <a:cubicBezTo>
                    <a:pt x="141760" y="84738"/>
                    <a:pt x="139684" y="88703"/>
                    <a:pt x="136933" y="92376"/>
                  </a:cubicBezTo>
                  <a:cubicBezTo>
                    <a:pt x="135939" y="93718"/>
                    <a:pt x="136212" y="95423"/>
                    <a:pt x="137597" y="96527"/>
                  </a:cubicBezTo>
                  <a:lnTo>
                    <a:pt x="148319" y="105016"/>
                  </a:lnTo>
                  <a:cubicBezTo>
                    <a:pt x="149637" y="106077"/>
                    <a:pt x="149637" y="107779"/>
                    <a:pt x="148319" y="108840"/>
                  </a:cubicBezTo>
                  <a:lnTo>
                    <a:pt x="137287" y="117586"/>
                  </a:lnTo>
                  <a:cubicBezTo>
                    <a:pt x="135949" y="118631"/>
                    <a:pt x="133802" y="118631"/>
                    <a:pt x="132464" y="117586"/>
                  </a:cubicBezTo>
                  <a:lnTo>
                    <a:pt x="121756" y="109085"/>
                  </a:lnTo>
                  <a:cubicBezTo>
                    <a:pt x="120364" y="107987"/>
                    <a:pt x="118213" y="107771"/>
                    <a:pt x="116520" y="108559"/>
                  </a:cubicBezTo>
                  <a:cubicBezTo>
                    <a:pt x="111884" y="110742"/>
                    <a:pt x="106877" y="112389"/>
                    <a:pt x="101653" y="113447"/>
                  </a:cubicBezTo>
                  <a:cubicBezTo>
                    <a:pt x="99759" y="113844"/>
                    <a:pt x="98439" y="115203"/>
                    <a:pt x="98437" y="116756"/>
                  </a:cubicBezTo>
                  <a:lnTo>
                    <a:pt x="98437" y="128788"/>
                  </a:lnTo>
                  <a:cubicBezTo>
                    <a:pt x="98437" y="130280"/>
                    <a:pt x="96912" y="131489"/>
                    <a:pt x="95030" y="131489"/>
                  </a:cubicBezTo>
                  <a:lnTo>
                    <a:pt x="79425" y="131489"/>
                  </a:lnTo>
                  <a:cubicBezTo>
                    <a:pt x="77543" y="131489"/>
                    <a:pt x="76018" y="130280"/>
                    <a:pt x="76018" y="128788"/>
                  </a:cubicBezTo>
                  <a:lnTo>
                    <a:pt x="76018" y="116756"/>
                  </a:lnTo>
                  <a:cubicBezTo>
                    <a:pt x="76017" y="115203"/>
                    <a:pt x="74697" y="113844"/>
                    <a:pt x="72803" y="113447"/>
                  </a:cubicBezTo>
                  <a:cubicBezTo>
                    <a:pt x="67578" y="112389"/>
                    <a:pt x="62572" y="110742"/>
                    <a:pt x="57935" y="108559"/>
                  </a:cubicBezTo>
                  <a:cubicBezTo>
                    <a:pt x="57267" y="108254"/>
                    <a:pt x="56509" y="108093"/>
                    <a:pt x="55738" y="108091"/>
                  </a:cubicBezTo>
                  <a:cubicBezTo>
                    <a:pt x="54599" y="108093"/>
                    <a:pt x="53508" y="108449"/>
                    <a:pt x="52699" y="109085"/>
                  </a:cubicBezTo>
                  <a:lnTo>
                    <a:pt x="41991" y="117586"/>
                  </a:lnTo>
                  <a:cubicBezTo>
                    <a:pt x="40654" y="118631"/>
                    <a:pt x="38506" y="118631"/>
                    <a:pt x="37168" y="117586"/>
                  </a:cubicBezTo>
                  <a:lnTo>
                    <a:pt x="26136" y="108840"/>
                  </a:lnTo>
                  <a:cubicBezTo>
                    <a:pt x="24818" y="107779"/>
                    <a:pt x="24818" y="106077"/>
                    <a:pt x="26136" y="105016"/>
                  </a:cubicBezTo>
                  <a:lnTo>
                    <a:pt x="36859" y="96527"/>
                  </a:lnTo>
                  <a:cubicBezTo>
                    <a:pt x="38244" y="95423"/>
                    <a:pt x="38516" y="93718"/>
                    <a:pt x="37522" y="92376"/>
                  </a:cubicBezTo>
                  <a:cubicBezTo>
                    <a:pt x="34771" y="88703"/>
                    <a:pt x="32695" y="84738"/>
                    <a:pt x="31357" y="80601"/>
                  </a:cubicBezTo>
                  <a:cubicBezTo>
                    <a:pt x="30861" y="79095"/>
                    <a:pt x="29147" y="78042"/>
                    <a:pt x="27183" y="78040"/>
                  </a:cubicBezTo>
                  <a:lnTo>
                    <a:pt x="12006" y="78040"/>
                  </a:lnTo>
                  <a:cubicBezTo>
                    <a:pt x="10124" y="78040"/>
                    <a:pt x="8599" y="76831"/>
                    <a:pt x="8599" y="75339"/>
                  </a:cubicBezTo>
                  <a:lnTo>
                    <a:pt x="8599" y="62968"/>
                  </a:lnTo>
                  <a:cubicBezTo>
                    <a:pt x="8599" y="61476"/>
                    <a:pt x="10124" y="60266"/>
                    <a:pt x="12006" y="60266"/>
                  </a:cubicBezTo>
                  <a:lnTo>
                    <a:pt x="27183" y="60266"/>
                  </a:lnTo>
                  <a:cubicBezTo>
                    <a:pt x="29143" y="60265"/>
                    <a:pt x="30856" y="59219"/>
                    <a:pt x="31357" y="57717"/>
                  </a:cubicBezTo>
                  <a:cubicBezTo>
                    <a:pt x="32692" y="53575"/>
                    <a:pt x="34768" y="49606"/>
                    <a:pt x="37522" y="45931"/>
                  </a:cubicBezTo>
                  <a:cubicBezTo>
                    <a:pt x="38516" y="44588"/>
                    <a:pt x="38244" y="42883"/>
                    <a:pt x="36859" y="41780"/>
                  </a:cubicBezTo>
                  <a:lnTo>
                    <a:pt x="26136" y="33290"/>
                  </a:lnTo>
                  <a:cubicBezTo>
                    <a:pt x="24818" y="32230"/>
                    <a:pt x="24818" y="30527"/>
                    <a:pt x="26136" y="29467"/>
                  </a:cubicBezTo>
                  <a:lnTo>
                    <a:pt x="37168" y="20720"/>
                  </a:lnTo>
                  <a:cubicBezTo>
                    <a:pt x="38506" y="19676"/>
                    <a:pt x="40654" y="19676"/>
                    <a:pt x="41991" y="20720"/>
                  </a:cubicBezTo>
                  <a:lnTo>
                    <a:pt x="52699" y="29221"/>
                  </a:lnTo>
                  <a:cubicBezTo>
                    <a:pt x="54091" y="30319"/>
                    <a:pt x="56242" y="30535"/>
                    <a:pt x="57935" y="29747"/>
                  </a:cubicBezTo>
                  <a:cubicBezTo>
                    <a:pt x="62572" y="27564"/>
                    <a:pt x="67578" y="25918"/>
                    <a:pt x="72803" y="24860"/>
                  </a:cubicBezTo>
                  <a:cubicBezTo>
                    <a:pt x="74697" y="24462"/>
                    <a:pt x="76017" y="23104"/>
                    <a:pt x="76018" y="21550"/>
                  </a:cubicBezTo>
                  <a:lnTo>
                    <a:pt x="76018" y="9518"/>
                  </a:lnTo>
                  <a:cubicBezTo>
                    <a:pt x="76018" y="8026"/>
                    <a:pt x="77543" y="6817"/>
                    <a:pt x="79425" y="6817"/>
                  </a:cubicBezTo>
                  <a:lnTo>
                    <a:pt x="95030" y="6817"/>
                  </a:lnTo>
                  <a:cubicBezTo>
                    <a:pt x="96912" y="6817"/>
                    <a:pt x="98437" y="8026"/>
                    <a:pt x="98437" y="9518"/>
                  </a:cubicBezTo>
                  <a:lnTo>
                    <a:pt x="98437" y="21550"/>
                  </a:lnTo>
                  <a:cubicBezTo>
                    <a:pt x="98439" y="23104"/>
                    <a:pt x="99759" y="24462"/>
                    <a:pt x="101653" y="24860"/>
                  </a:cubicBezTo>
                  <a:cubicBezTo>
                    <a:pt x="106877" y="25918"/>
                    <a:pt x="111884" y="27564"/>
                    <a:pt x="116520" y="29747"/>
                  </a:cubicBezTo>
                  <a:cubicBezTo>
                    <a:pt x="118213" y="30535"/>
                    <a:pt x="120364" y="30319"/>
                    <a:pt x="121756" y="29221"/>
                  </a:cubicBezTo>
                  <a:lnTo>
                    <a:pt x="132464" y="20720"/>
                  </a:lnTo>
                  <a:cubicBezTo>
                    <a:pt x="133802" y="19676"/>
                    <a:pt x="135949" y="19676"/>
                    <a:pt x="137287" y="20720"/>
                  </a:cubicBezTo>
                  <a:lnTo>
                    <a:pt x="148319" y="29467"/>
                  </a:lnTo>
                  <a:cubicBezTo>
                    <a:pt x="149637" y="30527"/>
                    <a:pt x="149637" y="32230"/>
                    <a:pt x="148319" y="33290"/>
                  </a:cubicBezTo>
                  <a:lnTo>
                    <a:pt x="137597" y="41780"/>
                  </a:lnTo>
                  <a:cubicBezTo>
                    <a:pt x="136212" y="42883"/>
                    <a:pt x="135939" y="44588"/>
                    <a:pt x="136933" y="45931"/>
                  </a:cubicBezTo>
                  <a:cubicBezTo>
                    <a:pt x="139687" y="49606"/>
                    <a:pt x="141763" y="53575"/>
                    <a:pt x="143098" y="57717"/>
                  </a:cubicBezTo>
                  <a:cubicBezTo>
                    <a:pt x="143600" y="59219"/>
                    <a:pt x="145314" y="60265"/>
                    <a:pt x="147272" y="60266"/>
                  </a:cubicBezTo>
                  <a:lnTo>
                    <a:pt x="162449" y="60266"/>
                  </a:lnTo>
                  <a:cubicBezTo>
                    <a:pt x="164331" y="60266"/>
                    <a:pt x="165856" y="61476"/>
                    <a:pt x="165856" y="62968"/>
                  </a:cubicBez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0" name="Freeform: Shape 1559">
              <a:extLst>
                <a:ext uri="{FF2B5EF4-FFF2-40B4-BE49-F238E27FC236}">
                  <a16:creationId xmlns:a16="http://schemas.microsoft.com/office/drawing/2014/main" id="{9F5C8FA0-F0AB-D759-91EE-A66693974994}"/>
                </a:ext>
              </a:extLst>
            </p:cNvPr>
            <p:cNvSpPr/>
            <p:nvPr/>
          </p:nvSpPr>
          <p:spPr>
            <a:xfrm>
              <a:off x="2427693" y="6032162"/>
              <a:ext cx="68732" cy="68732"/>
            </a:xfrm>
            <a:custGeom>
              <a:avLst/>
              <a:gdLst>
                <a:gd name="connsiteX0" fmla="*/ 39912 w 79823"/>
                <a:gd name="connsiteY0" fmla="*/ 0 h 63283"/>
                <a:gd name="connsiteX1" fmla="*/ 0 w 79823"/>
                <a:gd name="connsiteY1" fmla="*/ 31642 h 63283"/>
                <a:gd name="connsiteX2" fmla="*/ 39912 w 79823"/>
                <a:gd name="connsiteY2" fmla="*/ 63283 h 63283"/>
                <a:gd name="connsiteX3" fmla="*/ 79823 w 79823"/>
                <a:gd name="connsiteY3" fmla="*/ 31642 h 63283"/>
                <a:gd name="connsiteX4" fmla="*/ 39912 w 79823"/>
                <a:gd name="connsiteY4" fmla="*/ 0 h 63283"/>
                <a:gd name="connsiteX5" fmla="*/ 39912 w 79823"/>
                <a:gd name="connsiteY5" fmla="*/ 56466 h 63283"/>
                <a:gd name="connsiteX6" fmla="*/ 8599 w 79823"/>
                <a:gd name="connsiteY6" fmla="*/ 31642 h 63283"/>
                <a:gd name="connsiteX7" fmla="*/ 39912 w 79823"/>
                <a:gd name="connsiteY7" fmla="*/ 6817 h 63283"/>
                <a:gd name="connsiteX8" fmla="*/ 71225 w 79823"/>
                <a:gd name="connsiteY8" fmla="*/ 31642 h 63283"/>
                <a:gd name="connsiteX9" fmla="*/ 39912 w 79823"/>
                <a:gd name="connsiteY9" fmla="*/ 56466 h 6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23" h="63283">
                  <a:moveTo>
                    <a:pt x="39912" y="0"/>
                  </a:moveTo>
                  <a:cubicBezTo>
                    <a:pt x="17869" y="0"/>
                    <a:pt x="0" y="14166"/>
                    <a:pt x="0" y="31642"/>
                  </a:cubicBezTo>
                  <a:cubicBezTo>
                    <a:pt x="0" y="49117"/>
                    <a:pt x="17869" y="63283"/>
                    <a:pt x="39912" y="63283"/>
                  </a:cubicBezTo>
                  <a:cubicBezTo>
                    <a:pt x="61955" y="63283"/>
                    <a:pt x="79823" y="49117"/>
                    <a:pt x="79823" y="31642"/>
                  </a:cubicBezTo>
                  <a:cubicBezTo>
                    <a:pt x="79798" y="14174"/>
                    <a:pt x="61944" y="19"/>
                    <a:pt x="39912" y="0"/>
                  </a:cubicBezTo>
                  <a:close/>
                  <a:moveTo>
                    <a:pt x="39912" y="56466"/>
                  </a:moveTo>
                  <a:cubicBezTo>
                    <a:pt x="22618" y="56466"/>
                    <a:pt x="8599" y="45352"/>
                    <a:pt x="8599" y="31642"/>
                  </a:cubicBezTo>
                  <a:cubicBezTo>
                    <a:pt x="8599" y="17931"/>
                    <a:pt x="22618" y="6817"/>
                    <a:pt x="39912" y="6817"/>
                  </a:cubicBezTo>
                  <a:cubicBezTo>
                    <a:pt x="57205" y="6817"/>
                    <a:pt x="71225" y="17931"/>
                    <a:pt x="71225" y="31642"/>
                  </a:cubicBezTo>
                  <a:cubicBezTo>
                    <a:pt x="71208" y="45346"/>
                    <a:pt x="57198" y="56453"/>
                    <a:pt x="39912" y="56466"/>
                  </a:cubicBez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1" name="Freeform: Shape 1560">
              <a:extLst>
                <a:ext uri="{FF2B5EF4-FFF2-40B4-BE49-F238E27FC236}">
                  <a16:creationId xmlns:a16="http://schemas.microsoft.com/office/drawing/2014/main" id="{50A1E6ED-8470-9281-362F-E2C119782AEB}"/>
                </a:ext>
              </a:extLst>
            </p:cNvPr>
            <p:cNvSpPr/>
            <p:nvPr/>
          </p:nvSpPr>
          <p:spPr>
            <a:xfrm>
              <a:off x="2398468" y="5938509"/>
              <a:ext cx="34754" cy="50797"/>
            </a:xfrm>
            <a:custGeom>
              <a:avLst/>
              <a:gdLst>
                <a:gd name="connsiteX0" fmla="*/ 6462 w 40362"/>
                <a:gd name="connsiteY0" fmla="*/ 26524 h 46770"/>
                <a:gd name="connsiteX1" fmla="*/ 9869 w 40362"/>
                <a:gd name="connsiteY1" fmla="*/ 28605 h 46770"/>
                <a:gd name="connsiteX2" fmla="*/ 23291 w 40362"/>
                <a:gd name="connsiteY2" fmla="*/ 30008 h 46770"/>
                <a:gd name="connsiteX3" fmla="*/ 30828 w 40362"/>
                <a:gd name="connsiteY3" fmla="*/ 44414 h 46770"/>
                <a:gd name="connsiteX4" fmla="*/ 36233 w 40362"/>
                <a:gd name="connsiteY4" fmla="*/ 46604 h 46770"/>
                <a:gd name="connsiteX5" fmla="*/ 38995 w 40362"/>
                <a:gd name="connsiteY5" fmla="*/ 42319 h 46770"/>
                <a:gd name="connsiteX6" fmla="*/ 38763 w 40362"/>
                <a:gd name="connsiteY6" fmla="*/ 41865 h 46770"/>
                <a:gd name="connsiteX7" fmla="*/ 31226 w 40362"/>
                <a:gd name="connsiteY7" fmla="*/ 27401 h 46770"/>
                <a:gd name="connsiteX8" fmla="*/ 39471 w 40362"/>
                <a:gd name="connsiteY8" fmla="*/ 18877 h 46770"/>
                <a:gd name="connsiteX9" fmla="*/ 40032 w 40362"/>
                <a:gd name="connsiteY9" fmla="*/ 15497 h 46770"/>
                <a:gd name="connsiteX10" fmla="*/ 33911 w 40362"/>
                <a:gd name="connsiteY10" fmla="*/ 3804 h 46770"/>
                <a:gd name="connsiteX11" fmla="*/ 30504 w 40362"/>
                <a:gd name="connsiteY11" fmla="*/ 1723 h 46770"/>
                <a:gd name="connsiteX12" fmla="*/ 14604 w 40362"/>
                <a:gd name="connsiteY12" fmla="*/ 27 h 46770"/>
                <a:gd name="connsiteX13" fmla="*/ 10636 w 40362"/>
                <a:gd name="connsiteY13" fmla="*/ 1337 h 46770"/>
                <a:gd name="connsiteX14" fmla="*/ 887 w 40362"/>
                <a:gd name="connsiteY14" fmla="*/ 11463 h 46770"/>
                <a:gd name="connsiteX15" fmla="*/ 326 w 40362"/>
                <a:gd name="connsiteY15" fmla="*/ 14842 h 46770"/>
                <a:gd name="connsiteX16" fmla="*/ 15946 w 40362"/>
                <a:gd name="connsiteY16" fmla="*/ 7043 h 46770"/>
                <a:gd name="connsiteX17" fmla="*/ 26920 w 40362"/>
                <a:gd name="connsiteY17" fmla="*/ 8212 h 46770"/>
                <a:gd name="connsiteX18" fmla="*/ 31153 w 40362"/>
                <a:gd name="connsiteY18" fmla="*/ 16316 h 46770"/>
                <a:gd name="connsiteX19" fmla="*/ 24412 w 40362"/>
                <a:gd name="connsiteY19" fmla="*/ 23273 h 46770"/>
                <a:gd name="connsiteX20" fmla="*/ 13453 w 40362"/>
                <a:gd name="connsiteY20" fmla="*/ 22104 h 46770"/>
                <a:gd name="connsiteX21" fmla="*/ 9220 w 40362"/>
                <a:gd name="connsiteY21" fmla="*/ 14000 h 4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62" h="46770">
                  <a:moveTo>
                    <a:pt x="6462" y="26524"/>
                  </a:moveTo>
                  <a:cubicBezTo>
                    <a:pt x="7043" y="27653"/>
                    <a:pt x="8344" y="28447"/>
                    <a:pt x="9869" y="28605"/>
                  </a:cubicBezTo>
                  <a:lnTo>
                    <a:pt x="23291" y="30008"/>
                  </a:lnTo>
                  <a:lnTo>
                    <a:pt x="30828" y="44414"/>
                  </a:lnTo>
                  <a:cubicBezTo>
                    <a:pt x="31558" y="46202"/>
                    <a:pt x="33978" y="47183"/>
                    <a:pt x="36233" y="46604"/>
                  </a:cubicBezTo>
                  <a:cubicBezTo>
                    <a:pt x="38488" y="46026"/>
                    <a:pt x="39725" y="44107"/>
                    <a:pt x="38995" y="42319"/>
                  </a:cubicBezTo>
                  <a:cubicBezTo>
                    <a:pt x="38932" y="42164"/>
                    <a:pt x="38854" y="42012"/>
                    <a:pt x="38763" y="41865"/>
                  </a:cubicBezTo>
                  <a:lnTo>
                    <a:pt x="31226" y="27401"/>
                  </a:lnTo>
                  <a:lnTo>
                    <a:pt x="39471" y="18877"/>
                  </a:lnTo>
                  <a:cubicBezTo>
                    <a:pt x="40410" y="17912"/>
                    <a:pt x="40624" y="16622"/>
                    <a:pt x="40032" y="15497"/>
                  </a:cubicBezTo>
                  <a:lnTo>
                    <a:pt x="33911" y="3804"/>
                  </a:lnTo>
                  <a:cubicBezTo>
                    <a:pt x="33325" y="2678"/>
                    <a:pt x="32026" y="1885"/>
                    <a:pt x="30504" y="1723"/>
                  </a:cubicBezTo>
                  <a:lnTo>
                    <a:pt x="14604" y="27"/>
                  </a:lnTo>
                  <a:cubicBezTo>
                    <a:pt x="13082" y="-126"/>
                    <a:pt x="11572" y="373"/>
                    <a:pt x="10636" y="1337"/>
                  </a:cubicBezTo>
                  <a:lnTo>
                    <a:pt x="887" y="11463"/>
                  </a:lnTo>
                  <a:cubicBezTo>
                    <a:pt x="-46" y="12430"/>
                    <a:pt x="-260" y="13717"/>
                    <a:pt x="326" y="14842"/>
                  </a:cubicBezTo>
                  <a:close/>
                  <a:moveTo>
                    <a:pt x="15946" y="7043"/>
                  </a:moveTo>
                  <a:lnTo>
                    <a:pt x="26920" y="8212"/>
                  </a:lnTo>
                  <a:lnTo>
                    <a:pt x="31153" y="16316"/>
                  </a:lnTo>
                  <a:lnTo>
                    <a:pt x="24412" y="23273"/>
                  </a:lnTo>
                  <a:lnTo>
                    <a:pt x="13453" y="22104"/>
                  </a:lnTo>
                  <a:lnTo>
                    <a:pt x="9220" y="14000"/>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2" name="Freeform: Shape 1561">
              <a:extLst>
                <a:ext uri="{FF2B5EF4-FFF2-40B4-BE49-F238E27FC236}">
                  <a16:creationId xmlns:a16="http://schemas.microsoft.com/office/drawing/2014/main" id="{CB947DCA-D587-3ECA-37ED-E727DA27B6AF}"/>
                </a:ext>
              </a:extLst>
            </p:cNvPr>
            <p:cNvSpPr/>
            <p:nvPr/>
          </p:nvSpPr>
          <p:spPr>
            <a:xfrm>
              <a:off x="2490895" y="6144027"/>
              <a:ext cx="34755" cy="50454"/>
            </a:xfrm>
            <a:custGeom>
              <a:avLst/>
              <a:gdLst>
                <a:gd name="connsiteX0" fmla="*/ 33900 w 40363"/>
                <a:gd name="connsiteY0" fmla="*/ 19993 h 46454"/>
                <a:gd name="connsiteX1" fmla="*/ 30493 w 40363"/>
                <a:gd name="connsiteY1" fmla="*/ 17911 h 46454"/>
                <a:gd name="connsiteX2" fmla="*/ 17071 w 40363"/>
                <a:gd name="connsiteY2" fmla="*/ 16508 h 46454"/>
                <a:gd name="connsiteX3" fmla="*/ 9535 w 40363"/>
                <a:gd name="connsiteY3" fmla="*/ 2102 h 46454"/>
                <a:gd name="connsiteX4" fmla="*/ 3922 w 40363"/>
                <a:gd name="connsiteY4" fmla="*/ 261 h 46454"/>
                <a:gd name="connsiteX5" fmla="*/ 1599 w 40363"/>
                <a:gd name="connsiteY5" fmla="*/ 4710 h 46454"/>
                <a:gd name="connsiteX6" fmla="*/ 9136 w 40363"/>
                <a:gd name="connsiteY6" fmla="*/ 19116 h 46454"/>
                <a:gd name="connsiteX7" fmla="*/ 891 w 40363"/>
                <a:gd name="connsiteY7" fmla="*/ 27640 h 46454"/>
                <a:gd name="connsiteX8" fmla="*/ 331 w 40363"/>
                <a:gd name="connsiteY8" fmla="*/ 31019 h 46454"/>
                <a:gd name="connsiteX9" fmla="*/ 6452 w 40363"/>
                <a:gd name="connsiteY9" fmla="*/ 42713 h 46454"/>
                <a:gd name="connsiteX10" fmla="*/ 9859 w 40363"/>
                <a:gd name="connsiteY10" fmla="*/ 44794 h 46454"/>
                <a:gd name="connsiteX11" fmla="*/ 25759 w 40363"/>
                <a:gd name="connsiteY11" fmla="*/ 46454 h 46454"/>
                <a:gd name="connsiteX12" fmla="*/ 26319 w 40363"/>
                <a:gd name="connsiteY12" fmla="*/ 46454 h 46454"/>
                <a:gd name="connsiteX13" fmla="*/ 29726 w 40363"/>
                <a:gd name="connsiteY13" fmla="*/ 45121 h 46454"/>
                <a:gd name="connsiteX14" fmla="*/ 39476 w 40363"/>
                <a:gd name="connsiteY14" fmla="*/ 35042 h 46454"/>
                <a:gd name="connsiteX15" fmla="*/ 40036 w 40363"/>
                <a:gd name="connsiteY15" fmla="*/ 31663 h 46454"/>
                <a:gd name="connsiteX16" fmla="*/ 24417 w 40363"/>
                <a:gd name="connsiteY16" fmla="*/ 39474 h 46454"/>
                <a:gd name="connsiteX17" fmla="*/ 13443 w 40363"/>
                <a:gd name="connsiteY17" fmla="*/ 38304 h 46454"/>
                <a:gd name="connsiteX18" fmla="*/ 9284 w 40363"/>
                <a:gd name="connsiteY18" fmla="*/ 30224 h 46454"/>
                <a:gd name="connsiteX19" fmla="*/ 16024 w 40363"/>
                <a:gd name="connsiteY19" fmla="*/ 23208 h 46454"/>
                <a:gd name="connsiteX20" fmla="*/ 26983 w 40363"/>
                <a:gd name="connsiteY20" fmla="*/ 24378 h 46454"/>
                <a:gd name="connsiteX21" fmla="*/ 31216 w 40363"/>
                <a:gd name="connsiteY21" fmla="*/ 32481 h 4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63" h="46454">
                  <a:moveTo>
                    <a:pt x="33900" y="19993"/>
                  </a:moveTo>
                  <a:cubicBezTo>
                    <a:pt x="33315" y="18867"/>
                    <a:pt x="32016" y="18074"/>
                    <a:pt x="30493" y="17911"/>
                  </a:cubicBezTo>
                  <a:lnTo>
                    <a:pt x="17071" y="16508"/>
                  </a:lnTo>
                  <a:lnTo>
                    <a:pt x="9535" y="2102"/>
                  </a:lnTo>
                  <a:cubicBezTo>
                    <a:pt x="8626" y="365"/>
                    <a:pt x="6114" y="-460"/>
                    <a:pt x="3922" y="261"/>
                  </a:cubicBezTo>
                  <a:cubicBezTo>
                    <a:pt x="1731" y="981"/>
                    <a:pt x="691" y="2972"/>
                    <a:pt x="1599" y="4710"/>
                  </a:cubicBezTo>
                  <a:lnTo>
                    <a:pt x="9136" y="19116"/>
                  </a:lnTo>
                  <a:lnTo>
                    <a:pt x="891" y="27640"/>
                  </a:lnTo>
                  <a:cubicBezTo>
                    <a:pt x="-48" y="28605"/>
                    <a:pt x="-262" y="29894"/>
                    <a:pt x="331" y="31019"/>
                  </a:cubicBezTo>
                  <a:lnTo>
                    <a:pt x="6452" y="42713"/>
                  </a:lnTo>
                  <a:cubicBezTo>
                    <a:pt x="7037" y="43839"/>
                    <a:pt x="8337" y="44631"/>
                    <a:pt x="9859" y="44794"/>
                  </a:cubicBezTo>
                  <a:lnTo>
                    <a:pt x="25759" y="46454"/>
                  </a:lnTo>
                  <a:lnTo>
                    <a:pt x="26319" y="46454"/>
                  </a:lnTo>
                  <a:cubicBezTo>
                    <a:pt x="27653" y="46450"/>
                    <a:pt x="28909" y="45957"/>
                    <a:pt x="29726" y="45121"/>
                  </a:cubicBezTo>
                  <a:lnTo>
                    <a:pt x="39476" y="35042"/>
                  </a:lnTo>
                  <a:cubicBezTo>
                    <a:pt x="40409" y="34075"/>
                    <a:pt x="40623" y="32787"/>
                    <a:pt x="40036" y="31663"/>
                  </a:cubicBezTo>
                  <a:close/>
                  <a:moveTo>
                    <a:pt x="24417" y="39474"/>
                  </a:moveTo>
                  <a:lnTo>
                    <a:pt x="13443" y="38304"/>
                  </a:lnTo>
                  <a:lnTo>
                    <a:pt x="9284" y="30224"/>
                  </a:lnTo>
                  <a:lnTo>
                    <a:pt x="16024" y="23208"/>
                  </a:lnTo>
                  <a:lnTo>
                    <a:pt x="26983" y="24378"/>
                  </a:lnTo>
                  <a:lnTo>
                    <a:pt x="31216" y="32481"/>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3" name="Freeform: Shape 1562">
              <a:extLst>
                <a:ext uri="{FF2B5EF4-FFF2-40B4-BE49-F238E27FC236}">
                  <a16:creationId xmlns:a16="http://schemas.microsoft.com/office/drawing/2014/main" id="{261D8D45-9DE2-E0A7-7ADA-8334B14C27A5}"/>
                </a:ext>
              </a:extLst>
            </p:cNvPr>
            <p:cNvSpPr/>
            <p:nvPr/>
          </p:nvSpPr>
          <p:spPr>
            <a:xfrm>
              <a:off x="2334048" y="6002937"/>
              <a:ext cx="50579" cy="34762"/>
            </a:xfrm>
            <a:custGeom>
              <a:avLst/>
              <a:gdLst>
                <a:gd name="connsiteX0" fmla="*/ 56012 w 58741"/>
                <a:gd name="connsiteY0" fmla="*/ 24440 h 32006"/>
                <a:gd name="connsiteX1" fmla="*/ 37841 w 58741"/>
                <a:gd name="connsiteY1" fmla="*/ 18465 h 32006"/>
                <a:gd name="connsiteX2" fmla="*/ 36071 w 58741"/>
                <a:gd name="connsiteY2" fmla="*/ 7824 h 32006"/>
                <a:gd name="connsiteX3" fmla="*/ 33446 w 58741"/>
                <a:gd name="connsiteY3" fmla="*/ 5123 h 32006"/>
                <a:gd name="connsiteX4" fmla="*/ 18696 w 58741"/>
                <a:gd name="connsiteY4" fmla="*/ 259 h 32006"/>
                <a:gd name="connsiteX5" fmla="*/ 14434 w 58741"/>
                <a:gd name="connsiteY5" fmla="*/ 703 h 32006"/>
                <a:gd name="connsiteX6" fmla="*/ 1676 w 58741"/>
                <a:gd name="connsiteY6" fmla="*/ 8432 h 32006"/>
                <a:gd name="connsiteX7" fmla="*/ 39 w 58741"/>
                <a:gd name="connsiteY7" fmla="*/ 11578 h 32006"/>
                <a:gd name="connsiteX8" fmla="*/ 2118 w 58741"/>
                <a:gd name="connsiteY8" fmla="*/ 24183 h 32006"/>
                <a:gd name="connsiteX9" fmla="*/ 4744 w 58741"/>
                <a:gd name="connsiteY9" fmla="*/ 26884 h 32006"/>
                <a:gd name="connsiteX10" fmla="*/ 19493 w 58741"/>
                <a:gd name="connsiteY10" fmla="*/ 31737 h 32006"/>
                <a:gd name="connsiteX11" fmla="*/ 23756 w 58741"/>
                <a:gd name="connsiteY11" fmla="*/ 31292 h 32006"/>
                <a:gd name="connsiteX12" fmla="*/ 34508 w 58741"/>
                <a:gd name="connsiteY12" fmla="*/ 24756 h 32006"/>
                <a:gd name="connsiteX13" fmla="*/ 52797 w 58741"/>
                <a:gd name="connsiteY13" fmla="*/ 30731 h 32006"/>
                <a:gd name="connsiteX14" fmla="*/ 54434 w 58741"/>
                <a:gd name="connsiteY14" fmla="*/ 30988 h 32006"/>
                <a:gd name="connsiteX15" fmla="*/ 58741 w 58741"/>
                <a:gd name="connsiteY15" fmla="*/ 27598 h 32006"/>
                <a:gd name="connsiteX16" fmla="*/ 56086 w 58741"/>
                <a:gd name="connsiteY16" fmla="*/ 24440 h 32006"/>
                <a:gd name="connsiteX17" fmla="*/ 20614 w 58741"/>
                <a:gd name="connsiteY17" fmla="*/ 24698 h 32006"/>
                <a:gd name="connsiteX18" fmla="*/ 10319 w 58741"/>
                <a:gd name="connsiteY18" fmla="*/ 21342 h 32006"/>
                <a:gd name="connsiteX19" fmla="*/ 8844 w 58741"/>
                <a:gd name="connsiteY19" fmla="*/ 12642 h 32006"/>
                <a:gd name="connsiteX20" fmla="*/ 17694 w 58741"/>
                <a:gd name="connsiteY20" fmla="*/ 7310 h 32006"/>
                <a:gd name="connsiteX21" fmla="*/ 27915 w 58741"/>
                <a:gd name="connsiteY21" fmla="*/ 10666 h 32006"/>
                <a:gd name="connsiteX22" fmla="*/ 29390 w 58741"/>
                <a:gd name="connsiteY22" fmla="*/ 19354 h 3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741" h="32006">
                  <a:moveTo>
                    <a:pt x="56012" y="24440"/>
                  </a:moveTo>
                  <a:lnTo>
                    <a:pt x="37841" y="18465"/>
                  </a:lnTo>
                  <a:lnTo>
                    <a:pt x="36071" y="7824"/>
                  </a:lnTo>
                  <a:cubicBezTo>
                    <a:pt x="35872" y="6615"/>
                    <a:pt x="34870" y="5584"/>
                    <a:pt x="33446" y="5123"/>
                  </a:cubicBezTo>
                  <a:lnTo>
                    <a:pt x="18696" y="259"/>
                  </a:lnTo>
                  <a:cubicBezTo>
                    <a:pt x="17277" y="-206"/>
                    <a:pt x="15653" y="-37"/>
                    <a:pt x="14434" y="703"/>
                  </a:cubicBezTo>
                  <a:lnTo>
                    <a:pt x="1676" y="8432"/>
                  </a:lnTo>
                  <a:cubicBezTo>
                    <a:pt x="458" y="9172"/>
                    <a:pt x="-167" y="10372"/>
                    <a:pt x="39" y="11578"/>
                  </a:cubicBezTo>
                  <a:lnTo>
                    <a:pt x="2118" y="24183"/>
                  </a:lnTo>
                  <a:cubicBezTo>
                    <a:pt x="2323" y="25390"/>
                    <a:pt x="3323" y="26419"/>
                    <a:pt x="4744" y="26884"/>
                  </a:cubicBezTo>
                  <a:lnTo>
                    <a:pt x="19493" y="31737"/>
                  </a:lnTo>
                  <a:cubicBezTo>
                    <a:pt x="20909" y="32217"/>
                    <a:pt x="22544" y="32047"/>
                    <a:pt x="23756" y="31292"/>
                  </a:cubicBezTo>
                  <a:lnTo>
                    <a:pt x="34508" y="24756"/>
                  </a:lnTo>
                  <a:lnTo>
                    <a:pt x="52797" y="30731"/>
                  </a:lnTo>
                  <a:cubicBezTo>
                    <a:pt x="53316" y="30902"/>
                    <a:pt x="53872" y="30989"/>
                    <a:pt x="54434" y="30988"/>
                  </a:cubicBezTo>
                  <a:cubicBezTo>
                    <a:pt x="56805" y="30995"/>
                    <a:pt x="58733" y="29477"/>
                    <a:pt x="58741" y="27598"/>
                  </a:cubicBezTo>
                  <a:cubicBezTo>
                    <a:pt x="58747" y="26215"/>
                    <a:pt x="57698" y="24967"/>
                    <a:pt x="56086" y="24440"/>
                  </a:cubicBezTo>
                  <a:close/>
                  <a:moveTo>
                    <a:pt x="20614" y="24698"/>
                  </a:moveTo>
                  <a:lnTo>
                    <a:pt x="10319" y="21342"/>
                  </a:lnTo>
                  <a:lnTo>
                    <a:pt x="8844" y="12642"/>
                  </a:lnTo>
                  <a:lnTo>
                    <a:pt x="17694" y="7310"/>
                  </a:lnTo>
                  <a:lnTo>
                    <a:pt x="27915" y="10666"/>
                  </a:lnTo>
                  <a:lnTo>
                    <a:pt x="29390" y="19354"/>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4" name="Freeform: Shape 1563">
              <a:extLst>
                <a:ext uri="{FF2B5EF4-FFF2-40B4-BE49-F238E27FC236}">
                  <a16:creationId xmlns:a16="http://schemas.microsoft.com/office/drawing/2014/main" id="{7FC3DDDF-8323-F584-6D48-07600AEBD093}"/>
                </a:ext>
              </a:extLst>
            </p:cNvPr>
            <p:cNvSpPr/>
            <p:nvPr/>
          </p:nvSpPr>
          <p:spPr>
            <a:xfrm>
              <a:off x="2539594" y="6095365"/>
              <a:ext cx="50474" cy="34752"/>
            </a:xfrm>
            <a:custGeom>
              <a:avLst/>
              <a:gdLst>
                <a:gd name="connsiteX0" fmla="*/ 56502 w 58619"/>
                <a:gd name="connsiteY0" fmla="*/ 7828 h 31997"/>
                <a:gd name="connsiteX1" fmla="*/ 53876 w 58619"/>
                <a:gd name="connsiteY1" fmla="*/ 5115 h 31997"/>
                <a:gd name="connsiteX2" fmla="*/ 39127 w 58619"/>
                <a:gd name="connsiteY2" fmla="*/ 262 h 31997"/>
                <a:gd name="connsiteX3" fmla="*/ 34864 w 58619"/>
                <a:gd name="connsiteY3" fmla="*/ 707 h 31997"/>
                <a:gd name="connsiteX4" fmla="*/ 24112 w 58619"/>
                <a:gd name="connsiteY4" fmla="*/ 7243 h 31997"/>
                <a:gd name="connsiteX5" fmla="*/ 5941 w 58619"/>
                <a:gd name="connsiteY5" fmla="*/ 1268 h 31997"/>
                <a:gd name="connsiteX6" fmla="*/ 329 w 58619"/>
                <a:gd name="connsiteY6" fmla="*/ 3110 h 31997"/>
                <a:gd name="connsiteX7" fmla="*/ 2652 w 58619"/>
                <a:gd name="connsiteY7" fmla="*/ 7559 h 31997"/>
                <a:gd name="connsiteX8" fmla="*/ 20823 w 58619"/>
                <a:gd name="connsiteY8" fmla="*/ 13534 h 31997"/>
                <a:gd name="connsiteX9" fmla="*/ 22593 w 58619"/>
                <a:gd name="connsiteY9" fmla="*/ 24175 h 31997"/>
                <a:gd name="connsiteX10" fmla="*/ 25218 w 58619"/>
                <a:gd name="connsiteY10" fmla="*/ 26876 h 31997"/>
                <a:gd name="connsiteX11" fmla="*/ 39968 w 58619"/>
                <a:gd name="connsiteY11" fmla="*/ 31740 h 31997"/>
                <a:gd name="connsiteX12" fmla="*/ 44230 w 58619"/>
                <a:gd name="connsiteY12" fmla="*/ 31296 h 31997"/>
                <a:gd name="connsiteX13" fmla="*/ 56944 w 58619"/>
                <a:gd name="connsiteY13" fmla="*/ 23567 h 31997"/>
                <a:gd name="connsiteX14" fmla="*/ 58581 w 58619"/>
                <a:gd name="connsiteY14" fmla="*/ 20421 h 31997"/>
                <a:gd name="connsiteX15" fmla="*/ 40970 w 58619"/>
                <a:gd name="connsiteY15" fmla="*/ 24689 h 31997"/>
                <a:gd name="connsiteX16" fmla="*/ 30749 w 58619"/>
                <a:gd name="connsiteY16" fmla="*/ 21392 h 31997"/>
                <a:gd name="connsiteX17" fmla="*/ 29274 w 58619"/>
                <a:gd name="connsiteY17" fmla="*/ 12704 h 31997"/>
                <a:gd name="connsiteX18" fmla="*/ 38124 w 58619"/>
                <a:gd name="connsiteY18" fmla="*/ 7360 h 31997"/>
                <a:gd name="connsiteX19" fmla="*/ 48345 w 58619"/>
                <a:gd name="connsiteY19" fmla="*/ 10716 h 31997"/>
                <a:gd name="connsiteX20" fmla="*/ 49820 w 58619"/>
                <a:gd name="connsiteY20" fmla="*/ 19416 h 3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619" h="31997">
                  <a:moveTo>
                    <a:pt x="56502" y="7828"/>
                  </a:moveTo>
                  <a:cubicBezTo>
                    <a:pt x="56302" y="6616"/>
                    <a:pt x="55301" y="5582"/>
                    <a:pt x="53876" y="5115"/>
                  </a:cubicBezTo>
                  <a:lnTo>
                    <a:pt x="39127" y="262"/>
                  </a:lnTo>
                  <a:cubicBezTo>
                    <a:pt x="37708" y="-208"/>
                    <a:pt x="36081" y="-38"/>
                    <a:pt x="34864" y="707"/>
                  </a:cubicBezTo>
                  <a:lnTo>
                    <a:pt x="24112" y="7243"/>
                  </a:lnTo>
                  <a:lnTo>
                    <a:pt x="5941" y="1268"/>
                  </a:lnTo>
                  <a:cubicBezTo>
                    <a:pt x="3749" y="548"/>
                    <a:pt x="1237" y="1372"/>
                    <a:pt x="329" y="3110"/>
                  </a:cubicBezTo>
                  <a:cubicBezTo>
                    <a:pt x="-580" y="4847"/>
                    <a:pt x="460" y="6839"/>
                    <a:pt x="2652" y="7559"/>
                  </a:cubicBezTo>
                  <a:lnTo>
                    <a:pt x="20823" y="13534"/>
                  </a:lnTo>
                  <a:lnTo>
                    <a:pt x="22593" y="24175"/>
                  </a:lnTo>
                  <a:cubicBezTo>
                    <a:pt x="22792" y="25384"/>
                    <a:pt x="23793" y="26415"/>
                    <a:pt x="25218" y="26876"/>
                  </a:cubicBezTo>
                  <a:lnTo>
                    <a:pt x="39968" y="31740"/>
                  </a:lnTo>
                  <a:cubicBezTo>
                    <a:pt x="41386" y="32202"/>
                    <a:pt x="43009" y="32034"/>
                    <a:pt x="44230" y="31296"/>
                  </a:cubicBezTo>
                  <a:lnTo>
                    <a:pt x="56944" y="23567"/>
                  </a:lnTo>
                  <a:cubicBezTo>
                    <a:pt x="58162" y="22827"/>
                    <a:pt x="58786" y="21627"/>
                    <a:pt x="58581" y="20421"/>
                  </a:cubicBezTo>
                  <a:close/>
                  <a:moveTo>
                    <a:pt x="40970" y="24689"/>
                  </a:moveTo>
                  <a:lnTo>
                    <a:pt x="30749" y="21392"/>
                  </a:lnTo>
                  <a:lnTo>
                    <a:pt x="29274" y="12704"/>
                  </a:lnTo>
                  <a:lnTo>
                    <a:pt x="38124" y="7360"/>
                  </a:lnTo>
                  <a:lnTo>
                    <a:pt x="48345" y="10716"/>
                  </a:lnTo>
                  <a:lnTo>
                    <a:pt x="49820" y="19416"/>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5" name="Freeform: Shape 1564">
              <a:extLst>
                <a:ext uri="{FF2B5EF4-FFF2-40B4-BE49-F238E27FC236}">
                  <a16:creationId xmlns:a16="http://schemas.microsoft.com/office/drawing/2014/main" id="{011CDA55-2653-3A52-8EB6-3064C3586B2D}"/>
                </a:ext>
              </a:extLst>
            </p:cNvPr>
            <p:cNvSpPr/>
            <p:nvPr/>
          </p:nvSpPr>
          <p:spPr>
            <a:xfrm>
              <a:off x="2334048" y="6095365"/>
              <a:ext cx="50762" cy="34752"/>
            </a:xfrm>
            <a:custGeom>
              <a:avLst/>
              <a:gdLst>
                <a:gd name="connsiteX0" fmla="*/ 52797 w 58953"/>
                <a:gd name="connsiteY0" fmla="*/ 1268 h 31997"/>
                <a:gd name="connsiteX1" fmla="*/ 34552 w 58953"/>
                <a:gd name="connsiteY1" fmla="*/ 7243 h 31997"/>
                <a:gd name="connsiteX2" fmla="*/ 23800 w 58953"/>
                <a:gd name="connsiteY2" fmla="*/ 707 h 31997"/>
                <a:gd name="connsiteX3" fmla="*/ 19537 w 58953"/>
                <a:gd name="connsiteY3" fmla="*/ 262 h 31997"/>
                <a:gd name="connsiteX4" fmla="*/ 4788 w 58953"/>
                <a:gd name="connsiteY4" fmla="*/ 5115 h 31997"/>
                <a:gd name="connsiteX5" fmla="*/ 2162 w 58953"/>
                <a:gd name="connsiteY5" fmla="*/ 7828 h 31997"/>
                <a:gd name="connsiteX6" fmla="*/ 39 w 58953"/>
                <a:gd name="connsiteY6" fmla="*/ 20421 h 31997"/>
                <a:gd name="connsiteX7" fmla="*/ 1676 w 58953"/>
                <a:gd name="connsiteY7" fmla="*/ 23567 h 31997"/>
                <a:gd name="connsiteX8" fmla="*/ 14449 w 58953"/>
                <a:gd name="connsiteY8" fmla="*/ 31296 h 31997"/>
                <a:gd name="connsiteX9" fmla="*/ 18711 w 58953"/>
                <a:gd name="connsiteY9" fmla="*/ 31740 h 31997"/>
                <a:gd name="connsiteX10" fmla="*/ 33461 w 58953"/>
                <a:gd name="connsiteY10" fmla="*/ 26876 h 31997"/>
                <a:gd name="connsiteX11" fmla="*/ 36086 w 58953"/>
                <a:gd name="connsiteY11" fmla="*/ 24175 h 31997"/>
                <a:gd name="connsiteX12" fmla="*/ 37856 w 58953"/>
                <a:gd name="connsiteY12" fmla="*/ 13534 h 31997"/>
                <a:gd name="connsiteX13" fmla="*/ 56027 w 58953"/>
                <a:gd name="connsiteY13" fmla="*/ 7559 h 31997"/>
                <a:gd name="connsiteX14" fmla="*/ 58729 w 58953"/>
                <a:gd name="connsiteY14" fmla="*/ 3250 h 31997"/>
                <a:gd name="connsiteX15" fmla="*/ 53293 w 58953"/>
                <a:gd name="connsiteY15" fmla="*/ 1108 h 31997"/>
                <a:gd name="connsiteX16" fmla="*/ 52797 w 58953"/>
                <a:gd name="connsiteY16" fmla="*/ 1268 h 31997"/>
                <a:gd name="connsiteX17" fmla="*/ 27871 w 58953"/>
                <a:gd name="connsiteY17" fmla="*/ 21392 h 31997"/>
                <a:gd name="connsiteX18" fmla="*/ 17649 w 58953"/>
                <a:gd name="connsiteY18" fmla="*/ 24748 h 31997"/>
                <a:gd name="connsiteX19" fmla="*/ 8800 w 58953"/>
                <a:gd name="connsiteY19" fmla="*/ 19416 h 31997"/>
                <a:gd name="connsiteX20" fmla="*/ 10275 w 58953"/>
                <a:gd name="connsiteY20" fmla="*/ 10716 h 31997"/>
                <a:gd name="connsiteX21" fmla="*/ 20540 w 58953"/>
                <a:gd name="connsiteY21" fmla="*/ 7360 h 31997"/>
                <a:gd name="connsiteX22" fmla="*/ 29316 w 58953"/>
                <a:gd name="connsiteY22" fmla="*/ 12704 h 3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953" h="31997">
                  <a:moveTo>
                    <a:pt x="52797" y="1268"/>
                  </a:moveTo>
                  <a:lnTo>
                    <a:pt x="34552" y="7243"/>
                  </a:lnTo>
                  <a:lnTo>
                    <a:pt x="23800" y="707"/>
                  </a:lnTo>
                  <a:cubicBezTo>
                    <a:pt x="22583" y="-38"/>
                    <a:pt x="20956" y="-208"/>
                    <a:pt x="19537" y="262"/>
                  </a:cubicBezTo>
                  <a:lnTo>
                    <a:pt x="4788" y="5115"/>
                  </a:lnTo>
                  <a:cubicBezTo>
                    <a:pt x="3363" y="5582"/>
                    <a:pt x="2362" y="6616"/>
                    <a:pt x="2162" y="7828"/>
                  </a:cubicBezTo>
                  <a:lnTo>
                    <a:pt x="39" y="20421"/>
                  </a:lnTo>
                  <a:cubicBezTo>
                    <a:pt x="-167" y="21627"/>
                    <a:pt x="458" y="22827"/>
                    <a:pt x="1676" y="23567"/>
                  </a:cubicBezTo>
                  <a:lnTo>
                    <a:pt x="14449" y="31296"/>
                  </a:lnTo>
                  <a:cubicBezTo>
                    <a:pt x="15669" y="32034"/>
                    <a:pt x="17292" y="32202"/>
                    <a:pt x="18711" y="31740"/>
                  </a:cubicBezTo>
                  <a:lnTo>
                    <a:pt x="33461" y="26876"/>
                  </a:lnTo>
                  <a:cubicBezTo>
                    <a:pt x="34885" y="26415"/>
                    <a:pt x="35887" y="25384"/>
                    <a:pt x="36086" y="24175"/>
                  </a:cubicBezTo>
                  <a:lnTo>
                    <a:pt x="37856" y="13534"/>
                  </a:lnTo>
                  <a:lnTo>
                    <a:pt x="56027" y="7559"/>
                  </a:lnTo>
                  <a:cubicBezTo>
                    <a:pt x="58274" y="6960"/>
                    <a:pt x="59484" y="5031"/>
                    <a:pt x="58729" y="3250"/>
                  </a:cubicBezTo>
                  <a:cubicBezTo>
                    <a:pt x="57974" y="1468"/>
                    <a:pt x="55540" y="509"/>
                    <a:pt x="53293" y="1108"/>
                  </a:cubicBezTo>
                  <a:cubicBezTo>
                    <a:pt x="53124" y="1153"/>
                    <a:pt x="52958" y="1206"/>
                    <a:pt x="52797" y="1268"/>
                  </a:cubicBezTo>
                  <a:close/>
                  <a:moveTo>
                    <a:pt x="27871" y="21392"/>
                  </a:moveTo>
                  <a:lnTo>
                    <a:pt x="17649" y="24748"/>
                  </a:lnTo>
                  <a:lnTo>
                    <a:pt x="8800" y="19416"/>
                  </a:lnTo>
                  <a:lnTo>
                    <a:pt x="10275" y="10716"/>
                  </a:lnTo>
                  <a:lnTo>
                    <a:pt x="20540" y="7360"/>
                  </a:lnTo>
                  <a:lnTo>
                    <a:pt x="29316" y="12704"/>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6" name="Freeform: Shape 1565">
              <a:extLst>
                <a:ext uri="{FF2B5EF4-FFF2-40B4-BE49-F238E27FC236}">
                  <a16:creationId xmlns:a16="http://schemas.microsoft.com/office/drawing/2014/main" id="{2B2DA637-EB85-A223-B9A5-E3E64F975097}"/>
                </a:ext>
              </a:extLst>
            </p:cNvPr>
            <p:cNvSpPr/>
            <p:nvPr/>
          </p:nvSpPr>
          <p:spPr>
            <a:xfrm>
              <a:off x="2539540" y="6002937"/>
              <a:ext cx="50491" cy="34762"/>
            </a:xfrm>
            <a:custGeom>
              <a:avLst/>
              <a:gdLst>
                <a:gd name="connsiteX0" fmla="*/ 4323 w 58638"/>
                <a:gd name="connsiteY0" fmla="*/ 30988 h 32006"/>
                <a:gd name="connsiteX1" fmla="*/ 5960 w 58638"/>
                <a:gd name="connsiteY1" fmla="*/ 30731 h 32006"/>
                <a:gd name="connsiteX2" fmla="*/ 24131 w 58638"/>
                <a:gd name="connsiteY2" fmla="*/ 24756 h 32006"/>
                <a:gd name="connsiteX3" fmla="*/ 34883 w 58638"/>
                <a:gd name="connsiteY3" fmla="*/ 31292 h 32006"/>
                <a:gd name="connsiteX4" fmla="*/ 39146 w 58638"/>
                <a:gd name="connsiteY4" fmla="*/ 31737 h 32006"/>
                <a:gd name="connsiteX5" fmla="*/ 53895 w 58638"/>
                <a:gd name="connsiteY5" fmla="*/ 26884 h 32006"/>
                <a:gd name="connsiteX6" fmla="*/ 56521 w 58638"/>
                <a:gd name="connsiteY6" fmla="*/ 24183 h 32006"/>
                <a:gd name="connsiteX7" fmla="*/ 58600 w 58638"/>
                <a:gd name="connsiteY7" fmla="*/ 11578 h 32006"/>
                <a:gd name="connsiteX8" fmla="*/ 56963 w 58638"/>
                <a:gd name="connsiteY8" fmla="*/ 8432 h 32006"/>
                <a:gd name="connsiteX9" fmla="*/ 44235 w 58638"/>
                <a:gd name="connsiteY9" fmla="*/ 703 h 32006"/>
                <a:gd name="connsiteX10" fmla="*/ 39972 w 58638"/>
                <a:gd name="connsiteY10" fmla="*/ 259 h 32006"/>
                <a:gd name="connsiteX11" fmla="*/ 25223 w 58638"/>
                <a:gd name="connsiteY11" fmla="*/ 5123 h 32006"/>
                <a:gd name="connsiteX12" fmla="*/ 22597 w 58638"/>
                <a:gd name="connsiteY12" fmla="*/ 7824 h 32006"/>
                <a:gd name="connsiteX13" fmla="*/ 20827 w 58638"/>
                <a:gd name="connsiteY13" fmla="*/ 18465 h 32006"/>
                <a:gd name="connsiteX14" fmla="*/ 2656 w 58638"/>
                <a:gd name="connsiteY14" fmla="*/ 24440 h 32006"/>
                <a:gd name="connsiteX15" fmla="*/ 326 w 58638"/>
                <a:gd name="connsiteY15" fmla="*/ 28884 h 32006"/>
                <a:gd name="connsiteX16" fmla="*/ 4308 w 58638"/>
                <a:gd name="connsiteY16" fmla="*/ 30988 h 32006"/>
                <a:gd name="connsiteX17" fmla="*/ 30872 w 58638"/>
                <a:gd name="connsiteY17" fmla="*/ 10666 h 32006"/>
                <a:gd name="connsiteX18" fmla="*/ 41093 w 58638"/>
                <a:gd name="connsiteY18" fmla="*/ 7310 h 32006"/>
                <a:gd name="connsiteX19" fmla="*/ 49869 w 58638"/>
                <a:gd name="connsiteY19" fmla="*/ 12642 h 32006"/>
                <a:gd name="connsiteX20" fmla="*/ 48394 w 58638"/>
                <a:gd name="connsiteY20" fmla="*/ 21342 h 32006"/>
                <a:gd name="connsiteX21" fmla="*/ 38173 w 58638"/>
                <a:gd name="connsiteY21" fmla="*/ 24698 h 32006"/>
                <a:gd name="connsiteX22" fmla="*/ 29323 w 58638"/>
                <a:gd name="connsiteY22" fmla="*/ 19354 h 3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638" h="32006">
                  <a:moveTo>
                    <a:pt x="4323" y="30988"/>
                  </a:moveTo>
                  <a:cubicBezTo>
                    <a:pt x="4885" y="30989"/>
                    <a:pt x="5441" y="30902"/>
                    <a:pt x="5960" y="30731"/>
                  </a:cubicBezTo>
                  <a:lnTo>
                    <a:pt x="24131" y="24756"/>
                  </a:lnTo>
                  <a:lnTo>
                    <a:pt x="34883" y="31292"/>
                  </a:lnTo>
                  <a:cubicBezTo>
                    <a:pt x="36096" y="32047"/>
                    <a:pt x="37730" y="32217"/>
                    <a:pt x="39146" y="31737"/>
                  </a:cubicBezTo>
                  <a:lnTo>
                    <a:pt x="53895" y="26884"/>
                  </a:lnTo>
                  <a:cubicBezTo>
                    <a:pt x="55316" y="26419"/>
                    <a:pt x="56316" y="25390"/>
                    <a:pt x="56521" y="24183"/>
                  </a:cubicBezTo>
                  <a:lnTo>
                    <a:pt x="58600" y="11578"/>
                  </a:lnTo>
                  <a:cubicBezTo>
                    <a:pt x="58805" y="10372"/>
                    <a:pt x="58181" y="9172"/>
                    <a:pt x="56963" y="8432"/>
                  </a:cubicBezTo>
                  <a:lnTo>
                    <a:pt x="44235" y="703"/>
                  </a:lnTo>
                  <a:cubicBezTo>
                    <a:pt x="43015" y="-37"/>
                    <a:pt x="41391" y="-206"/>
                    <a:pt x="39972" y="259"/>
                  </a:cubicBezTo>
                  <a:lnTo>
                    <a:pt x="25223" y="5123"/>
                  </a:lnTo>
                  <a:cubicBezTo>
                    <a:pt x="23799" y="5584"/>
                    <a:pt x="22796" y="6615"/>
                    <a:pt x="22597" y="7824"/>
                  </a:cubicBezTo>
                  <a:lnTo>
                    <a:pt x="20827" y="18465"/>
                  </a:lnTo>
                  <a:lnTo>
                    <a:pt x="2656" y="24440"/>
                  </a:lnTo>
                  <a:cubicBezTo>
                    <a:pt x="464" y="25157"/>
                    <a:pt x="-578" y="27146"/>
                    <a:pt x="326" y="28884"/>
                  </a:cubicBezTo>
                  <a:cubicBezTo>
                    <a:pt x="991" y="30161"/>
                    <a:pt x="2565" y="30993"/>
                    <a:pt x="4308" y="30988"/>
                  </a:cubicBezTo>
                  <a:close/>
                  <a:moveTo>
                    <a:pt x="30872" y="10666"/>
                  </a:moveTo>
                  <a:lnTo>
                    <a:pt x="41093" y="7310"/>
                  </a:lnTo>
                  <a:lnTo>
                    <a:pt x="49869" y="12642"/>
                  </a:lnTo>
                  <a:lnTo>
                    <a:pt x="48394" y="21342"/>
                  </a:lnTo>
                  <a:lnTo>
                    <a:pt x="38173" y="24698"/>
                  </a:lnTo>
                  <a:lnTo>
                    <a:pt x="29323" y="19354"/>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7" name="Freeform: Shape 1566">
              <a:extLst>
                <a:ext uri="{FF2B5EF4-FFF2-40B4-BE49-F238E27FC236}">
                  <a16:creationId xmlns:a16="http://schemas.microsoft.com/office/drawing/2014/main" id="{402BB6A8-DBC8-347A-4499-93E4AF588B3B}"/>
                </a:ext>
              </a:extLst>
            </p:cNvPr>
            <p:cNvSpPr/>
            <p:nvPr/>
          </p:nvSpPr>
          <p:spPr>
            <a:xfrm>
              <a:off x="2398468" y="6144027"/>
              <a:ext cx="34754" cy="50479"/>
            </a:xfrm>
            <a:custGeom>
              <a:avLst/>
              <a:gdLst>
                <a:gd name="connsiteX0" fmla="*/ 31226 w 40362"/>
                <a:gd name="connsiteY0" fmla="*/ 19116 h 46477"/>
                <a:gd name="connsiteX1" fmla="*/ 38763 w 40362"/>
                <a:gd name="connsiteY1" fmla="*/ 4710 h 46477"/>
                <a:gd name="connsiteX2" fmla="*/ 36440 w 40362"/>
                <a:gd name="connsiteY2" fmla="*/ 261 h 46477"/>
                <a:gd name="connsiteX3" fmla="*/ 30828 w 40362"/>
                <a:gd name="connsiteY3" fmla="*/ 2102 h 46477"/>
                <a:gd name="connsiteX4" fmla="*/ 23291 w 40362"/>
                <a:gd name="connsiteY4" fmla="*/ 16508 h 46477"/>
                <a:gd name="connsiteX5" fmla="*/ 9869 w 40362"/>
                <a:gd name="connsiteY5" fmla="*/ 17911 h 46477"/>
                <a:gd name="connsiteX6" fmla="*/ 6462 w 40362"/>
                <a:gd name="connsiteY6" fmla="*/ 19993 h 46477"/>
                <a:gd name="connsiteX7" fmla="*/ 326 w 40362"/>
                <a:gd name="connsiteY7" fmla="*/ 31686 h 46477"/>
                <a:gd name="connsiteX8" fmla="*/ 887 w 40362"/>
                <a:gd name="connsiteY8" fmla="*/ 35065 h 46477"/>
                <a:gd name="connsiteX9" fmla="*/ 10636 w 40362"/>
                <a:gd name="connsiteY9" fmla="*/ 45145 h 46477"/>
                <a:gd name="connsiteX10" fmla="*/ 14043 w 40362"/>
                <a:gd name="connsiteY10" fmla="*/ 46478 h 46477"/>
                <a:gd name="connsiteX11" fmla="*/ 14604 w 40362"/>
                <a:gd name="connsiteY11" fmla="*/ 46478 h 46477"/>
                <a:gd name="connsiteX12" fmla="*/ 30504 w 40362"/>
                <a:gd name="connsiteY12" fmla="*/ 44817 h 46477"/>
                <a:gd name="connsiteX13" fmla="*/ 33911 w 40362"/>
                <a:gd name="connsiteY13" fmla="*/ 42736 h 46477"/>
                <a:gd name="connsiteX14" fmla="*/ 40032 w 40362"/>
                <a:gd name="connsiteY14" fmla="*/ 31043 h 46477"/>
                <a:gd name="connsiteX15" fmla="*/ 39471 w 40362"/>
                <a:gd name="connsiteY15" fmla="*/ 27663 h 46477"/>
                <a:gd name="connsiteX16" fmla="*/ 26920 w 40362"/>
                <a:gd name="connsiteY16" fmla="*/ 38328 h 46477"/>
                <a:gd name="connsiteX17" fmla="*/ 15946 w 40362"/>
                <a:gd name="connsiteY17" fmla="*/ 39497 h 46477"/>
                <a:gd name="connsiteX18" fmla="*/ 9220 w 40362"/>
                <a:gd name="connsiteY18" fmla="*/ 32539 h 46477"/>
                <a:gd name="connsiteX19" fmla="*/ 13453 w 40362"/>
                <a:gd name="connsiteY19" fmla="*/ 24436 h 46477"/>
                <a:gd name="connsiteX20" fmla="*/ 24412 w 40362"/>
                <a:gd name="connsiteY20" fmla="*/ 23267 h 46477"/>
                <a:gd name="connsiteX21" fmla="*/ 31153 w 40362"/>
                <a:gd name="connsiteY21" fmla="*/ 30283 h 4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62" h="46477">
                  <a:moveTo>
                    <a:pt x="31226" y="19116"/>
                  </a:moveTo>
                  <a:lnTo>
                    <a:pt x="38763" y="4710"/>
                  </a:lnTo>
                  <a:cubicBezTo>
                    <a:pt x="39672" y="2972"/>
                    <a:pt x="38631" y="981"/>
                    <a:pt x="36440" y="261"/>
                  </a:cubicBezTo>
                  <a:cubicBezTo>
                    <a:pt x="34249" y="-460"/>
                    <a:pt x="31736" y="365"/>
                    <a:pt x="30828" y="2102"/>
                  </a:cubicBezTo>
                  <a:lnTo>
                    <a:pt x="23291" y="16508"/>
                  </a:lnTo>
                  <a:lnTo>
                    <a:pt x="9869" y="17911"/>
                  </a:lnTo>
                  <a:cubicBezTo>
                    <a:pt x="8347" y="18074"/>
                    <a:pt x="7048" y="18867"/>
                    <a:pt x="6462" y="19993"/>
                  </a:cubicBezTo>
                  <a:lnTo>
                    <a:pt x="326" y="31686"/>
                  </a:lnTo>
                  <a:cubicBezTo>
                    <a:pt x="-260" y="32811"/>
                    <a:pt x="-46" y="34098"/>
                    <a:pt x="887" y="35065"/>
                  </a:cubicBezTo>
                  <a:lnTo>
                    <a:pt x="10636" y="45145"/>
                  </a:lnTo>
                  <a:cubicBezTo>
                    <a:pt x="11453" y="45981"/>
                    <a:pt x="12709" y="46473"/>
                    <a:pt x="14043" y="46478"/>
                  </a:cubicBezTo>
                  <a:lnTo>
                    <a:pt x="14604" y="46478"/>
                  </a:lnTo>
                  <a:lnTo>
                    <a:pt x="30504" y="44817"/>
                  </a:lnTo>
                  <a:cubicBezTo>
                    <a:pt x="32026" y="44655"/>
                    <a:pt x="33325" y="43862"/>
                    <a:pt x="33911" y="42736"/>
                  </a:cubicBezTo>
                  <a:lnTo>
                    <a:pt x="40032" y="31043"/>
                  </a:lnTo>
                  <a:cubicBezTo>
                    <a:pt x="40624" y="29918"/>
                    <a:pt x="40410" y="28628"/>
                    <a:pt x="39471" y="27663"/>
                  </a:cubicBezTo>
                  <a:close/>
                  <a:moveTo>
                    <a:pt x="26920" y="38328"/>
                  </a:moveTo>
                  <a:lnTo>
                    <a:pt x="15946" y="39497"/>
                  </a:lnTo>
                  <a:lnTo>
                    <a:pt x="9220" y="32539"/>
                  </a:lnTo>
                  <a:lnTo>
                    <a:pt x="13453" y="24436"/>
                  </a:lnTo>
                  <a:lnTo>
                    <a:pt x="24412" y="23267"/>
                  </a:lnTo>
                  <a:lnTo>
                    <a:pt x="31153" y="30283"/>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8" name="Freeform: Shape 1567">
              <a:extLst>
                <a:ext uri="{FF2B5EF4-FFF2-40B4-BE49-F238E27FC236}">
                  <a16:creationId xmlns:a16="http://schemas.microsoft.com/office/drawing/2014/main" id="{8FAF140C-3A99-A8FA-D678-A8D3E3B4D4F8}"/>
                </a:ext>
              </a:extLst>
            </p:cNvPr>
            <p:cNvSpPr/>
            <p:nvPr/>
          </p:nvSpPr>
          <p:spPr>
            <a:xfrm>
              <a:off x="2490895" y="5938610"/>
              <a:ext cx="34755" cy="50487"/>
            </a:xfrm>
            <a:custGeom>
              <a:avLst/>
              <a:gdLst>
                <a:gd name="connsiteX0" fmla="*/ 9136 w 40363"/>
                <a:gd name="connsiteY0" fmla="*/ 27307 h 46484"/>
                <a:gd name="connsiteX1" fmla="*/ 1599 w 40363"/>
                <a:gd name="connsiteY1" fmla="*/ 41772 h 46484"/>
                <a:gd name="connsiteX2" fmla="*/ 3930 w 40363"/>
                <a:gd name="connsiteY2" fmla="*/ 46227 h 46484"/>
                <a:gd name="connsiteX3" fmla="*/ 9535 w 40363"/>
                <a:gd name="connsiteY3" fmla="*/ 44379 h 46484"/>
                <a:gd name="connsiteX4" fmla="*/ 9535 w 40363"/>
                <a:gd name="connsiteY4" fmla="*/ 44379 h 46484"/>
                <a:gd name="connsiteX5" fmla="*/ 17071 w 40363"/>
                <a:gd name="connsiteY5" fmla="*/ 29973 h 46484"/>
                <a:gd name="connsiteX6" fmla="*/ 30493 w 40363"/>
                <a:gd name="connsiteY6" fmla="*/ 28570 h 46484"/>
                <a:gd name="connsiteX7" fmla="*/ 33900 w 40363"/>
                <a:gd name="connsiteY7" fmla="*/ 26489 h 46484"/>
                <a:gd name="connsiteX8" fmla="*/ 40036 w 40363"/>
                <a:gd name="connsiteY8" fmla="*/ 14796 h 46484"/>
                <a:gd name="connsiteX9" fmla="*/ 39476 w 40363"/>
                <a:gd name="connsiteY9" fmla="*/ 11416 h 46484"/>
                <a:gd name="connsiteX10" fmla="*/ 29726 w 40363"/>
                <a:gd name="connsiteY10" fmla="*/ 1337 h 46484"/>
                <a:gd name="connsiteX11" fmla="*/ 25759 w 40363"/>
                <a:gd name="connsiteY11" fmla="*/ 27 h 46484"/>
                <a:gd name="connsiteX12" fmla="*/ 9859 w 40363"/>
                <a:gd name="connsiteY12" fmla="*/ 1594 h 46484"/>
                <a:gd name="connsiteX13" fmla="*/ 6452 w 40363"/>
                <a:gd name="connsiteY13" fmla="*/ 3675 h 46484"/>
                <a:gd name="connsiteX14" fmla="*/ 331 w 40363"/>
                <a:gd name="connsiteY14" fmla="*/ 15369 h 46484"/>
                <a:gd name="connsiteX15" fmla="*/ 891 w 40363"/>
                <a:gd name="connsiteY15" fmla="*/ 18748 h 46484"/>
                <a:gd name="connsiteX16" fmla="*/ 13443 w 40363"/>
                <a:gd name="connsiteY16" fmla="*/ 8095 h 46484"/>
                <a:gd name="connsiteX17" fmla="*/ 24417 w 40363"/>
                <a:gd name="connsiteY17" fmla="*/ 6926 h 46484"/>
                <a:gd name="connsiteX18" fmla="*/ 31142 w 40363"/>
                <a:gd name="connsiteY18" fmla="*/ 13942 h 46484"/>
                <a:gd name="connsiteX19" fmla="*/ 26983 w 40363"/>
                <a:gd name="connsiteY19" fmla="*/ 22010 h 46484"/>
                <a:gd name="connsiteX20" fmla="*/ 16024 w 40363"/>
                <a:gd name="connsiteY20" fmla="*/ 23180 h 46484"/>
                <a:gd name="connsiteX21" fmla="*/ 9284 w 40363"/>
                <a:gd name="connsiteY21" fmla="*/ 16199 h 4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63" h="46484">
                  <a:moveTo>
                    <a:pt x="9136" y="27307"/>
                  </a:moveTo>
                  <a:lnTo>
                    <a:pt x="1599" y="41772"/>
                  </a:lnTo>
                  <a:cubicBezTo>
                    <a:pt x="694" y="43512"/>
                    <a:pt x="1737" y="45505"/>
                    <a:pt x="3930" y="46227"/>
                  </a:cubicBezTo>
                  <a:cubicBezTo>
                    <a:pt x="6122" y="46944"/>
                    <a:pt x="8630" y="46117"/>
                    <a:pt x="9535" y="44379"/>
                  </a:cubicBezTo>
                  <a:cubicBezTo>
                    <a:pt x="9535" y="44379"/>
                    <a:pt x="9535" y="44379"/>
                    <a:pt x="9535" y="44379"/>
                  </a:cubicBezTo>
                  <a:lnTo>
                    <a:pt x="17071" y="29973"/>
                  </a:lnTo>
                  <a:lnTo>
                    <a:pt x="30493" y="28570"/>
                  </a:lnTo>
                  <a:cubicBezTo>
                    <a:pt x="32018" y="28412"/>
                    <a:pt x="33319" y="27618"/>
                    <a:pt x="33900" y="26489"/>
                  </a:cubicBezTo>
                  <a:lnTo>
                    <a:pt x="40036" y="14796"/>
                  </a:lnTo>
                  <a:cubicBezTo>
                    <a:pt x="40623" y="13671"/>
                    <a:pt x="40409" y="12383"/>
                    <a:pt x="39476" y="11416"/>
                  </a:cubicBezTo>
                  <a:lnTo>
                    <a:pt x="29726" y="1337"/>
                  </a:lnTo>
                  <a:cubicBezTo>
                    <a:pt x="28791" y="373"/>
                    <a:pt x="27281" y="-126"/>
                    <a:pt x="25759" y="27"/>
                  </a:cubicBezTo>
                  <a:lnTo>
                    <a:pt x="9859" y="1594"/>
                  </a:lnTo>
                  <a:cubicBezTo>
                    <a:pt x="8337" y="1756"/>
                    <a:pt x="7037" y="2550"/>
                    <a:pt x="6452" y="3675"/>
                  </a:cubicBezTo>
                  <a:lnTo>
                    <a:pt x="331" y="15369"/>
                  </a:lnTo>
                  <a:cubicBezTo>
                    <a:pt x="-262" y="16493"/>
                    <a:pt x="-48" y="17783"/>
                    <a:pt x="891" y="18748"/>
                  </a:cubicBezTo>
                  <a:close/>
                  <a:moveTo>
                    <a:pt x="13443" y="8095"/>
                  </a:moveTo>
                  <a:lnTo>
                    <a:pt x="24417" y="6926"/>
                  </a:lnTo>
                  <a:lnTo>
                    <a:pt x="31142" y="13942"/>
                  </a:lnTo>
                  <a:lnTo>
                    <a:pt x="26983" y="22010"/>
                  </a:lnTo>
                  <a:lnTo>
                    <a:pt x="16024" y="23180"/>
                  </a:lnTo>
                  <a:lnTo>
                    <a:pt x="9284" y="16199"/>
                  </a:lnTo>
                  <a:close/>
                </a:path>
              </a:pathLst>
            </a:custGeom>
            <a:solidFill>
              <a:srgbClr val="FF0000"/>
            </a:solidFill>
            <a:ln w="14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69" name="Freeform: Shape 1568">
              <a:extLst>
                <a:ext uri="{FF2B5EF4-FFF2-40B4-BE49-F238E27FC236}">
                  <a16:creationId xmlns:a16="http://schemas.microsoft.com/office/drawing/2014/main" id="{25329541-4057-B9B9-FD8E-D88D9F29B0D4}"/>
                </a:ext>
              </a:extLst>
            </p:cNvPr>
            <p:cNvSpPr/>
            <p:nvPr/>
          </p:nvSpPr>
          <p:spPr>
            <a:xfrm>
              <a:off x="2341358" y="4840146"/>
              <a:ext cx="241477" cy="151089"/>
            </a:xfrm>
            <a:custGeom>
              <a:avLst/>
              <a:gdLst>
                <a:gd name="connsiteX0" fmla="*/ 191110 w 241477"/>
                <a:gd name="connsiteY0" fmla="*/ 151089 h 151089"/>
                <a:gd name="connsiteX1" fmla="*/ 191110 w 241477"/>
                <a:gd name="connsiteY1" fmla="*/ 140929 h 151089"/>
                <a:gd name="connsiteX2" fmla="*/ 231425 w 241477"/>
                <a:gd name="connsiteY2" fmla="*/ 100778 h 151089"/>
                <a:gd name="connsiteX3" fmla="*/ 191273 w 241477"/>
                <a:gd name="connsiteY3" fmla="*/ 60463 h 151089"/>
                <a:gd name="connsiteX4" fmla="*/ 176987 w 241477"/>
                <a:gd name="connsiteY4" fmla="*/ 63053 h 151089"/>
                <a:gd name="connsiteX5" fmla="*/ 171196 w 241477"/>
                <a:gd name="connsiteY5" fmla="*/ 65237 h 151089"/>
                <a:gd name="connsiteX6" fmla="*/ 170231 w 241477"/>
                <a:gd name="connsiteY6" fmla="*/ 59116 h 151089"/>
                <a:gd name="connsiteX7" fmla="*/ 104319 w 241477"/>
                <a:gd name="connsiteY7" fmla="*/ 10867 h 151089"/>
                <a:gd name="connsiteX8" fmla="*/ 55423 w 241477"/>
                <a:gd name="connsiteY8" fmla="*/ 66025 h 151089"/>
                <a:gd name="connsiteX9" fmla="*/ 55245 w 241477"/>
                <a:gd name="connsiteY9" fmla="*/ 71537 h 151089"/>
                <a:gd name="connsiteX10" fmla="*/ 49759 w 241477"/>
                <a:gd name="connsiteY10" fmla="*/ 70851 h 151089"/>
                <a:gd name="connsiteX11" fmla="*/ 45263 w 241477"/>
                <a:gd name="connsiteY11" fmla="*/ 70521 h 151089"/>
                <a:gd name="connsiteX12" fmla="*/ 10058 w 241477"/>
                <a:gd name="connsiteY12" fmla="*/ 105725 h 151089"/>
                <a:gd name="connsiteX13" fmla="*/ 45263 w 241477"/>
                <a:gd name="connsiteY13" fmla="*/ 140929 h 151089"/>
                <a:gd name="connsiteX14" fmla="*/ 55423 w 241477"/>
                <a:gd name="connsiteY14" fmla="*/ 140929 h 151089"/>
                <a:gd name="connsiteX15" fmla="*/ 55423 w 241477"/>
                <a:gd name="connsiteY15" fmla="*/ 151089 h 151089"/>
                <a:gd name="connsiteX16" fmla="*/ 45263 w 241477"/>
                <a:gd name="connsiteY16" fmla="*/ 151089 h 151089"/>
                <a:gd name="connsiteX17" fmla="*/ 0 w 241477"/>
                <a:gd name="connsiteY17" fmla="*/ 105827 h 151089"/>
                <a:gd name="connsiteX18" fmla="*/ 45263 w 241477"/>
                <a:gd name="connsiteY18" fmla="*/ 60564 h 151089"/>
                <a:gd name="connsiteX19" fmla="*/ 45745 w 241477"/>
                <a:gd name="connsiteY19" fmla="*/ 60564 h 151089"/>
                <a:gd name="connsiteX20" fmla="*/ 120434 w 241477"/>
                <a:gd name="connsiteY20" fmla="*/ 395 h 151089"/>
                <a:gd name="connsiteX21" fmla="*/ 179121 w 241477"/>
                <a:gd name="connsiteY21" fmla="*/ 52004 h 151089"/>
                <a:gd name="connsiteX22" fmla="*/ 191186 w 241477"/>
                <a:gd name="connsiteY22" fmla="*/ 50505 h 151089"/>
                <a:gd name="connsiteX23" fmla="*/ 241478 w 241477"/>
                <a:gd name="connsiteY23" fmla="*/ 100797 h 151089"/>
                <a:gd name="connsiteX24" fmla="*/ 191186 w 241477"/>
                <a:gd name="connsiteY24" fmla="*/ 151089 h 15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477" h="151089">
                  <a:moveTo>
                    <a:pt x="191110" y="151089"/>
                  </a:moveTo>
                  <a:lnTo>
                    <a:pt x="191110" y="140929"/>
                  </a:lnTo>
                  <a:cubicBezTo>
                    <a:pt x="213330" y="140975"/>
                    <a:pt x="231380" y="122998"/>
                    <a:pt x="231425" y="100778"/>
                  </a:cubicBezTo>
                  <a:cubicBezTo>
                    <a:pt x="231470" y="78557"/>
                    <a:pt x="213493" y="60507"/>
                    <a:pt x="191273" y="60463"/>
                  </a:cubicBezTo>
                  <a:cubicBezTo>
                    <a:pt x="186393" y="60453"/>
                    <a:pt x="181553" y="61330"/>
                    <a:pt x="176987" y="63053"/>
                  </a:cubicBezTo>
                  <a:lnTo>
                    <a:pt x="171196" y="65237"/>
                  </a:lnTo>
                  <a:lnTo>
                    <a:pt x="170231" y="59116"/>
                  </a:lnTo>
                  <a:cubicBezTo>
                    <a:pt x="165353" y="27591"/>
                    <a:pt x="135844" y="5990"/>
                    <a:pt x="104319" y="10867"/>
                  </a:cubicBezTo>
                  <a:cubicBezTo>
                    <a:pt x="76882" y="15112"/>
                    <a:pt x="56347" y="38277"/>
                    <a:pt x="55423" y="66025"/>
                  </a:cubicBezTo>
                  <a:lnTo>
                    <a:pt x="55245" y="71537"/>
                  </a:lnTo>
                  <a:lnTo>
                    <a:pt x="49759" y="70851"/>
                  </a:lnTo>
                  <a:cubicBezTo>
                    <a:pt x="48269" y="70638"/>
                    <a:pt x="46767" y="70528"/>
                    <a:pt x="45263" y="70521"/>
                  </a:cubicBezTo>
                  <a:cubicBezTo>
                    <a:pt x="25820" y="70521"/>
                    <a:pt x="10058" y="86282"/>
                    <a:pt x="10058" y="105725"/>
                  </a:cubicBezTo>
                  <a:cubicBezTo>
                    <a:pt x="10058" y="125168"/>
                    <a:pt x="25820" y="140929"/>
                    <a:pt x="45263" y="140929"/>
                  </a:cubicBezTo>
                  <a:lnTo>
                    <a:pt x="55423" y="140929"/>
                  </a:lnTo>
                  <a:lnTo>
                    <a:pt x="55423" y="151089"/>
                  </a:lnTo>
                  <a:lnTo>
                    <a:pt x="45263" y="151089"/>
                  </a:lnTo>
                  <a:cubicBezTo>
                    <a:pt x="20265" y="151089"/>
                    <a:pt x="0" y="130825"/>
                    <a:pt x="0" y="105827"/>
                  </a:cubicBezTo>
                  <a:cubicBezTo>
                    <a:pt x="0" y="80829"/>
                    <a:pt x="20265" y="60564"/>
                    <a:pt x="45263" y="60564"/>
                  </a:cubicBezTo>
                  <a:lnTo>
                    <a:pt x="45745" y="60564"/>
                  </a:lnTo>
                  <a:cubicBezTo>
                    <a:pt x="49755" y="23324"/>
                    <a:pt x="83194" y="-3614"/>
                    <a:pt x="120434" y="395"/>
                  </a:cubicBezTo>
                  <a:cubicBezTo>
                    <a:pt x="148938" y="3464"/>
                    <a:pt x="172433" y="24126"/>
                    <a:pt x="179121" y="52004"/>
                  </a:cubicBezTo>
                  <a:cubicBezTo>
                    <a:pt x="183066" y="51014"/>
                    <a:pt x="187118" y="50511"/>
                    <a:pt x="191186" y="50505"/>
                  </a:cubicBezTo>
                  <a:cubicBezTo>
                    <a:pt x="218961" y="50505"/>
                    <a:pt x="241478" y="73022"/>
                    <a:pt x="241478" y="100797"/>
                  </a:cubicBezTo>
                  <a:cubicBezTo>
                    <a:pt x="241478" y="128573"/>
                    <a:pt x="218961" y="151089"/>
                    <a:pt x="191186" y="151089"/>
                  </a:cubicBezTo>
                  <a:close/>
                </a:path>
              </a:pathLst>
            </a:custGeom>
            <a:solidFill>
              <a:srgbClr val="FF0000"/>
            </a:solid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70" name="Freeform: Shape 1569">
              <a:extLst>
                <a:ext uri="{FF2B5EF4-FFF2-40B4-BE49-F238E27FC236}">
                  <a16:creationId xmlns:a16="http://schemas.microsoft.com/office/drawing/2014/main" id="{BE42FD47-DF59-E91F-FA08-A2069F569372}"/>
                </a:ext>
              </a:extLst>
            </p:cNvPr>
            <p:cNvSpPr/>
            <p:nvPr/>
          </p:nvSpPr>
          <p:spPr>
            <a:xfrm>
              <a:off x="2406636" y="4860476"/>
              <a:ext cx="47802" cy="47777"/>
            </a:xfrm>
            <a:custGeom>
              <a:avLst/>
              <a:gdLst>
                <a:gd name="connsiteX0" fmla="*/ 10160 w 47802"/>
                <a:gd name="connsiteY0" fmla="*/ 47777 h 47777"/>
                <a:gd name="connsiteX1" fmla="*/ 0 w 47802"/>
                <a:gd name="connsiteY1" fmla="*/ 47777 h 47777"/>
                <a:gd name="connsiteX2" fmla="*/ 47803 w 47802"/>
                <a:gd name="connsiteY2" fmla="*/ 0 h 47777"/>
                <a:gd name="connsiteX3" fmla="*/ 47803 w 47802"/>
                <a:gd name="connsiteY3" fmla="*/ 10160 h 47777"/>
                <a:gd name="connsiteX4" fmla="*/ 10160 w 47802"/>
                <a:gd name="connsiteY4" fmla="*/ 47777 h 4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2" h="47777">
                  <a:moveTo>
                    <a:pt x="10160" y="47777"/>
                  </a:moveTo>
                  <a:lnTo>
                    <a:pt x="0" y="47777"/>
                  </a:lnTo>
                  <a:cubicBezTo>
                    <a:pt x="28" y="21392"/>
                    <a:pt x="21418" y="14"/>
                    <a:pt x="47803" y="0"/>
                  </a:cubicBezTo>
                  <a:lnTo>
                    <a:pt x="47803" y="10160"/>
                  </a:lnTo>
                  <a:cubicBezTo>
                    <a:pt x="27046" y="10216"/>
                    <a:pt x="10230" y="27021"/>
                    <a:pt x="10160" y="47777"/>
                  </a:cubicBezTo>
                  <a:close/>
                </a:path>
              </a:pathLst>
            </a:custGeom>
            <a:solidFill>
              <a:srgbClr val="FF0000"/>
            </a:solid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71" name="Freeform: Shape 1570">
              <a:extLst>
                <a:ext uri="{FF2B5EF4-FFF2-40B4-BE49-F238E27FC236}">
                  <a16:creationId xmlns:a16="http://schemas.microsoft.com/office/drawing/2014/main" id="{7B9CE9ED-DB07-64F5-7854-EC69FC160AD6}"/>
                </a:ext>
              </a:extLst>
            </p:cNvPr>
            <p:cNvSpPr/>
            <p:nvPr/>
          </p:nvSpPr>
          <p:spPr>
            <a:xfrm>
              <a:off x="2391650" y="4940937"/>
              <a:ext cx="140919" cy="140825"/>
            </a:xfrm>
            <a:custGeom>
              <a:avLst/>
              <a:gdLst>
                <a:gd name="connsiteX0" fmla="*/ 70409 w 140919"/>
                <a:gd name="connsiteY0" fmla="*/ 140824 h 140825"/>
                <a:gd name="connsiteX1" fmla="*/ 59588 w 140919"/>
                <a:gd name="connsiteY1" fmla="*/ 140011 h 140825"/>
                <a:gd name="connsiteX2" fmla="*/ 55321 w 140919"/>
                <a:gd name="connsiteY2" fmla="*/ 139351 h 140825"/>
                <a:gd name="connsiteX3" fmla="*/ 55321 w 140919"/>
                <a:gd name="connsiteY3" fmla="*/ 123654 h 140825"/>
                <a:gd name="connsiteX4" fmla="*/ 43459 w 140919"/>
                <a:gd name="connsiteY4" fmla="*/ 118726 h 140825"/>
                <a:gd name="connsiteX5" fmla="*/ 32309 w 140919"/>
                <a:gd name="connsiteY5" fmla="*/ 129750 h 140825"/>
                <a:gd name="connsiteX6" fmla="*/ 28854 w 140919"/>
                <a:gd name="connsiteY6" fmla="*/ 127210 h 140825"/>
                <a:gd name="connsiteX7" fmla="*/ 13462 w 140919"/>
                <a:gd name="connsiteY7" fmla="*/ 111817 h 140825"/>
                <a:gd name="connsiteX8" fmla="*/ 10922 w 140919"/>
                <a:gd name="connsiteY8" fmla="*/ 108363 h 140825"/>
                <a:gd name="connsiteX9" fmla="*/ 22149 w 140919"/>
                <a:gd name="connsiteY9" fmla="*/ 97365 h 140825"/>
                <a:gd name="connsiteX10" fmla="*/ 17069 w 140919"/>
                <a:gd name="connsiteY10" fmla="*/ 85503 h 140825"/>
                <a:gd name="connsiteX11" fmla="*/ 1473 w 140919"/>
                <a:gd name="connsiteY11" fmla="*/ 85503 h 140825"/>
                <a:gd name="connsiteX12" fmla="*/ 813 w 140919"/>
                <a:gd name="connsiteY12" fmla="*/ 81261 h 140825"/>
                <a:gd name="connsiteX13" fmla="*/ 813 w 140919"/>
                <a:gd name="connsiteY13" fmla="*/ 59595 h 140825"/>
                <a:gd name="connsiteX14" fmla="*/ 1473 w 140919"/>
                <a:gd name="connsiteY14" fmla="*/ 55328 h 140825"/>
                <a:gd name="connsiteX15" fmla="*/ 17069 w 140919"/>
                <a:gd name="connsiteY15" fmla="*/ 55328 h 140825"/>
                <a:gd name="connsiteX16" fmla="*/ 22149 w 140919"/>
                <a:gd name="connsiteY16" fmla="*/ 43466 h 140825"/>
                <a:gd name="connsiteX17" fmla="*/ 11125 w 140919"/>
                <a:gd name="connsiteY17" fmla="*/ 32442 h 140825"/>
                <a:gd name="connsiteX18" fmla="*/ 13665 w 140919"/>
                <a:gd name="connsiteY18" fmla="*/ 28962 h 140825"/>
                <a:gd name="connsiteX19" fmla="*/ 29058 w 140919"/>
                <a:gd name="connsiteY19" fmla="*/ 13570 h 140825"/>
                <a:gd name="connsiteX20" fmla="*/ 32512 w 140919"/>
                <a:gd name="connsiteY20" fmla="*/ 11030 h 140825"/>
                <a:gd name="connsiteX21" fmla="*/ 43561 w 140919"/>
                <a:gd name="connsiteY21" fmla="*/ 22079 h 140825"/>
                <a:gd name="connsiteX22" fmla="*/ 55423 w 140919"/>
                <a:gd name="connsiteY22" fmla="*/ 17126 h 140825"/>
                <a:gd name="connsiteX23" fmla="*/ 55423 w 140919"/>
                <a:gd name="connsiteY23" fmla="*/ 1480 h 140825"/>
                <a:gd name="connsiteX24" fmla="*/ 59690 w 140919"/>
                <a:gd name="connsiteY24" fmla="*/ 819 h 140825"/>
                <a:gd name="connsiteX25" fmla="*/ 81331 w 140919"/>
                <a:gd name="connsiteY25" fmla="*/ 819 h 140825"/>
                <a:gd name="connsiteX26" fmla="*/ 85598 w 140919"/>
                <a:gd name="connsiteY26" fmla="*/ 1480 h 140825"/>
                <a:gd name="connsiteX27" fmla="*/ 85598 w 140919"/>
                <a:gd name="connsiteY27" fmla="*/ 17177 h 140825"/>
                <a:gd name="connsiteX28" fmla="*/ 97460 w 140919"/>
                <a:gd name="connsiteY28" fmla="*/ 22130 h 140825"/>
                <a:gd name="connsiteX29" fmla="*/ 108509 w 140919"/>
                <a:gd name="connsiteY29" fmla="*/ 11081 h 140825"/>
                <a:gd name="connsiteX30" fmla="*/ 111963 w 140919"/>
                <a:gd name="connsiteY30" fmla="*/ 13621 h 140825"/>
                <a:gd name="connsiteX31" fmla="*/ 127356 w 140919"/>
                <a:gd name="connsiteY31" fmla="*/ 29013 h 140825"/>
                <a:gd name="connsiteX32" fmla="*/ 129896 w 140919"/>
                <a:gd name="connsiteY32" fmla="*/ 32493 h 140825"/>
                <a:gd name="connsiteX33" fmla="*/ 118669 w 140919"/>
                <a:gd name="connsiteY33" fmla="*/ 43466 h 140825"/>
                <a:gd name="connsiteX34" fmla="*/ 123749 w 140919"/>
                <a:gd name="connsiteY34" fmla="*/ 55328 h 140825"/>
                <a:gd name="connsiteX35" fmla="*/ 139446 w 140919"/>
                <a:gd name="connsiteY35" fmla="*/ 55328 h 140825"/>
                <a:gd name="connsiteX36" fmla="*/ 140106 w 140919"/>
                <a:gd name="connsiteY36" fmla="*/ 59595 h 140825"/>
                <a:gd name="connsiteX37" fmla="*/ 140106 w 140919"/>
                <a:gd name="connsiteY37" fmla="*/ 81261 h 140825"/>
                <a:gd name="connsiteX38" fmla="*/ 139446 w 140919"/>
                <a:gd name="connsiteY38" fmla="*/ 85503 h 140825"/>
                <a:gd name="connsiteX39" fmla="*/ 123749 w 140919"/>
                <a:gd name="connsiteY39" fmla="*/ 85503 h 140825"/>
                <a:gd name="connsiteX40" fmla="*/ 118669 w 140919"/>
                <a:gd name="connsiteY40" fmla="*/ 97365 h 140825"/>
                <a:gd name="connsiteX41" fmla="*/ 129692 w 140919"/>
                <a:gd name="connsiteY41" fmla="*/ 108414 h 140825"/>
                <a:gd name="connsiteX42" fmla="*/ 127152 w 140919"/>
                <a:gd name="connsiteY42" fmla="*/ 111868 h 140825"/>
                <a:gd name="connsiteX43" fmla="*/ 111760 w 140919"/>
                <a:gd name="connsiteY43" fmla="*/ 127260 h 140825"/>
                <a:gd name="connsiteX44" fmla="*/ 108306 w 140919"/>
                <a:gd name="connsiteY44" fmla="*/ 129800 h 140825"/>
                <a:gd name="connsiteX45" fmla="*/ 97257 w 140919"/>
                <a:gd name="connsiteY45" fmla="*/ 118777 h 140825"/>
                <a:gd name="connsiteX46" fmla="*/ 85395 w 140919"/>
                <a:gd name="connsiteY46" fmla="*/ 123704 h 140825"/>
                <a:gd name="connsiteX47" fmla="*/ 85395 w 140919"/>
                <a:gd name="connsiteY47" fmla="*/ 139402 h 140825"/>
                <a:gd name="connsiteX48" fmla="*/ 81128 w 140919"/>
                <a:gd name="connsiteY48" fmla="*/ 140062 h 140825"/>
                <a:gd name="connsiteX49" fmla="*/ 70409 w 140919"/>
                <a:gd name="connsiteY49" fmla="*/ 140824 h 140825"/>
                <a:gd name="connsiteX50" fmla="*/ 65329 w 140919"/>
                <a:gd name="connsiteY50" fmla="*/ 130664 h 140825"/>
                <a:gd name="connsiteX51" fmla="*/ 75489 w 140919"/>
                <a:gd name="connsiteY51" fmla="*/ 130664 h 140825"/>
                <a:gd name="connsiteX52" fmla="*/ 75489 w 140919"/>
                <a:gd name="connsiteY52" fmla="*/ 115602 h 140825"/>
                <a:gd name="connsiteX53" fmla="*/ 79527 w 140919"/>
                <a:gd name="connsiteY53" fmla="*/ 114764 h 140825"/>
                <a:gd name="connsiteX54" fmla="*/ 95402 w 140919"/>
                <a:gd name="connsiteY54" fmla="*/ 108185 h 140825"/>
                <a:gd name="connsiteX55" fmla="*/ 98831 w 140919"/>
                <a:gd name="connsiteY55" fmla="*/ 105899 h 140825"/>
                <a:gd name="connsiteX56" fmla="*/ 109423 w 140919"/>
                <a:gd name="connsiteY56" fmla="*/ 116491 h 140825"/>
                <a:gd name="connsiteX57" fmla="*/ 116535 w 140919"/>
                <a:gd name="connsiteY57" fmla="*/ 109379 h 140825"/>
                <a:gd name="connsiteX58" fmla="*/ 105969 w 140919"/>
                <a:gd name="connsiteY58" fmla="*/ 98863 h 140825"/>
                <a:gd name="connsiteX59" fmla="*/ 108229 w 140919"/>
                <a:gd name="connsiteY59" fmla="*/ 95434 h 140825"/>
                <a:gd name="connsiteX60" fmla="*/ 114833 w 140919"/>
                <a:gd name="connsiteY60" fmla="*/ 79559 h 140825"/>
                <a:gd name="connsiteX61" fmla="*/ 115646 w 140919"/>
                <a:gd name="connsiteY61" fmla="*/ 75521 h 140825"/>
                <a:gd name="connsiteX62" fmla="*/ 130632 w 140919"/>
                <a:gd name="connsiteY62" fmla="*/ 75521 h 140825"/>
                <a:gd name="connsiteX63" fmla="*/ 130835 w 140919"/>
                <a:gd name="connsiteY63" fmla="*/ 70441 h 140825"/>
                <a:gd name="connsiteX64" fmla="*/ 130632 w 140919"/>
                <a:gd name="connsiteY64" fmla="*/ 65361 h 140825"/>
                <a:gd name="connsiteX65" fmla="*/ 115646 w 140919"/>
                <a:gd name="connsiteY65" fmla="*/ 65361 h 140825"/>
                <a:gd name="connsiteX66" fmla="*/ 114833 w 140919"/>
                <a:gd name="connsiteY66" fmla="*/ 61322 h 140825"/>
                <a:gd name="connsiteX67" fmla="*/ 108153 w 140919"/>
                <a:gd name="connsiteY67" fmla="*/ 45523 h 140825"/>
                <a:gd name="connsiteX68" fmla="*/ 105969 w 140919"/>
                <a:gd name="connsiteY68" fmla="*/ 42043 h 140825"/>
                <a:gd name="connsiteX69" fmla="*/ 116561 w 140919"/>
                <a:gd name="connsiteY69" fmla="*/ 31477 h 140825"/>
                <a:gd name="connsiteX70" fmla="*/ 109449 w 140919"/>
                <a:gd name="connsiteY70" fmla="*/ 24340 h 140825"/>
                <a:gd name="connsiteX71" fmla="*/ 98857 w 140919"/>
                <a:gd name="connsiteY71" fmla="*/ 34931 h 140825"/>
                <a:gd name="connsiteX72" fmla="*/ 95428 w 140919"/>
                <a:gd name="connsiteY72" fmla="*/ 32671 h 140825"/>
                <a:gd name="connsiteX73" fmla="*/ 79553 w 140919"/>
                <a:gd name="connsiteY73" fmla="*/ 26067 h 140825"/>
                <a:gd name="connsiteX74" fmla="*/ 75489 w 140919"/>
                <a:gd name="connsiteY74" fmla="*/ 25203 h 140825"/>
                <a:gd name="connsiteX75" fmla="*/ 75489 w 140919"/>
                <a:gd name="connsiteY75" fmla="*/ 10217 h 140825"/>
                <a:gd name="connsiteX76" fmla="*/ 65329 w 140919"/>
                <a:gd name="connsiteY76" fmla="*/ 10217 h 140825"/>
                <a:gd name="connsiteX77" fmla="*/ 65329 w 140919"/>
                <a:gd name="connsiteY77" fmla="*/ 25203 h 140825"/>
                <a:gd name="connsiteX78" fmla="*/ 61290 w 140919"/>
                <a:gd name="connsiteY78" fmla="*/ 26016 h 140825"/>
                <a:gd name="connsiteX79" fmla="*/ 45415 w 140919"/>
                <a:gd name="connsiteY79" fmla="*/ 32620 h 140825"/>
                <a:gd name="connsiteX80" fmla="*/ 41986 w 140919"/>
                <a:gd name="connsiteY80" fmla="*/ 34881 h 140825"/>
                <a:gd name="connsiteX81" fmla="*/ 31394 w 140919"/>
                <a:gd name="connsiteY81" fmla="*/ 24289 h 140825"/>
                <a:gd name="connsiteX82" fmla="*/ 24282 w 140919"/>
                <a:gd name="connsiteY82" fmla="*/ 31426 h 140825"/>
                <a:gd name="connsiteX83" fmla="*/ 34849 w 140919"/>
                <a:gd name="connsiteY83" fmla="*/ 42043 h 140825"/>
                <a:gd name="connsiteX84" fmla="*/ 32664 w 140919"/>
                <a:gd name="connsiteY84" fmla="*/ 45523 h 140825"/>
                <a:gd name="connsiteX85" fmla="*/ 26060 w 140919"/>
                <a:gd name="connsiteY85" fmla="*/ 61398 h 140825"/>
                <a:gd name="connsiteX86" fmla="*/ 25248 w 140919"/>
                <a:gd name="connsiteY86" fmla="*/ 65437 h 140825"/>
                <a:gd name="connsiteX87" fmla="*/ 10262 w 140919"/>
                <a:gd name="connsiteY87" fmla="*/ 65437 h 140825"/>
                <a:gd name="connsiteX88" fmla="*/ 10058 w 140919"/>
                <a:gd name="connsiteY88" fmla="*/ 70517 h 140825"/>
                <a:gd name="connsiteX89" fmla="*/ 10262 w 140919"/>
                <a:gd name="connsiteY89" fmla="*/ 75597 h 140825"/>
                <a:gd name="connsiteX90" fmla="*/ 25248 w 140919"/>
                <a:gd name="connsiteY90" fmla="*/ 75597 h 140825"/>
                <a:gd name="connsiteX91" fmla="*/ 26060 w 140919"/>
                <a:gd name="connsiteY91" fmla="*/ 79635 h 140825"/>
                <a:gd name="connsiteX92" fmla="*/ 32664 w 140919"/>
                <a:gd name="connsiteY92" fmla="*/ 95510 h 140825"/>
                <a:gd name="connsiteX93" fmla="*/ 34849 w 140919"/>
                <a:gd name="connsiteY93" fmla="*/ 98863 h 140825"/>
                <a:gd name="connsiteX94" fmla="*/ 24257 w 140919"/>
                <a:gd name="connsiteY94" fmla="*/ 109455 h 140825"/>
                <a:gd name="connsiteX95" fmla="*/ 31369 w 140919"/>
                <a:gd name="connsiteY95" fmla="*/ 116567 h 140825"/>
                <a:gd name="connsiteX96" fmla="*/ 41961 w 140919"/>
                <a:gd name="connsiteY96" fmla="*/ 105975 h 140825"/>
                <a:gd name="connsiteX97" fmla="*/ 45390 w 140919"/>
                <a:gd name="connsiteY97" fmla="*/ 108261 h 140825"/>
                <a:gd name="connsiteX98" fmla="*/ 61265 w 140919"/>
                <a:gd name="connsiteY98" fmla="*/ 114840 h 140825"/>
                <a:gd name="connsiteX99" fmla="*/ 65303 w 140919"/>
                <a:gd name="connsiteY99" fmla="*/ 115678 h 14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0919" h="140825">
                  <a:moveTo>
                    <a:pt x="70409" y="140824"/>
                  </a:moveTo>
                  <a:cubicBezTo>
                    <a:pt x="66786" y="140839"/>
                    <a:pt x="63168" y="140567"/>
                    <a:pt x="59588" y="140011"/>
                  </a:cubicBezTo>
                  <a:lnTo>
                    <a:pt x="55321" y="139351"/>
                  </a:lnTo>
                  <a:lnTo>
                    <a:pt x="55321" y="123654"/>
                  </a:lnTo>
                  <a:cubicBezTo>
                    <a:pt x="51187" y="122485"/>
                    <a:pt x="47205" y="120831"/>
                    <a:pt x="43459" y="118726"/>
                  </a:cubicBezTo>
                  <a:lnTo>
                    <a:pt x="32309" y="129750"/>
                  </a:lnTo>
                  <a:lnTo>
                    <a:pt x="28854" y="127210"/>
                  </a:lnTo>
                  <a:cubicBezTo>
                    <a:pt x="22908" y="122965"/>
                    <a:pt x="17706" y="117764"/>
                    <a:pt x="13462" y="111817"/>
                  </a:cubicBezTo>
                  <a:lnTo>
                    <a:pt x="10922" y="108363"/>
                  </a:lnTo>
                  <a:lnTo>
                    <a:pt x="22149" y="97365"/>
                  </a:lnTo>
                  <a:cubicBezTo>
                    <a:pt x="19991" y="93626"/>
                    <a:pt x="18286" y="89644"/>
                    <a:pt x="17069" y="85503"/>
                  </a:cubicBezTo>
                  <a:lnTo>
                    <a:pt x="1473" y="85503"/>
                  </a:lnTo>
                  <a:lnTo>
                    <a:pt x="813" y="81261"/>
                  </a:lnTo>
                  <a:cubicBezTo>
                    <a:pt x="-271" y="74080"/>
                    <a:pt x="-271" y="66776"/>
                    <a:pt x="813" y="59595"/>
                  </a:cubicBezTo>
                  <a:lnTo>
                    <a:pt x="1473" y="55328"/>
                  </a:lnTo>
                  <a:lnTo>
                    <a:pt x="17069" y="55328"/>
                  </a:lnTo>
                  <a:cubicBezTo>
                    <a:pt x="18286" y="51186"/>
                    <a:pt x="19991" y="47204"/>
                    <a:pt x="22149" y="43466"/>
                  </a:cubicBezTo>
                  <a:lnTo>
                    <a:pt x="11125" y="32442"/>
                  </a:lnTo>
                  <a:lnTo>
                    <a:pt x="13665" y="28962"/>
                  </a:lnTo>
                  <a:cubicBezTo>
                    <a:pt x="17924" y="23027"/>
                    <a:pt x="23123" y="17828"/>
                    <a:pt x="29058" y="13570"/>
                  </a:cubicBezTo>
                  <a:lnTo>
                    <a:pt x="32512" y="11030"/>
                  </a:lnTo>
                  <a:lnTo>
                    <a:pt x="43561" y="22079"/>
                  </a:lnTo>
                  <a:cubicBezTo>
                    <a:pt x="47301" y="19956"/>
                    <a:pt x="51284" y="18293"/>
                    <a:pt x="55423" y="17126"/>
                  </a:cubicBezTo>
                  <a:lnTo>
                    <a:pt x="55423" y="1480"/>
                  </a:lnTo>
                  <a:lnTo>
                    <a:pt x="59690" y="819"/>
                  </a:lnTo>
                  <a:cubicBezTo>
                    <a:pt x="66862" y="-273"/>
                    <a:pt x="74159" y="-273"/>
                    <a:pt x="81331" y="819"/>
                  </a:cubicBezTo>
                  <a:lnTo>
                    <a:pt x="85598" y="1480"/>
                  </a:lnTo>
                  <a:lnTo>
                    <a:pt x="85598" y="17177"/>
                  </a:lnTo>
                  <a:cubicBezTo>
                    <a:pt x="89737" y="18344"/>
                    <a:pt x="93720" y="20007"/>
                    <a:pt x="97460" y="22130"/>
                  </a:cubicBezTo>
                  <a:lnTo>
                    <a:pt x="108509" y="11081"/>
                  </a:lnTo>
                  <a:lnTo>
                    <a:pt x="111963" y="13621"/>
                  </a:lnTo>
                  <a:cubicBezTo>
                    <a:pt x="117898" y="17879"/>
                    <a:pt x="123097" y="23078"/>
                    <a:pt x="127356" y="29013"/>
                  </a:cubicBezTo>
                  <a:lnTo>
                    <a:pt x="129896" y="32493"/>
                  </a:lnTo>
                  <a:lnTo>
                    <a:pt x="118669" y="43466"/>
                  </a:lnTo>
                  <a:cubicBezTo>
                    <a:pt x="120827" y="47204"/>
                    <a:pt x="122532" y="51186"/>
                    <a:pt x="123749" y="55328"/>
                  </a:cubicBezTo>
                  <a:lnTo>
                    <a:pt x="139446" y="55328"/>
                  </a:lnTo>
                  <a:lnTo>
                    <a:pt x="140106" y="59595"/>
                  </a:lnTo>
                  <a:cubicBezTo>
                    <a:pt x="141190" y="66776"/>
                    <a:pt x="141190" y="74080"/>
                    <a:pt x="140106" y="81261"/>
                  </a:cubicBezTo>
                  <a:lnTo>
                    <a:pt x="139446" y="85503"/>
                  </a:lnTo>
                  <a:lnTo>
                    <a:pt x="123749" y="85503"/>
                  </a:lnTo>
                  <a:cubicBezTo>
                    <a:pt x="122532" y="89644"/>
                    <a:pt x="120827" y="93626"/>
                    <a:pt x="118669" y="97365"/>
                  </a:cubicBezTo>
                  <a:lnTo>
                    <a:pt x="129692" y="108414"/>
                  </a:lnTo>
                  <a:lnTo>
                    <a:pt x="127152" y="111868"/>
                  </a:lnTo>
                  <a:cubicBezTo>
                    <a:pt x="122908" y="117815"/>
                    <a:pt x="117707" y="123016"/>
                    <a:pt x="111760" y="127260"/>
                  </a:cubicBezTo>
                  <a:lnTo>
                    <a:pt x="108306" y="129800"/>
                  </a:lnTo>
                  <a:lnTo>
                    <a:pt x="97257" y="118777"/>
                  </a:lnTo>
                  <a:cubicBezTo>
                    <a:pt x="93511" y="120882"/>
                    <a:pt x="89529" y="122536"/>
                    <a:pt x="85395" y="123704"/>
                  </a:cubicBezTo>
                  <a:lnTo>
                    <a:pt x="85395" y="139402"/>
                  </a:lnTo>
                  <a:lnTo>
                    <a:pt x="81128" y="140062"/>
                  </a:lnTo>
                  <a:cubicBezTo>
                    <a:pt x="77580" y="140595"/>
                    <a:pt x="73996" y="140852"/>
                    <a:pt x="70409" y="140824"/>
                  </a:cubicBezTo>
                  <a:close/>
                  <a:moveTo>
                    <a:pt x="65329" y="130664"/>
                  </a:moveTo>
                  <a:cubicBezTo>
                    <a:pt x="68710" y="130949"/>
                    <a:pt x="72108" y="130949"/>
                    <a:pt x="75489" y="130664"/>
                  </a:cubicBezTo>
                  <a:lnTo>
                    <a:pt x="75489" y="115602"/>
                  </a:lnTo>
                  <a:lnTo>
                    <a:pt x="79527" y="114764"/>
                  </a:lnTo>
                  <a:cubicBezTo>
                    <a:pt x="85194" y="113615"/>
                    <a:pt x="90585" y="111381"/>
                    <a:pt x="95402" y="108185"/>
                  </a:cubicBezTo>
                  <a:lnTo>
                    <a:pt x="98831" y="105899"/>
                  </a:lnTo>
                  <a:lnTo>
                    <a:pt x="109423" y="116491"/>
                  </a:lnTo>
                  <a:cubicBezTo>
                    <a:pt x="111999" y="114334"/>
                    <a:pt x="114379" y="111954"/>
                    <a:pt x="116535" y="109379"/>
                  </a:cubicBezTo>
                  <a:lnTo>
                    <a:pt x="105969" y="98863"/>
                  </a:lnTo>
                  <a:lnTo>
                    <a:pt x="108229" y="95434"/>
                  </a:lnTo>
                  <a:cubicBezTo>
                    <a:pt x="111448" y="90625"/>
                    <a:pt x="113691" y="85232"/>
                    <a:pt x="114833" y="79559"/>
                  </a:cubicBezTo>
                  <a:lnTo>
                    <a:pt x="115646" y="75521"/>
                  </a:lnTo>
                  <a:lnTo>
                    <a:pt x="130632" y="75521"/>
                  </a:lnTo>
                  <a:cubicBezTo>
                    <a:pt x="130632" y="73870"/>
                    <a:pt x="130835" y="72193"/>
                    <a:pt x="130835" y="70441"/>
                  </a:cubicBezTo>
                  <a:cubicBezTo>
                    <a:pt x="130835" y="68688"/>
                    <a:pt x="130835" y="67062"/>
                    <a:pt x="130632" y="65361"/>
                  </a:cubicBezTo>
                  <a:lnTo>
                    <a:pt x="115646" y="65361"/>
                  </a:lnTo>
                  <a:lnTo>
                    <a:pt x="114833" y="61322"/>
                  </a:lnTo>
                  <a:cubicBezTo>
                    <a:pt x="113654" y="55672"/>
                    <a:pt x="111385" y="50305"/>
                    <a:pt x="108153" y="45523"/>
                  </a:cubicBezTo>
                  <a:lnTo>
                    <a:pt x="105969" y="42043"/>
                  </a:lnTo>
                  <a:lnTo>
                    <a:pt x="116561" y="31477"/>
                  </a:lnTo>
                  <a:cubicBezTo>
                    <a:pt x="114404" y="28893"/>
                    <a:pt x="112025" y="26505"/>
                    <a:pt x="109449" y="24340"/>
                  </a:cubicBezTo>
                  <a:lnTo>
                    <a:pt x="98857" y="34931"/>
                  </a:lnTo>
                  <a:lnTo>
                    <a:pt x="95428" y="32671"/>
                  </a:lnTo>
                  <a:cubicBezTo>
                    <a:pt x="90617" y="29457"/>
                    <a:pt x="85224" y="27213"/>
                    <a:pt x="79553" y="26067"/>
                  </a:cubicBezTo>
                  <a:lnTo>
                    <a:pt x="75489" y="25203"/>
                  </a:lnTo>
                  <a:lnTo>
                    <a:pt x="75489" y="10217"/>
                  </a:lnTo>
                  <a:cubicBezTo>
                    <a:pt x="72108" y="9932"/>
                    <a:pt x="68710" y="9932"/>
                    <a:pt x="65329" y="10217"/>
                  </a:cubicBezTo>
                  <a:lnTo>
                    <a:pt x="65329" y="25203"/>
                  </a:lnTo>
                  <a:lnTo>
                    <a:pt x="61290" y="26016"/>
                  </a:lnTo>
                  <a:cubicBezTo>
                    <a:pt x="55619" y="27163"/>
                    <a:pt x="50226" y="29406"/>
                    <a:pt x="45415" y="32620"/>
                  </a:cubicBezTo>
                  <a:lnTo>
                    <a:pt x="41986" y="34881"/>
                  </a:lnTo>
                  <a:lnTo>
                    <a:pt x="31394" y="24289"/>
                  </a:lnTo>
                  <a:cubicBezTo>
                    <a:pt x="28818" y="26454"/>
                    <a:pt x="26439" y="28842"/>
                    <a:pt x="24282" y="31426"/>
                  </a:cubicBezTo>
                  <a:lnTo>
                    <a:pt x="34849" y="42043"/>
                  </a:lnTo>
                  <a:lnTo>
                    <a:pt x="32664" y="45523"/>
                  </a:lnTo>
                  <a:cubicBezTo>
                    <a:pt x="29450" y="50334"/>
                    <a:pt x="27207" y="55727"/>
                    <a:pt x="26060" y="61398"/>
                  </a:cubicBezTo>
                  <a:lnTo>
                    <a:pt x="25248" y="65437"/>
                  </a:lnTo>
                  <a:lnTo>
                    <a:pt x="10262" y="65437"/>
                  </a:lnTo>
                  <a:cubicBezTo>
                    <a:pt x="10135" y="67088"/>
                    <a:pt x="10058" y="68764"/>
                    <a:pt x="10058" y="70517"/>
                  </a:cubicBezTo>
                  <a:cubicBezTo>
                    <a:pt x="10058" y="72269"/>
                    <a:pt x="10058" y="73895"/>
                    <a:pt x="10262" y="75597"/>
                  </a:cubicBezTo>
                  <a:lnTo>
                    <a:pt x="25248" y="75597"/>
                  </a:lnTo>
                  <a:lnTo>
                    <a:pt x="26060" y="79635"/>
                  </a:lnTo>
                  <a:cubicBezTo>
                    <a:pt x="27203" y="85308"/>
                    <a:pt x="29446" y="90701"/>
                    <a:pt x="32664" y="95510"/>
                  </a:cubicBezTo>
                  <a:lnTo>
                    <a:pt x="34849" y="98863"/>
                  </a:lnTo>
                  <a:lnTo>
                    <a:pt x="24257" y="109455"/>
                  </a:lnTo>
                  <a:cubicBezTo>
                    <a:pt x="26414" y="112031"/>
                    <a:pt x="28794" y="114410"/>
                    <a:pt x="31369" y="116567"/>
                  </a:cubicBezTo>
                  <a:lnTo>
                    <a:pt x="41961" y="105975"/>
                  </a:lnTo>
                  <a:lnTo>
                    <a:pt x="45390" y="108261"/>
                  </a:lnTo>
                  <a:cubicBezTo>
                    <a:pt x="50208" y="111457"/>
                    <a:pt x="55598" y="113691"/>
                    <a:pt x="61265" y="114840"/>
                  </a:cubicBezTo>
                  <a:lnTo>
                    <a:pt x="65303" y="115678"/>
                  </a:lnTo>
                  <a:close/>
                </a:path>
              </a:pathLst>
            </a:custGeom>
            <a:solidFill>
              <a:srgbClr val="FF0000"/>
            </a:solid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sp>
          <p:nvSpPr>
            <p:cNvPr id="1572" name="Freeform: Shape 1571">
              <a:extLst>
                <a:ext uri="{FF2B5EF4-FFF2-40B4-BE49-F238E27FC236}">
                  <a16:creationId xmlns:a16="http://schemas.microsoft.com/office/drawing/2014/main" id="{0F8677D0-2B1E-D424-745D-5EDA51E314B0}"/>
                </a:ext>
              </a:extLst>
            </p:cNvPr>
            <p:cNvSpPr/>
            <p:nvPr/>
          </p:nvSpPr>
          <p:spPr>
            <a:xfrm>
              <a:off x="2426854" y="4976148"/>
              <a:ext cx="70408" cy="70408"/>
            </a:xfrm>
            <a:custGeom>
              <a:avLst/>
              <a:gdLst>
                <a:gd name="connsiteX0" fmla="*/ 35204 w 70408"/>
                <a:gd name="connsiteY0" fmla="*/ 70409 h 70408"/>
                <a:gd name="connsiteX1" fmla="*/ 0 w 70408"/>
                <a:gd name="connsiteY1" fmla="*/ 35204 h 70408"/>
                <a:gd name="connsiteX2" fmla="*/ 35204 w 70408"/>
                <a:gd name="connsiteY2" fmla="*/ 0 h 70408"/>
                <a:gd name="connsiteX3" fmla="*/ 70409 w 70408"/>
                <a:gd name="connsiteY3" fmla="*/ 35204 h 70408"/>
                <a:gd name="connsiteX4" fmla="*/ 35204 w 70408"/>
                <a:gd name="connsiteY4" fmla="*/ 70409 h 70408"/>
                <a:gd name="connsiteX5" fmla="*/ 35204 w 70408"/>
                <a:gd name="connsiteY5" fmla="*/ 10058 h 70408"/>
                <a:gd name="connsiteX6" fmla="*/ 10058 w 70408"/>
                <a:gd name="connsiteY6" fmla="*/ 35204 h 70408"/>
                <a:gd name="connsiteX7" fmla="*/ 35204 w 70408"/>
                <a:gd name="connsiteY7" fmla="*/ 60350 h 70408"/>
                <a:gd name="connsiteX8" fmla="*/ 60350 w 70408"/>
                <a:gd name="connsiteY8" fmla="*/ 35204 h 70408"/>
                <a:gd name="connsiteX9" fmla="*/ 35204 w 70408"/>
                <a:gd name="connsiteY9" fmla="*/ 10058 h 7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08" h="70408">
                  <a:moveTo>
                    <a:pt x="35204" y="70409"/>
                  </a:moveTo>
                  <a:cubicBezTo>
                    <a:pt x="15761" y="70409"/>
                    <a:pt x="0" y="54647"/>
                    <a:pt x="0" y="35204"/>
                  </a:cubicBezTo>
                  <a:cubicBezTo>
                    <a:pt x="0" y="15761"/>
                    <a:pt x="15761" y="0"/>
                    <a:pt x="35204" y="0"/>
                  </a:cubicBezTo>
                  <a:cubicBezTo>
                    <a:pt x="54647" y="0"/>
                    <a:pt x="70409" y="15761"/>
                    <a:pt x="70409" y="35204"/>
                  </a:cubicBezTo>
                  <a:cubicBezTo>
                    <a:pt x="70381" y="54636"/>
                    <a:pt x="54636" y="70381"/>
                    <a:pt x="35204" y="70409"/>
                  </a:cubicBezTo>
                  <a:close/>
                  <a:moveTo>
                    <a:pt x="35204" y="10058"/>
                  </a:moveTo>
                  <a:cubicBezTo>
                    <a:pt x="21317" y="10058"/>
                    <a:pt x="10058" y="21317"/>
                    <a:pt x="10058" y="35204"/>
                  </a:cubicBezTo>
                  <a:cubicBezTo>
                    <a:pt x="10058" y="49092"/>
                    <a:pt x="21317" y="60350"/>
                    <a:pt x="35204" y="60350"/>
                  </a:cubicBezTo>
                  <a:cubicBezTo>
                    <a:pt x="49092" y="60350"/>
                    <a:pt x="60350" y="49092"/>
                    <a:pt x="60350" y="35204"/>
                  </a:cubicBezTo>
                  <a:cubicBezTo>
                    <a:pt x="60336" y="21323"/>
                    <a:pt x="49086" y="10072"/>
                    <a:pt x="35204" y="10058"/>
                  </a:cubicBezTo>
                  <a:close/>
                </a:path>
              </a:pathLst>
            </a:custGeom>
            <a:solidFill>
              <a:srgbClr val="FF0000"/>
            </a:solidFill>
            <a:ln w="24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a:ea typeface="+mn-ea"/>
                <a:cs typeface="+mn-cs"/>
              </a:endParaRPr>
            </a:p>
          </p:txBody>
        </p:sp>
      </p:grpSp>
      <p:pic>
        <p:nvPicPr>
          <p:cNvPr id="1573" name="Picture 8">
            <a:extLst>
              <a:ext uri="{FF2B5EF4-FFF2-40B4-BE49-F238E27FC236}">
                <a16:creationId xmlns:a16="http://schemas.microsoft.com/office/drawing/2014/main" id="{FF57C239-B26E-D7AA-6AFA-DA53BA00DF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24143" y="3310196"/>
            <a:ext cx="943220" cy="184384"/>
          </a:xfrm>
          <a:prstGeom prst="rect">
            <a:avLst/>
          </a:prstGeom>
          <a:noFill/>
          <a:extLst>
            <a:ext uri="{909E8E84-426E-40DD-AFC4-6F175D3DCCD1}">
              <a14:hiddenFill xmlns:a14="http://schemas.microsoft.com/office/drawing/2010/main">
                <a:solidFill>
                  <a:srgbClr val="FFFFFF"/>
                </a:solidFill>
              </a14:hiddenFill>
            </a:ext>
          </a:extLst>
        </p:spPr>
      </p:pic>
      <p:pic>
        <p:nvPicPr>
          <p:cNvPr id="1574" name="Picture 1573">
            <a:extLst>
              <a:ext uri="{FF2B5EF4-FFF2-40B4-BE49-F238E27FC236}">
                <a16:creationId xmlns:a16="http://schemas.microsoft.com/office/drawing/2014/main" id="{83325568-3BB7-0788-E4B5-4D745055DC9E}"/>
              </a:ext>
            </a:extLst>
          </p:cNvPr>
          <p:cNvPicPr>
            <a:picLocks noChangeAspect="1"/>
          </p:cNvPicPr>
          <p:nvPr/>
        </p:nvPicPr>
        <p:blipFill>
          <a:blip r:embed="rId9"/>
          <a:stretch>
            <a:fillRect/>
          </a:stretch>
        </p:blipFill>
        <p:spPr>
          <a:xfrm>
            <a:off x="9593163" y="2081800"/>
            <a:ext cx="962983" cy="125437"/>
          </a:xfrm>
          <a:prstGeom prst="rect">
            <a:avLst/>
          </a:prstGeom>
        </p:spPr>
      </p:pic>
      <p:pic>
        <p:nvPicPr>
          <p:cNvPr id="1575" name="Picture 1574">
            <a:extLst>
              <a:ext uri="{FF2B5EF4-FFF2-40B4-BE49-F238E27FC236}">
                <a16:creationId xmlns:a16="http://schemas.microsoft.com/office/drawing/2014/main" id="{309BCEA6-F31E-0326-197E-E29D6D8A92FB}"/>
              </a:ext>
            </a:extLst>
          </p:cNvPr>
          <p:cNvPicPr>
            <a:picLocks noChangeAspect="1"/>
          </p:cNvPicPr>
          <p:nvPr/>
        </p:nvPicPr>
        <p:blipFill>
          <a:blip r:embed="rId10"/>
          <a:stretch>
            <a:fillRect/>
          </a:stretch>
        </p:blipFill>
        <p:spPr>
          <a:xfrm>
            <a:off x="8487214" y="2782630"/>
            <a:ext cx="1068060" cy="183104"/>
          </a:xfrm>
          <a:prstGeom prst="rect">
            <a:avLst/>
          </a:prstGeom>
        </p:spPr>
      </p:pic>
      <p:pic>
        <p:nvPicPr>
          <p:cNvPr id="1576" name="Picture 1575">
            <a:extLst>
              <a:ext uri="{FF2B5EF4-FFF2-40B4-BE49-F238E27FC236}">
                <a16:creationId xmlns:a16="http://schemas.microsoft.com/office/drawing/2014/main" id="{EA2BE879-2EE0-8C0B-A17D-E994589D7E0B}"/>
              </a:ext>
            </a:extLst>
          </p:cNvPr>
          <p:cNvPicPr>
            <a:picLocks noChangeAspect="1"/>
          </p:cNvPicPr>
          <p:nvPr/>
        </p:nvPicPr>
        <p:blipFill>
          <a:blip r:embed="rId11"/>
          <a:stretch>
            <a:fillRect/>
          </a:stretch>
        </p:blipFill>
        <p:spPr>
          <a:xfrm>
            <a:off x="8598655" y="2302642"/>
            <a:ext cx="872149" cy="174194"/>
          </a:xfrm>
          <a:prstGeom prst="rect">
            <a:avLst/>
          </a:prstGeom>
        </p:spPr>
      </p:pic>
      <p:pic>
        <p:nvPicPr>
          <p:cNvPr id="1577" name="Picture 6" descr="Universal Test Solutions on Strikingly">
            <a:extLst>
              <a:ext uri="{FF2B5EF4-FFF2-40B4-BE49-F238E27FC236}">
                <a16:creationId xmlns:a16="http://schemas.microsoft.com/office/drawing/2014/main" id="{F41B1630-49EE-699D-2101-BF46972A0877}"/>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0742" r="13855" b="19945"/>
          <a:stretch/>
        </p:blipFill>
        <p:spPr bwMode="auto">
          <a:xfrm>
            <a:off x="9599659" y="3048228"/>
            <a:ext cx="803559" cy="237590"/>
          </a:xfrm>
          <a:prstGeom prst="rect">
            <a:avLst/>
          </a:prstGeom>
          <a:noFill/>
          <a:extLst>
            <a:ext uri="{909E8E84-426E-40DD-AFC4-6F175D3DCCD1}">
              <a14:hiddenFill xmlns:a14="http://schemas.microsoft.com/office/drawing/2010/main">
                <a:solidFill>
                  <a:srgbClr val="FFFFFF"/>
                </a:solidFill>
              </a14:hiddenFill>
            </a:ext>
          </a:extLst>
        </p:spPr>
      </p:pic>
      <p:sp>
        <p:nvSpPr>
          <p:cNvPr id="1578" name="Rectangle: Rounded Corners 1577">
            <a:extLst>
              <a:ext uri="{FF2B5EF4-FFF2-40B4-BE49-F238E27FC236}">
                <a16:creationId xmlns:a16="http://schemas.microsoft.com/office/drawing/2014/main" id="{5D1C8F55-B9CB-96BC-1709-4E2BDEB4B0C1}"/>
              </a:ext>
            </a:extLst>
          </p:cNvPr>
          <p:cNvSpPr/>
          <p:nvPr/>
        </p:nvSpPr>
        <p:spPr>
          <a:xfrm>
            <a:off x="364353" y="1479964"/>
            <a:ext cx="3712062" cy="297273"/>
          </a:xfrm>
          <a:prstGeom prst="roundRect">
            <a:avLst>
              <a:gd name="adj" fmla="val 19395"/>
            </a:avLst>
          </a:prstGeom>
          <a:solidFill>
            <a:srgbClr val="C00000"/>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latin typeface="Calibri"/>
                <a:ea typeface="Verdana" panose="020B0604030504040204" pitchFamily="34" charset="0"/>
                <a:cs typeface="+mn-cs"/>
              </a:rPr>
              <a:t>Testing Themes &amp; Our Offerings</a:t>
            </a:r>
          </a:p>
        </p:txBody>
      </p:sp>
      <p:pic>
        <p:nvPicPr>
          <p:cNvPr id="1579" name="Picture 1578">
            <a:extLst>
              <a:ext uri="{FF2B5EF4-FFF2-40B4-BE49-F238E27FC236}">
                <a16:creationId xmlns:a16="http://schemas.microsoft.com/office/drawing/2014/main" id="{63FD450E-A6E7-654F-9F56-F5AD264945EF}"/>
              </a:ext>
            </a:extLst>
          </p:cNvPr>
          <p:cNvPicPr>
            <a:picLocks noChangeAspect="1"/>
          </p:cNvPicPr>
          <p:nvPr/>
        </p:nvPicPr>
        <p:blipFill>
          <a:blip r:embed="rId3"/>
          <a:stretch>
            <a:fillRect/>
          </a:stretch>
        </p:blipFill>
        <p:spPr>
          <a:xfrm>
            <a:off x="4145518" y="1497031"/>
            <a:ext cx="3722675" cy="264865"/>
          </a:xfrm>
          <a:prstGeom prst="rect">
            <a:avLst/>
          </a:prstGeom>
        </p:spPr>
      </p:pic>
      <p:sp>
        <p:nvSpPr>
          <p:cNvPr id="1580" name="Rectangle: Rounded Corners 1579">
            <a:extLst>
              <a:ext uri="{FF2B5EF4-FFF2-40B4-BE49-F238E27FC236}">
                <a16:creationId xmlns:a16="http://schemas.microsoft.com/office/drawing/2014/main" id="{5384D43E-7977-4DBF-8EF9-D216B45CE946}"/>
              </a:ext>
            </a:extLst>
          </p:cNvPr>
          <p:cNvSpPr/>
          <p:nvPr/>
        </p:nvSpPr>
        <p:spPr>
          <a:xfrm>
            <a:off x="4139263" y="1484796"/>
            <a:ext cx="4140000" cy="297273"/>
          </a:xfrm>
          <a:prstGeom prst="roundRect">
            <a:avLst>
              <a:gd name="adj" fmla="val 19395"/>
            </a:avLst>
          </a:prstGeom>
          <a:solidFill>
            <a:srgbClr val="C00000"/>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latin typeface="Calibri"/>
                <a:ea typeface="Verdana" panose="020B0604030504040204" pitchFamily="34" charset="0"/>
                <a:cs typeface="+mn-cs"/>
              </a:rPr>
              <a:t>Snapshot of our IPs &amp; Solutions Lens</a:t>
            </a:r>
          </a:p>
        </p:txBody>
      </p:sp>
      <p:cxnSp>
        <p:nvCxnSpPr>
          <p:cNvPr id="1581" name="Straight Connector 1580">
            <a:extLst>
              <a:ext uri="{FF2B5EF4-FFF2-40B4-BE49-F238E27FC236}">
                <a16:creationId xmlns:a16="http://schemas.microsoft.com/office/drawing/2014/main" id="{E9D1C3EB-822A-3729-BD97-49077CF6F275}"/>
              </a:ext>
            </a:extLst>
          </p:cNvPr>
          <p:cNvCxnSpPr>
            <a:cxnSpLocks/>
          </p:cNvCxnSpPr>
          <p:nvPr/>
        </p:nvCxnSpPr>
        <p:spPr>
          <a:xfrm>
            <a:off x="2189187" y="4069446"/>
            <a:ext cx="0" cy="1601673"/>
          </a:xfrm>
          <a:prstGeom prst="line">
            <a:avLst/>
          </a:prstGeom>
          <a:noFill/>
          <a:ln w="6350" cap="flat" cmpd="sng" algn="ctr">
            <a:solidFill>
              <a:sysClr val="window" lastClr="FFFFFF">
                <a:lumMod val="85000"/>
              </a:sysClr>
            </a:solidFill>
            <a:prstDash val="solid"/>
            <a:miter lim="800000"/>
          </a:ln>
          <a:effectLst/>
        </p:spPr>
      </p:cxnSp>
      <p:pic>
        <p:nvPicPr>
          <p:cNvPr id="1582" name="Picture 1581">
            <a:extLst>
              <a:ext uri="{FF2B5EF4-FFF2-40B4-BE49-F238E27FC236}">
                <a16:creationId xmlns:a16="http://schemas.microsoft.com/office/drawing/2014/main" id="{82DEC709-DFF2-B98D-935B-B6C86B9B6A95}"/>
              </a:ext>
            </a:extLst>
          </p:cNvPr>
          <p:cNvPicPr>
            <a:picLocks noChangeAspect="1"/>
          </p:cNvPicPr>
          <p:nvPr/>
        </p:nvPicPr>
        <p:blipFill>
          <a:blip r:embed="rId13"/>
          <a:stretch>
            <a:fillRect/>
          </a:stretch>
        </p:blipFill>
        <p:spPr>
          <a:xfrm>
            <a:off x="10743637" y="2248700"/>
            <a:ext cx="702484" cy="228136"/>
          </a:xfrm>
          <a:prstGeom prst="rect">
            <a:avLst/>
          </a:prstGeom>
        </p:spPr>
      </p:pic>
      <p:pic>
        <p:nvPicPr>
          <p:cNvPr id="1583" name="Picture 1582">
            <a:extLst>
              <a:ext uri="{FF2B5EF4-FFF2-40B4-BE49-F238E27FC236}">
                <a16:creationId xmlns:a16="http://schemas.microsoft.com/office/drawing/2014/main" id="{4DFCE301-BD2E-8D32-2CDD-E2BA2D5B0AA6}"/>
              </a:ext>
            </a:extLst>
          </p:cNvPr>
          <p:cNvPicPr>
            <a:picLocks noChangeAspect="1"/>
          </p:cNvPicPr>
          <p:nvPr/>
        </p:nvPicPr>
        <p:blipFill rotWithShape="1">
          <a:blip r:embed="rId14"/>
          <a:srcRect l="5614" t="11661" r="5380" b="13998"/>
          <a:stretch/>
        </p:blipFill>
        <p:spPr>
          <a:xfrm>
            <a:off x="9721424" y="2482444"/>
            <a:ext cx="828175" cy="228136"/>
          </a:xfrm>
          <a:prstGeom prst="rect">
            <a:avLst/>
          </a:prstGeom>
        </p:spPr>
      </p:pic>
      <p:pic>
        <p:nvPicPr>
          <p:cNvPr id="1584" name="Picture 1583" descr="AI-Driven Autonomous Testing Pioneer ...">
            <a:extLst>
              <a:ext uri="{FF2B5EF4-FFF2-40B4-BE49-F238E27FC236}">
                <a16:creationId xmlns:a16="http://schemas.microsoft.com/office/drawing/2014/main" id="{5CB82D74-8F2D-E3D3-515E-6A30889B732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9456" b="27358"/>
          <a:stretch/>
        </p:blipFill>
        <p:spPr bwMode="auto">
          <a:xfrm>
            <a:off x="10579883" y="2755799"/>
            <a:ext cx="876410" cy="197783"/>
          </a:xfrm>
          <a:prstGeom prst="rect">
            <a:avLst/>
          </a:prstGeom>
          <a:noFill/>
          <a:extLst>
            <a:ext uri="{909E8E84-426E-40DD-AFC4-6F175D3DCCD1}">
              <a14:hiddenFill xmlns:a14="http://schemas.microsoft.com/office/drawing/2010/main">
                <a:solidFill>
                  <a:srgbClr val="FFFFFF"/>
                </a:solidFill>
              </a14:hiddenFill>
            </a:ext>
          </a:extLst>
        </p:spPr>
      </p:pic>
      <p:pic>
        <p:nvPicPr>
          <p:cNvPr id="1585" name="Picture 2" descr="How to test Referential Data Integrity ...">
            <a:extLst>
              <a:ext uri="{FF2B5EF4-FFF2-40B4-BE49-F238E27FC236}">
                <a16:creationId xmlns:a16="http://schemas.microsoft.com/office/drawing/2014/main" id="{F97A2383-825C-3B09-DB0C-EAB7D2C88E3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30096" b="28111"/>
          <a:stretch/>
        </p:blipFill>
        <p:spPr bwMode="auto">
          <a:xfrm>
            <a:off x="8557566" y="3846125"/>
            <a:ext cx="490586" cy="205025"/>
          </a:xfrm>
          <a:prstGeom prst="rect">
            <a:avLst/>
          </a:prstGeom>
          <a:noFill/>
          <a:extLst>
            <a:ext uri="{909E8E84-426E-40DD-AFC4-6F175D3DCCD1}">
              <a14:hiddenFill xmlns:a14="http://schemas.microsoft.com/office/drawing/2010/main">
                <a:solidFill>
                  <a:srgbClr val="FFFFFF"/>
                </a:solidFill>
              </a14:hiddenFill>
            </a:ext>
          </a:extLst>
        </p:spPr>
      </p:pic>
      <p:sp>
        <p:nvSpPr>
          <p:cNvPr id="1586" name="Rectangle: Rounded Corners 1585">
            <a:extLst>
              <a:ext uri="{FF2B5EF4-FFF2-40B4-BE49-F238E27FC236}">
                <a16:creationId xmlns:a16="http://schemas.microsoft.com/office/drawing/2014/main" id="{48BF155E-ADC8-FFB7-9D39-80DBC766F5EB}"/>
              </a:ext>
            </a:extLst>
          </p:cNvPr>
          <p:cNvSpPr/>
          <p:nvPr/>
        </p:nvSpPr>
        <p:spPr>
          <a:xfrm>
            <a:off x="6359807" y="4686964"/>
            <a:ext cx="3712061" cy="297273"/>
          </a:xfrm>
          <a:prstGeom prst="roundRect">
            <a:avLst>
              <a:gd name="adj" fmla="val 19395"/>
            </a:avLst>
          </a:prstGeom>
          <a:solidFill>
            <a:srgbClr val="C00000"/>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a:ea typeface="Verdana" panose="020B0604030504040204" pitchFamily="34" charset="0"/>
                <a:cs typeface="+mn-cs"/>
              </a:rPr>
              <a:t>Recent Industry Recognitions</a:t>
            </a:r>
          </a:p>
        </p:txBody>
      </p:sp>
      <p:sp>
        <p:nvSpPr>
          <p:cNvPr id="1588" name="Oval 1587">
            <a:extLst>
              <a:ext uri="{FF2B5EF4-FFF2-40B4-BE49-F238E27FC236}">
                <a16:creationId xmlns:a16="http://schemas.microsoft.com/office/drawing/2014/main" id="{C079E65B-021A-75B6-AFE1-B1DC5546491E}"/>
              </a:ext>
            </a:extLst>
          </p:cNvPr>
          <p:cNvSpPr/>
          <p:nvPr/>
        </p:nvSpPr>
        <p:spPr>
          <a:xfrm>
            <a:off x="8170713" y="5235201"/>
            <a:ext cx="274320" cy="27432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Light"/>
                <a:ea typeface="+mn-ea"/>
                <a:cs typeface="+mn-cs"/>
              </a:rPr>
              <a:t>n</a:t>
            </a:r>
          </a:p>
        </p:txBody>
      </p:sp>
      <p:sp>
        <p:nvSpPr>
          <p:cNvPr id="1589" name="Oval 1588">
            <a:extLst>
              <a:ext uri="{FF2B5EF4-FFF2-40B4-BE49-F238E27FC236}">
                <a16:creationId xmlns:a16="http://schemas.microsoft.com/office/drawing/2014/main" id="{9AA870F2-388C-BDFC-F10B-ACF2046EE3A1}"/>
              </a:ext>
            </a:extLst>
          </p:cNvPr>
          <p:cNvSpPr/>
          <p:nvPr/>
        </p:nvSpPr>
        <p:spPr>
          <a:xfrm>
            <a:off x="11142111" y="5220523"/>
            <a:ext cx="274320" cy="27432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Light"/>
                <a:ea typeface="+mn-ea"/>
                <a:cs typeface="+mn-cs"/>
              </a:rPr>
              <a:t>n</a:t>
            </a:r>
          </a:p>
        </p:txBody>
      </p:sp>
      <p:sp>
        <p:nvSpPr>
          <p:cNvPr id="1590" name="Rectangle 1589">
            <a:extLst>
              <a:ext uri="{FF2B5EF4-FFF2-40B4-BE49-F238E27FC236}">
                <a16:creationId xmlns:a16="http://schemas.microsoft.com/office/drawing/2014/main" id="{DD4D140E-D263-A487-B0E8-0AEB03B56CCB}"/>
              </a:ext>
            </a:extLst>
          </p:cNvPr>
          <p:cNvSpPr/>
          <p:nvPr/>
        </p:nvSpPr>
        <p:spPr>
          <a:xfrm>
            <a:off x="4693461" y="5014640"/>
            <a:ext cx="3526514" cy="524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1" indent="0" algn="l" defTabSz="914363" rtl="0" eaLnBrk="1" fontAlgn="auto" latinLnBrk="0" hangingPunct="1">
              <a:lnSpc>
                <a:spcPct val="110000"/>
              </a:lnSpc>
              <a:spcBef>
                <a:spcPts val="0"/>
              </a:spcBef>
              <a:spcAft>
                <a:spcPts val="0"/>
              </a:spcAft>
              <a:buClr>
                <a:srgbClr val="FF0000"/>
              </a:buClr>
              <a:buSzPct val="80000"/>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Recognized as a </a:t>
            </a:r>
            <a:r>
              <a:rPr kumimoji="0" lang="en-US" sz="1050" b="1" i="0" u="none" strike="noStrike" kern="1200" cap="none" spc="0" normalizeH="0" baseline="0" noProof="0" dirty="0">
                <a:ln>
                  <a:noFill/>
                </a:ln>
                <a:solidFill>
                  <a:prstClr val="black"/>
                </a:solidFill>
                <a:effectLst/>
                <a:uLnTx/>
                <a:uFillTx/>
                <a:latin typeface="Calibri"/>
                <a:ea typeface="+mn-ea"/>
                <a:cs typeface="+mn-cs"/>
              </a:rPr>
              <a:t>‘Leader’</a:t>
            </a:r>
            <a:r>
              <a:rPr kumimoji="0" lang="en-US" sz="1050" b="0" i="0" u="none" strike="noStrike" kern="1200" cap="none" spc="0" normalizeH="0" baseline="0" noProof="0" dirty="0">
                <a:ln>
                  <a:noFill/>
                </a:ln>
                <a:solidFill>
                  <a:prstClr val="black"/>
                </a:solidFill>
                <a:effectLst/>
                <a:uLnTx/>
                <a:uFillTx/>
                <a:latin typeface="Calibri"/>
                <a:ea typeface="+mn-ea"/>
                <a:cs typeface="+mn-cs"/>
              </a:rPr>
              <a:t> in </a:t>
            </a:r>
            <a:r>
              <a:rPr kumimoji="0" lang="en-US" sz="1050" b="1" i="0" u="none" strike="noStrike" kern="1200" cap="none" spc="0" normalizeH="0" baseline="0" noProof="0" dirty="0">
                <a:ln>
                  <a:noFill/>
                </a:ln>
                <a:solidFill>
                  <a:prstClr val="black"/>
                </a:solidFill>
                <a:effectLst/>
                <a:uLnTx/>
                <a:uFillTx/>
                <a:latin typeface="Calibri"/>
                <a:ea typeface="+mn-ea"/>
                <a:cs typeface="+mn-cs"/>
              </a:rPr>
              <a:t>Continuous Testing Specialists </a:t>
            </a:r>
            <a:r>
              <a:rPr kumimoji="0" lang="en-US" sz="1050" b="0" i="0" u="none" strike="noStrike" kern="1200" cap="none" spc="0" normalizeH="0" baseline="0" noProof="0" dirty="0">
                <a:ln>
                  <a:noFill/>
                </a:ln>
                <a:solidFill>
                  <a:prstClr val="black"/>
                </a:solidFill>
                <a:effectLst/>
                <a:uLnTx/>
                <a:uFillTx/>
                <a:latin typeface="Calibri"/>
                <a:ea typeface="+mn-ea"/>
                <a:cs typeface="+mn-cs"/>
              </a:rPr>
              <a:t>(US Region) in </a:t>
            </a:r>
            <a:r>
              <a:rPr kumimoji="0" lang="en-US" sz="1050" b="1" i="0" u="none" strike="noStrike" kern="1200" cap="none" spc="0" normalizeH="0" baseline="0" noProof="0" dirty="0">
                <a:ln>
                  <a:noFill/>
                </a:ln>
                <a:solidFill>
                  <a:prstClr val="black"/>
                </a:solidFill>
                <a:effectLst/>
                <a:uLnTx/>
                <a:uFillTx/>
                <a:latin typeface="Calibri"/>
                <a:ea typeface="+mn-ea"/>
                <a:cs typeface="+mn-cs"/>
              </a:rPr>
              <a:t>ISG Provider Lens™ Quadrant study on AI-driven Next-Gen ADM Services 2025 </a:t>
            </a:r>
            <a:r>
              <a:rPr lang="en-US" sz="1050" dirty="0">
                <a:solidFill>
                  <a:prstClr val="black"/>
                </a:solidFill>
                <a:latin typeface="Calibri"/>
              </a:rPr>
              <a:t>(</a:t>
            </a:r>
            <a:r>
              <a:rPr kumimoji="0" lang="en-US" sz="1050" b="1" i="0" u="none" strike="noStrike" kern="1200" cap="none" spc="0" normalizeH="0" baseline="0" noProof="0" dirty="0">
                <a:ln>
                  <a:noFill/>
                </a:ln>
                <a:solidFill>
                  <a:prstClr val="black"/>
                </a:solidFill>
                <a:effectLst/>
                <a:uLnTx/>
                <a:uFillTx/>
                <a:latin typeface="Calibri"/>
                <a:ea typeface="+mn-ea"/>
                <a:cs typeface="+mn-cs"/>
              </a:rPr>
              <a:t>5</a:t>
            </a:r>
            <a:r>
              <a:rPr kumimoji="0" lang="en-US" sz="1050" b="1" i="0" u="none" strike="noStrike" kern="1200" cap="none" spc="0" normalizeH="0" baseline="30000" noProof="0" dirty="0">
                <a:ln>
                  <a:noFill/>
                </a:ln>
                <a:solidFill>
                  <a:prstClr val="black"/>
                </a:solidFill>
                <a:effectLst/>
                <a:uLnTx/>
                <a:uFillTx/>
                <a:latin typeface="Calibri"/>
                <a:ea typeface="+mn-ea"/>
                <a:cs typeface="+mn-cs"/>
              </a:rPr>
              <a:t>th</a:t>
            </a:r>
            <a:r>
              <a:rPr kumimoji="0" lang="en-US" sz="1050" b="1" i="0" u="none" strike="noStrike" kern="1200" cap="none" spc="0" normalizeH="0" baseline="0" noProof="0" dirty="0">
                <a:ln>
                  <a:noFill/>
                </a:ln>
                <a:solidFill>
                  <a:prstClr val="black"/>
                </a:solidFill>
                <a:effectLst/>
                <a:uLnTx/>
                <a:uFillTx/>
                <a:latin typeface="Calibri"/>
                <a:ea typeface="+mn-ea"/>
                <a:cs typeface="+mn-cs"/>
              </a:rPr>
              <a:t> Consecutive year)</a:t>
            </a:r>
          </a:p>
        </p:txBody>
      </p:sp>
      <p:sp>
        <p:nvSpPr>
          <p:cNvPr id="1591" name="Rectangle 1590">
            <a:extLst>
              <a:ext uri="{FF2B5EF4-FFF2-40B4-BE49-F238E27FC236}">
                <a16:creationId xmlns:a16="http://schemas.microsoft.com/office/drawing/2014/main" id="{C9E920D6-2A88-9C7F-B9BE-5D3F9AA8F6B0}"/>
              </a:ext>
            </a:extLst>
          </p:cNvPr>
          <p:cNvSpPr/>
          <p:nvPr/>
        </p:nvSpPr>
        <p:spPr>
          <a:xfrm>
            <a:off x="6601576" y="5605299"/>
            <a:ext cx="3054219" cy="524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1" indent="0" algn="l" defTabSz="914363" rtl="0" eaLnBrk="1" fontAlgn="auto" latinLnBrk="0" hangingPunct="1">
              <a:lnSpc>
                <a:spcPct val="110000"/>
              </a:lnSpc>
              <a:spcBef>
                <a:spcPts val="0"/>
              </a:spcBef>
              <a:spcAft>
                <a:spcPts val="0"/>
              </a:spcAft>
              <a:buClr>
                <a:srgbClr val="FF0000"/>
              </a:buClr>
              <a:buSzPct val="80000"/>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Recognized as a </a:t>
            </a:r>
            <a:r>
              <a:rPr kumimoji="0" lang="en-US" sz="1050" b="1" i="0" u="none" strike="noStrike" kern="1200" cap="none" spc="0" normalizeH="0" baseline="0" noProof="0" dirty="0">
                <a:ln>
                  <a:noFill/>
                </a:ln>
                <a:solidFill>
                  <a:prstClr val="black"/>
                </a:solidFill>
                <a:effectLst/>
                <a:uLnTx/>
                <a:uFillTx/>
                <a:latin typeface="Calibri"/>
                <a:ea typeface="+mn-ea"/>
                <a:cs typeface="+mn-cs"/>
              </a:rPr>
              <a:t>‘Major Contender’</a:t>
            </a:r>
            <a:r>
              <a:rPr kumimoji="0" lang="en-US" sz="1050" b="0" i="0" u="none" strike="noStrike" kern="1200" cap="none" spc="0" normalizeH="0" baseline="0" noProof="0" dirty="0">
                <a:ln>
                  <a:noFill/>
                </a:ln>
                <a:solidFill>
                  <a:prstClr val="black"/>
                </a:solidFill>
                <a:effectLst/>
                <a:uLnTx/>
                <a:uFillTx/>
                <a:latin typeface="Calibri"/>
                <a:ea typeface="+mn-ea"/>
                <a:cs typeface="+mn-cs"/>
              </a:rPr>
              <a:t> Quality Engineering (QE) Services for Mid-market Enterprises, Everest Group PEAK Matrix® Assessment 2024</a:t>
            </a: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p:txBody>
      </p:sp>
      <p:sp>
        <p:nvSpPr>
          <p:cNvPr id="1592" name="Rectangle 1591">
            <a:extLst>
              <a:ext uri="{FF2B5EF4-FFF2-40B4-BE49-F238E27FC236}">
                <a16:creationId xmlns:a16="http://schemas.microsoft.com/office/drawing/2014/main" id="{85C4FD4E-4872-5F0B-6C9A-A51DAB4A9889}"/>
              </a:ext>
            </a:extLst>
          </p:cNvPr>
          <p:cNvSpPr/>
          <p:nvPr/>
        </p:nvSpPr>
        <p:spPr>
          <a:xfrm>
            <a:off x="8669212" y="5020640"/>
            <a:ext cx="3162370" cy="524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1" indent="0" algn="l" defTabSz="914363" rtl="0" eaLnBrk="1" fontAlgn="auto" latinLnBrk="0" hangingPunct="1">
              <a:lnSpc>
                <a:spcPct val="110000"/>
              </a:lnSpc>
              <a:spcBef>
                <a:spcPts val="0"/>
              </a:spcBef>
              <a:spcAft>
                <a:spcPts val="0"/>
              </a:spcAft>
              <a:buClr>
                <a:srgbClr val="FF0000"/>
              </a:buClr>
              <a:buSzPct val="80000"/>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Recognized as a </a:t>
            </a:r>
            <a:r>
              <a:rPr kumimoji="0" lang="en-US" sz="1050" b="1" i="0" u="none" strike="noStrike" kern="1200" cap="none" spc="0" normalizeH="0" baseline="0" noProof="0" dirty="0">
                <a:ln>
                  <a:noFill/>
                </a:ln>
                <a:solidFill>
                  <a:prstClr val="black"/>
                </a:solidFill>
                <a:effectLst/>
                <a:uLnTx/>
                <a:uFillTx/>
                <a:latin typeface="Calibri"/>
                <a:ea typeface="+mn-ea"/>
                <a:cs typeface="+mn-cs"/>
              </a:rPr>
              <a:t>‘Major Contender’</a:t>
            </a:r>
            <a:r>
              <a:rPr kumimoji="0" lang="en-US" sz="1050" b="0" i="0" u="none" strike="noStrike" kern="1200" cap="none" spc="0" normalizeH="0" baseline="0" noProof="0" dirty="0">
                <a:ln>
                  <a:noFill/>
                </a:ln>
                <a:solidFill>
                  <a:prstClr val="black"/>
                </a:solidFill>
                <a:effectLst/>
                <a:uLnTx/>
                <a:uFillTx/>
                <a:latin typeface="Calibri"/>
                <a:ea typeface="+mn-ea"/>
                <a:cs typeface="+mn-cs"/>
              </a:rPr>
              <a:t> Quality Engineering (QE) Services for AI Applications and Systems, Everest Group PEAK Matrix® Assessment 2024</a:t>
            </a: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593" name="Group 1592">
            <a:extLst>
              <a:ext uri="{FF2B5EF4-FFF2-40B4-BE49-F238E27FC236}">
                <a16:creationId xmlns:a16="http://schemas.microsoft.com/office/drawing/2014/main" id="{45B65410-9FB3-3EAC-63E7-902A3EE23198}"/>
              </a:ext>
            </a:extLst>
          </p:cNvPr>
          <p:cNvGrpSpPr/>
          <p:nvPr/>
        </p:nvGrpSpPr>
        <p:grpSpPr>
          <a:xfrm>
            <a:off x="4304958" y="5086856"/>
            <a:ext cx="309304" cy="309304"/>
            <a:chOff x="8206633" y="2021518"/>
            <a:chExt cx="309304" cy="309304"/>
          </a:xfrm>
        </p:grpSpPr>
        <p:sp>
          <p:nvSpPr>
            <p:cNvPr id="1594" name="Oval 1593">
              <a:extLst>
                <a:ext uri="{FF2B5EF4-FFF2-40B4-BE49-F238E27FC236}">
                  <a16:creationId xmlns:a16="http://schemas.microsoft.com/office/drawing/2014/main" id="{AFEE6E58-42E1-A1BD-8307-D802195309AF}"/>
                </a:ext>
              </a:extLst>
            </p:cNvPr>
            <p:cNvSpPr/>
            <p:nvPr/>
          </p:nvSpPr>
          <p:spPr>
            <a:xfrm>
              <a:off x="8206633" y="2021518"/>
              <a:ext cx="309304" cy="309304"/>
            </a:xfrm>
            <a:prstGeom prst="ellipse">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a:ea typeface="+mn-ea"/>
                  <a:cs typeface="+mn-cs"/>
                </a:rPr>
                <a:t>n</a:t>
              </a:r>
            </a:p>
          </p:txBody>
        </p:sp>
        <p:pic>
          <p:nvPicPr>
            <p:cNvPr id="1595" name="Graphic 1594" descr="Trophy with solid fill">
              <a:extLst>
                <a:ext uri="{FF2B5EF4-FFF2-40B4-BE49-F238E27FC236}">
                  <a16:creationId xmlns:a16="http://schemas.microsoft.com/office/drawing/2014/main" id="{36300B57-207D-62C0-C07B-07832E55C399}"/>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264234" y="2091359"/>
              <a:ext cx="207097" cy="207097"/>
            </a:xfrm>
            <a:prstGeom prst="rect">
              <a:avLst/>
            </a:prstGeom>
          </p:spPr>
        </p:pic>
      </p:grpSp>
      <p:grpSp>
        <p:nvGrpSpPr>
          <p:cNvPr id="1596" name="Group 1595">
            <a:extLst>
              <a:ext uri="{FF2B5EF4-FFF2-40B4-BE49-F238E27FC236}">
                <a16:creationId xmlns:a16="http://schemas.microsoft.com/office/drawing/2014/main" id="{0B6943B5-2790-E817-335D-C5D178143F0D}"/>
              </a:ext>
            </a:extLst>
          </p:cNvPr>
          <p:cNvGrpSpPr/>
          <p:nvPr/>
        </p:nvGrpSpPr>
        <p:grpSpPr>
          <a:xfrm>
            <a:off x="8199460" y="5122144"/>
            <a:ext cx="309304" cy="309304"/>
            <a:chOff x="8202245" y="2030241"/>
            <a:chExt cx="309304" cy="309304"/>
          </a:xfrm>
        </p:grpSpPr>
        <p:sp>
          <p:nvSpPr>
            <p:cNvPr id="1597" name="Oval 1596">
              <a:extLst>
                <a:ext uri="{FF2B5EF4-FFF2-40B4-BE49-F238E27FC236}">
                  <a16:creationId xmlns:a16="http://schemas.microsoft.com/office/drawing/2014/main" id="{709E534A-B51A-8541-CC0C-D289B6A96A1D}"/>
                </a:ext>
              </a:extLst>
            </p:cNvPr>
            <p:cNvSpPr/>
            <p:nvPr/>
          </p:nvSpPr>
          <p:spPr>
            <a:xfrm>
              <a:off x="8202245" y="2030241"/>
              <a:ext cx="309304" cy="309304"/>
            </a:xfrm>
            <a:prstGeom prst="ellipse">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a:ea typeface="+mn-ea"/>
                  <a:cs typeface="+mn-cs"/>
                </a:rPr>
                <a:t>n</a:t>
              </a:r>
            </a:p>
          </p:txBody>
        </p:sp>
        <p:pic>
          <p:nvPicPr>
            <p:cNvPr id="1598" name="Graphic 1597" descr="Trophy with solid fill">
              <a:extLst>
                <a:ext uri="{FF2B5EF4-FFF2-40B4-BE49-F238E27FC236}">
                  <a16:creationId xmlns:a16="http://schemas.microsoft.com/office/drawing/2014/main" id="{706E633F-F91C-B151-8DA8-6CB0D36B915E}"/>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264234" y="2091359"/>
              <a:ext cx="207097" cy="207097"/>
            </a:xfrm>
            <a:prstGeom prst="rect">
              <a:avLst/>
            </a:prstGeom>
          </p:spPr>
        </p:pic>
      </p:grpSp>
      <p:grpSp>
        <p:nvGrpSpPr>
          <p:cNvPr id="1599" name="Group 1598">
            <a:extLst>
              <a:ext uri="{FF2B5EF4-FFF2-40B4-BE49-F238E27FC236}">
                <a16:creationId xmlns:a16="http://schemas.microsoft.com/office/drawing/2014/main" id="{D74BDC6B-7333-496F-98C0-8D584BAD24A2}"/>
              </a:ext>
            </a:extLst>
          </p:cNvPr>
          <p:cNvGrpSpPr/>
          <p:nvPr/>
        </p:nvGrpSpPr>
        <p:grpSpPr>
          <a:xfrm>
            <a:off x="6201878" y="5683309"/>
            <a:ext cx="309304" cy="309304"/>
            <a:chOff x="8202245" y="2030241"/>
            <a:chExt cx="309304" cy="309304"/>
          </a:xfrm>
        </p:grpSpPr>
        <p:sp>
          <p:nvSpPr>
            <p:cNvPr id="1600" name="Oval 1599">
              <a:extLst>
                <a:ext uri="{FF2B5EF4-FFF2-40B4-BE49-F238E27FC236}">
                  <a16:creationId xmlns:a16="http://schemas.microsoft.com/office/drawing/2014/main" id="{70CFDA57-6E79-24EA-8B2D-81800BDB4175}"/>
                </a:ext>
              </a:extLst>
            </p:cNvPr>
            <p:cNvSpPr/>
            <p:nvPr/>
          </p:nvSpPr>
          <p:spPr>
            <a:xfrm>
              <a:off x="8202245" y="2030241"/>
              <a:ext cx="309304" cy="309304"/>
            </a:xfrm>
            <a:prstGeom prst="ellipse">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Light"/>
                  <a:ea typeface="+mn-ea"/>
                  <a:cs typeface="+mn-cs"/>
                </a:rPr>
                <a:t>n</a:t>
              </a:r>
            </a:p>
          </p:txBody>
        </p:sp>
        <p:pic>
          <p:nvPicPr>
            <p:cNvPr id="1601" name="Graphic 1600" descr="Trophy with solid fill">
              <a:extLst>
                <a:ext uri="{FF2B5EF4-FFF2-40B4-BE49-F238E27FC236}">
                  <a16:creationId xmlns:a16="http://schemas.microsoft.com/office/drawing/2014/main" id="{927FA73B-30D5-63A7-B676-7660012ED2FD}"/>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264234" y="2091359"/>
              <a:ext cx="207097" cy="207097"/>
            </a:xfrm>
            <a:prstGeom prst="rect">
              <a:avLst/>
            </a:prstGeom>
          </p:spPr>
        </p:pic>
      </p:grpSp>
      <p:pic>
        <p:nvPicPr>
          <p:cNvPr id="1602" name="Picture 1601" descr="A logo with a lion head&#10;&#10;AI-generated content may be incorrect.">
            <a:extLst>
              <a:ext uri="{FF2B5EF4-FFF2-40B4-BE49-F238E27FC236}">
                <a16:creationId xmlns:a16="http://schemas.microsoft.com/office/drawing/2014/main" id="{FB35FFB3-3D40-BA23-0A7C-AAF64F7C9CF0}"/>
              </a:ext>
            </a:extLst>
          </p:cNvPr>
          <p:cNvPicPr>
            <a:picLocks noChangeAspect="1"/>
          </p:cNvPicPr>
          <p:nvPr/>
        </p:nvPicPr>
        <p:blipFill>
          <a:blip r:embed="rId18">
            <a:extLst>
              <a:ext uri="{28A0092B-C50C-407E-A947-70E740481C1C}">
                <a14:useLocalDpi xmlns:a14="http://schemas.microsoft.com/office/drawing/2010/main" val="0"/>
              </a:ext>
            </a:extLst>
          </a:blip>
          <a:srcRect l="14553" t="16425" r="12358" b="18903"/>
          <a:stretch/>
        </p:blipFill>
        <p:spPr>
          <a:xfrm>
            <a:off x="5256820" y="2830480"/>
            <a:ext cx="1947808" cy="969481"/>
          </a:xfrm>
          <a:prstGeom prst="rect">
            <a:avLst/>
          </a:prstGeom>
        </p:spPr>
      </p:pic>
      <p:sp>
        <p:nvSpPr>
          <p:cNvPr id="1603" name="TextBox 1602">
            <a:extLst>
              <a:ext uri="{FF2B5EF4-FFF2-40B4-BE49-F238E27FC236}">
                <a16:creationId xmlns:a16="http://schemas.microsoft.com/office/drawing/2014/main" id="{57FCC330-1B13-1552-F71C-C1C68EA2F535}"/>
              </a:ext>
            </a:extLst>
          </p:cNvPr>
          <p:cNvSpPr txBox="1"/>
          <p:nvPr/>
        </p:nvSpPr>
        <p:spPr>
          <a:xfrm>
            <a:off x="5014580" y="3668733"/>
            <a:ext cx="2442810" cy="461665"/>
          </a:xfrm>
          <a:prstGeom prst="rect">
            <a:avLst/>
          </a:prstGeom>
          <a:noFill/>
        </p:spPr>
        <p:txBody>
          <a:bodyPr wrap="square" rtlCol="0">
            <a:spAutoFit/>
          </a:bodyPr>
          <a:lstStyle/>
          <a:p>
            <a:pPr algn="ctr"/>
            <a:r>
              <a:rPr lang="en-US" sz="1200" b="1">
                <a:latin typeface="Aptos Display" panose="02110004020202020204"/>
              </a:rPr>
              <a:t>Birlasoft Lynx </a:t>
            </a:r>
          </a:p>
          <a:p>
            <a:pPr algn="ctr"/>
            <a:r>
              <a:rPr lang="en-US" sz="1200" b="1">
                <a:latin typeface="Aptos Display" panose="02110004020202020204"/>
              </a:rPr>
              <a:t>AI-based Test Platform</a:t>
            </a:r>
          </a:p>
        </p:txBody>
      </p:sp>
      <p:pic>
        <p:nvPicPr>
          <p:cNvPr id="1604" name="Picture 1603">
            <a:extLst>
              <a:ext uri="{FF2B5EF4-FFF2-40B4-BE49-F238E27FC236}">
                <a16:creationId xmlns:a16="http://schemas.microsoft.com/office/drawing/2014/main" id="{FAB8E7BB-824B-D70F-7594-8946FE95E873}"/>
              </a:ext>
            </a:extLst>
          </p:cNvPr>
          <p:cNvPicPr>
            <a:picLocks noChangeAspect="1"/>
          </p:cNvPicPr>
          <p:nvPr/>
        </p:nvPicPr>
        <p:blipFill>
          <a:blip r:embed="rId19"/>
          <a:stretch>
            <a:fillRect/>
          </a:stretch>
        </p:blipFill>
        <p:spPr>
          <a:xfrm>
            <a:off x="7023828" y="1940290"/>
            <a:ext cx="1008821" cy="790834"/>
          </a:xfrm>
          <a:prstGeom prst="rect">
            <a:avLst/>
          </a:prstGeom>
        </p:spPr>
      </p:pic>
      <p:sp>
        <p:nvSpPr>
          <p:cNvPr id="1605" name="Oval 1604">
            <a:extLst>
              <a:ext uri="{FF2B5EF4-FFF2-40B4-BE49-F238E27FC236}">
                <a16:creationId xmlns:a16="http://schemas.microsoft.com/office/drawing/2014/main" id="{3335ACA9-D67C-EC1E-E5F0-1E2A79369514}"/>
              </a:ext>
            </a:extLst>
          </p:cNvPr>
          <p:cNvSpPr/>
          <p:nvPr/>
        </p:nvSpPr>
        <p:spPr>
          <a:xfrm>
            <a:off x="5170996" y="2340500"/>
            <a:ext cx="2160000" cy="2160000"/>
          </a:xfrm>
          <a:prstGeom prst="ellipse">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606" name="Picture 1605">
            <a:extLst>
              <a:ext uri="{FF2B5EF4-FFF2-40B4-BE49-F238E27FC236}">
                <a16:creationId xmlns:a16="http://schemas.microsoft.com/office/drawing/2014/main" id="{D316BD78-5D25-B267-4281-690D5CA03DCE}"/>
              </a:ext>
            </a:extLst>
          </p:cNvPr>
          <p:cNvPicPr>
            <a:picLocks noChangeAspect="1"/>
          </p:cNvPicPr>
          <p:nvPr/>
        </p:nvPicPr>
        <p:blipFill>
          <a:blip r:embed="rId20"/>
          <a:stretch>
            <a:fillRect/>
          </a:stretch>
        </p:blipFill>
        <p:spPr>
          <a:xfrm>
            <a:off x="4311182" y="3804859"/>
            <a:ext cx="1292690" cy="980661"/>
          </a:xfrm>
          <a:prstGeom prst="rect">
            <a:avLst/>
          </a:prstGeom>
        </p:spPr>
      </p:pic>
      <p:pic>
        <p:nvPicPr>
          <p:cNvPr id="1607" name="Picture 1606">
            <a:extLst>
              <a:ext uri="{FF2B5EF4-FFF2-40B4-BE49-F238E27FC236}">
                <a16:creationId xmlns:a16="http://schemas.microsoft.com/office/drawing/2014/main" id="{2A57572A-FF85-D60D-8D48-23F6FFAE74F8}"/>
              </a:ext>
            </a:extLst>
          </p:cNvPr>
          <p:cNvPicPr>
            <a:picLocks noChangeAspect="1"/>
          </p:cNvPicPr>
          <p:nvPr/>
        </p:nvPicPr>
        <p:blipFill>
          <a:blip r:embed="rId21"/>
          <a:stretch>
            <a:fillRect/>
          </a:stretch>
        </p:blipFill>
        <p:spPr>
          <a:xfrm>
            <a:off x="6979864" y="3910428"/>
            <a:ext cx="1155126" cy="824340"/>
          </a:xfrm>
          <a:prstGeom prst="rect">
            <a:avLst/>
          </a:prstGeom>
        </p:spPr>
      </p:pic>
      <p:pic>
        <p:nvPicPr>
          <p:cNvPr id="1608" name="Picture 1607">
            <a:extLst>
              <a:ext uri="{FF2B5EF4-FFF2-40B4-BE49-F238E27FC236}">
                <a16:creationId xmlns:a16="http://schemas.microsoft.com/office/drawing/2014/main" id="{9482AEED-AD0A-6088-88B0-DEC66A87DDA0}"/>
              </a:ext>
            </a:extLst>
          </p:cNvPr>
          <p:cNvPicPr>
            <a:picLocks noChangeAspect="1"/>
          </p:cNvPicPr>
          <p:nvPr/>
        </p:nvPicPr>
        <p:blipFill>
          <a:blip r:embed="rId22"/>
          <a:stretch>
            <a:fillRect/>
          </a:stretch>
        </p:blipFill>
        <p:spPr>
          <a:xfrm>
            <a:off x="4038058" y="2949218"/>
            <a:ext cx="1282922" cy="730968"/>
          </a:xfrm>
          <a:prstGeom prst="rect">
            <a:avLst/>
          </a:prstGeom>
        </p:spPr>
      </p:pic>
      <p:pic>
        <p:nvPicPr>
          <p:cNvPr id="1609" name="Picture 1608">
            <a:extLst>
              <a:ext uri="{FF2B5EF4-FFF2-40B4-BE49-F238E27FC236}">
                <a16:creationId xmlns:a16="http://schemas.microsoft.com/office/drawing/2014/main" id="{70FCF4AE-C742-B91D-2CC7-F82320EFAFF6}"/>
              </a:ext>
            </a:extLst>
          </p:cNvPr>
          <p:cNvPicPr>
            <a:picLocks noChangeAspect="1"/>
          </p:cNvPicPr>
          <p:nvPr/>
        </p:nvPicPr>
        <p:blipFill>
          <a:blip r:embed="rId23"/>
          <a:stretch>
            <a:fillRect/>
          </a:stretch>
        </p:blipFill>
        <p:spPr>
          <a:xfrm>
            <a:off x="7347908" y="2887060"/>
            <a:ext cx="941477" cy="790485"/>
          </a:xfrm>
          <a:prstGeom prst="rect">
            <a:avLst/>
          </a:prstGeom>
        </p:spPr>
      </p:pic>
      <p:pic>
        <p:nvPicPr>
          <p:cNvPr id="1610" name="Picture 1609">
            <a:extLst>
              <a:ext uri="{FF2B5EF4-FFF2-40B4-BE49-F238E27FC236}">
                <a16:creationId xmlns:a16="http://schemas.microsoft.com/office/drawing/2014/main" id="{45F5F79C-4F4C-6DA3-E344-E03A5264C5EE}"/>
              </a:ext>
            </a:extLst>
          </p:cNvPr>
          <p:cNvPicPr>
            <a:picLocks noChangeAspect="1"/>
          </p:cNvPicPr>
          <p:nvPr/>
        </p:nvPicPr>
        <p:blipFill>
          <a:blip r:embed="rId24"/>
          <a:stretch>
            <a:fillRect/>
          </a:stretch>
        </p:blipFill>
        <p:spPr>
          <a:xfrm>
            <a:off x="4469936" y="1822944"/>
            <a:ext cx="1096559" cy="1025526"/>
          </a:xfrm>
          <a:prstGeom prst="rect">
            <a:avLst/>
          </a:prstGeom>
        </p:spPr>
      </p:pic>
      <p:sp>
        <p:nvSpPr>
          <p:cNvPr id="1611" name="Rectangle: Rounded Corners 1610">
            <a:extLst>
              <a:ext uri="{FF2B5EF4-FFF2-40B4-BE49-F238E27FC236}">
                <a16:creationId xmlns:a16="http://schemas.microsoft.com/office/drawing/2014/main" id="{124BBD46-7200-83A3-E180-B9A3EB8EB182}"/>
              </a:ext>
            </a:extLst>
          </p:cNvPr>
          <p:cNvSpPr/>
          <p:nvPr/>
        </p:nvSpPr>
        <p:spPr>
          <a:xfrm>
            <a:off x="8343480" y="1484032"/>
            <a:ext cx="3240000" cy="298800"/>
          </a:xfrm>
          <a:prstGeom prst="roundRect">
            <a:avLst>
              <a:gd name="adj" fmla="val 19395"/>
            </a:avLst>
          </a:prstGeom>
          <a:solidFill>
            <a:srgbClr val="C00000"/>
          </a:solidFill>
          <a:ln w="3175">
            <a:solidFill>
              <a:sysClr val="window" lastClr="FFFFFF">
                <a:lumMod val="85000"/>
              </a:sysClr>
            </a:solidFill>
            <a:miter lim="800000"/>
            <a:headEnd/>
            <a:tailEnd/>
          </a:ln>
        </p:spPr>
        <p:txBody>
          <a:bodyPr wrap="square" anchor="ctr">
            <a:prstTxWarp prst="textNoShape">
              <a:avLst/>
            </a:prstTxWarp>
          </a:bodyPr>
          <a:lstStyle/>
          <a:p>
            <a:pPr marL="0" marR="0" lvl="0" indent="0" algn="ctr" defTabSz="121703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latin typeface="Calibri"/>
                <a:ea typeface="Verdana" panose="020B0604030504040204" pitchFamily="34" charset="0"/>
                <a:cs typeface="+mn-cs"/>
              </a:rPr>
              <a:t>Partnerships</a:t>
            </a:r>
          </a:p>
        </p:txBody>
      </p:sp>
      <p:pic>
        <p:nvPicPr>
          <p:cNvPr id="1612" name="Picture 1611">
            <a:extLst>
              <a:ext uri="{FF2B5EF4-FFF2-40B4-BE49-F238E27FC236}">
                <a16:creationId xmlns:a16="http://schemas.microsoft.com/office/drawing/2014/main" id="{40821E85-5648-37F2-940A-28D26AA01807}"/>
              </a:ext>
            </a:extLst>
          </p:cNvPr>
          <p:cNvPicPr>
            <a:picLocks noChangeAspect="1"/>
          </p:cNvPicPr>
          <p:nvPr/>
        </p:nvPicPr>
        <p:blipFill>
          <a:blip r:embed="rId25"/>
          <a:stretch>
            <a:fillRect/>
          </a:stretch>
        </p:blipFill>
        <p:spPr>
          <a:xfrm>
            <a:off x="9449793" y="3629029"/>
            <a:ext cx="846954" cy="206879"/>
          </a:xfrm>
          <a:prstGeom prst="rect">
            <a:avLst/>
          </a:prstGeom>
        </p:spPr>
      </p:pic>
      <p:pic>
        <p:nvPicPr>
          <p:cNvPr id="1613" name="Picture 1612">
            <a:extLst>
              <a:ext uri="{FF2B5EF4-FFF2-40B4-BE49-F238E27FC236}">
                <a16:creationId xmlns:a16="http://schemas.microsoft.com/office/drawing/2014/main" id="{723A2F74-7F61-0F13-7DF8-A7B2F63871DA}"/>
              </a:ext>
            </a:extLst>
          </p:cNvPr>
          <p:cNvPicPr>
            <a:picLocks noChangeAspect="1"/>
          </p:cNvPicPr>
          <p:nvPr/>
        </p:nvPicPr>
        <p:blipFill>
          <a:blip r:embed="rId26"/>
          <a:stretch>
            <a:fillRect/>
          </a:stretch>
        </p:blipFill>
        <p:spPr>
          <a:xfrm>
            <a:off x="10579834" y="3846125"/>
            <a:ext cx="913405" cy="172612"/>
          </a:xfrm>
          <a:prstGeom prst="rect">
            <a:avLst/>
          </a:prstGeom>
        </p:spPr>
      </p:pic>
      <p:pic>
        <p:nvPicPr>
          <p:cNvPr id="1614" name="Picture 1613">
            <a:extLst>
              <a:ext uri="{FF2B5EF4-FFF2-40B4-BE49-F238E27FC236}">
                <a16:creationId xmlns:a16="http://schemas.microsoft.com/office/drawing/2014/main" id="{18612D38-7FA2-5E65-AF2D-2E657A8385BE}"/>
              </a:ext>
            </a:extLst>
          </p:cNvPr>
          <p:cNvPicPr>
            <a:picLocks noChangeAspect="1"/>
          </p:cNvPicPr>
          <p:nvPr/>
        </p:nvPicPr>
        <p:blipFill>
          <a:blip r:embed="rId27"/>
          <a:stretch>
            <a:fillRect/>
          </a:stretch>
        </p:blipFill>
        <p:spPr>
          <a:xfrm>
            <a:off x="9465395" y="3990951"/>
            <a:ext cx="856511" cy="309699"/>
          </a:xfrm>
          <a:prstGeom prst="rect">
            <a:avLst/>
          </a:prstGeom>
        </p:spPr>
      </p:pic>
      <p:pic>
        <p:nvPicPr>
          <p:cNvPr id="1615" name="Picture 1614">
            <a:extLst>
              <a:ext uri="{FF2B5EF4-FFF2-40B4-BE49-F238E27FC236}">
                <a16:creationId xmlns:a16="http://schemas.microsoft.com/office/drawing/2014/main" id="{59F290FA-F008-B216-348D-4C53373D06DD}"/>
              </a:ext>
            </a:extLst>
          </p:cNvPr>
          <p:cNvPicPr>
            <a:picLocks noChangeAspect="1"/>
          </p:cNvPicPr>
          <p:nvPr/>
        </p:nvPicPr>
        <p:blipFill>
          <a:blip r:embed="rId28"/>
          <a:stretch>
            <a:fillRect/>
          </a:stretch>
        </p:blipFill>
        <p:spPr>
          <a:xfrm>
            <a:off x="8472285" y="3292900"/>
            <a:ext cx="902410" cy="176908"/>
          </a:xfrm>
          <a:prstGeom prst="rect">
            <a:avLst/>
          </a:prstGeom>
        </p:spPr>
      </p:pic>
    </p:spTree>
    <p:extLst>
      <p:ext uri="{BB962C8B-B14F-4D97-AF65-F5344CB8AC3E}">
        <p14:creationId xmlns:p14="http://schemas.microsoft.com/office/powerpoint/2010/main" val="66339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A9B36-3378-0CA1-1392-48244D0D6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A32D18A-28E7-5788-562D-9FFD1F330F05}"/>
              </a:ext>
            </a:extLst>
          </p:cNvPr>
          <p:cNvSpPr>
            <a:spLocks noGrp="1"/>
          </p:cNvSpPr>
          <p:nvPr>
            <p:ph type="title"/>
          </p:nvPr>
        </p:nvSpPr>
        <p:spPr>
          <a:xfrm>
            <a:off x="321894" y="225330"/>
            <a:ext cx="11738510" cy="648000"/>
          </a:xfrm>
        </p:spPr>
        <p:txBody>
          <a:bodyPr tIns="0" bIns="0" anchor="t" anchorCtr="0">
            <a:normAutofit/>
          </a:bodyPr>
          <a:lstStyle/>
          <a:p>
            <a:r>
              <a:rPr lang="en-US" dirty="0"/>
              <a:t>Guidewire Rating Testing Best Practices</a:t>
            </a:r>
          </a:p>
        </p:txBody>
      </p:sp>
      <p:sp>
        <p:nvSpPr>
          <p:cNvPr id="2" name="Rectangle 1">
            <a:extLst>
              <a:ext uri="{FF2B5EF4-FFF2-40B4-BE49-F238E27FC236}">
                <a16:creationId xmlns:a16="http://schemas.microsoft.com/office/drawing/2014/main" id="{E4D9A45D-30C7-A3F5-D38C-BDBAD1C412AC}"/>
              </a:ext>
            </a:extLst>
          </p:cNvPr>
          <p:cNvSpPr/>
          <p:nvPr/>
        </p:nvSpPr>
        <p:spPr>
          <a:xfrm>
            <a:off x="1779336" y="787061"/>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11111"/>
                </a:solidFill>
                <a:effectLst/>
                <a:uLnTx/>
                <a:uFillTx/>
                <a:latin typeface="Calibri"/>
                <a:ea typeface="+mn-ea"/>
                <a:cs typeface="+mn-cs"/>
              </a:rPr>
              <a:t>Test scenarios where multiple rating parameters (e.g., age, location, vehicle type) interact to calculate premium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11111"/>
                </a:solidFill>
                <a:effectLst/>
                <a:uLnTx/>
                <a:uFillTx/>
                <a:latin typeface="Calibri"/>
                <a:ea typeface="+mn-ea"/>
                <a:cs typeface="+mn-cs"/>
              </a:rPr>
              <a:t>Verify the accuracy of the rating engine when different combinations of parameters are used.</a:t>
            </a:r>
          </a:p>
        </p:txBody>
      </p:sp>
      <p:sp>
        <p:nvSpPr>
          <p:cNvPr id="3" name="Rectangle 2">
            <a:extLst>
              <a:ext uri="{FF2B5EF4-FFF2-40B4-BE49-F238E27FC236}">
                <a16:creationId xmlns:a16="http://schemas.microsoft.com/office/drawing/2014/main" id="{30EA6040-8992-6B03-7A89-A4498C875A2B}"/>
              </a:ext>
            </a:extLst>
          </p:cNvPr>
          <p:cNvSpPr/>
          <p:nvPr/>
        </p:nvSpPr>
        <p:spPr>
          <a:xfrm>
            <a:off x="321894" y="787061"/>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Multi-Parameter Rating Calculations</a:t>
            </a:r>
          </a:p>
        </p:txBody>
      </p:sp>
      <p:sp>
        <p:nvSpPr>
          <p:cNvPr id="4" name="Rectangle 3">
            <a:extLst>
              <a:ext uri="{FF2B5EF4-FFF2-40B4-BE49-F238E27FC236}">
                <a16:creationId xmlns:a16="http://schemas.microsoft.com/office/drawing/2014/main" id="{3519252D-17EA-15B4-9C3E-D36D3C9150A9}"/>
              </a:ext>
            </a:extLst>
          </p:cNvPr>
          <p:cNvSpPr/>
          <p:nvPr/>
        </p:nvSpPr>
        <p:spPr>
          <a:xfrm>
            <a:off x="1779336" y="1999335"/>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Validate the application of various discounts (e.g., multi-policy, safe driver) and surcharges (e.g., high-risk area) based on different criteria.</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Check that the rating engine correctly applies these adjustments to the base premium.</a:t>
            </a:r>
          </a:p>
        </p:txBody>
      </p:sp>
      <p:sp>
        <p:nvSpPr>
          <p:cNvPr id="5" name="Rectangle 4">
            <a:extLst>
              <a:ext uri="{FF2B5EF4-FFF2-40B4-BE49-F238E27FC236}">
                <a16:creationId xmlns:a16="http://schemas.microsoft.com/office/drawing/2014/main" id="{33434148-3302-F882-FE3A-A5A247D0F76E}"/>
              </a:ext>
            </a:extLst>
          </p:cNvPr>
          <p:cNvSpPr/>
          <p:nvPr/>
        </p:nvSpPr>
        <p:spPr>
          <a:xfrm>
            <a:off x="321894" y="1999335"/>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Discounts and Surcharges</a:t>
            </a:r>
          </a:p>
        </p:txBody>
      </p:sp>
      <p:sp>
        <p:nvSpPr>
          <p:cNvPr id="7" name="Rectangle 6">
            <a:extLst>
              <a:ext uri="{FF2B5EF4-FFF2-40B4-BE49-F238E27FC236}">
                <a16:creationId xmlns:a16="http://schemas.microsoft.com/office/drawing/2014/main" id="{F80F239D-DB92-FF80-9540-A8218A633535}"/>
              </a:ext>
            </a:extLst>
          </p:cNvPr>
          <p:cNvSpPr/>
          <p:nvPr/>
        </p:nvSpPr>
        <p:spPr>
          <a:xfrm>
            <a:off x="1779336" y="2605472"/>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Test scenarios involving tiered rating structures where premiums vary based on predefined tiers (e.g., credit score tiers, driving record tier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Ensure that the rating engine accurately assigns policies to the correct tier and calculates premiums accordingly.</a:t>
            </a:r>
          </a:p>
        </p:txBody>
      </p:sp>
      <p:sp>
        <p:nvSpPr>
          <p:cNvPr id="8" name="Rectangle 7">
            <a:extLst>
              <a:ext uri="{FF2B5EF4-FFF2-40B4-BE49-F238E27FC236}">
                <a16:creationId xmlns:a16="http://schemas.microsoft.com/office/drawing/2014/main" id="{8874776A-9985-C79A-57B4-FB32795368AB}"/>
              </a:ext>
            </a:extLst>
          </p:cNvPr>
          <p:cNvSpPr/>
          <p:nvPr/>
        </p:nvSpPr>
        <p:spPr>
          <a:xfrm>
            <a:off x="321894" y="2605472"/>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Tiered Rating Structures</a:t>
            </a:r>
          </a:p>
        </p:txBody>
      </p:sp>
      <p:sp>
        <p:nvSpPr>
          <p:cNvPr id="9" name="Rectangle 8">
            <a:extLst>
              <a:ext uri="{FF2B5EF4-FFF2-40B4-BE49-F238E27FC236}">
                <a16:creationId xmlns:a16="http://schemas.microsoft.com/office/drawing/2014/main" id="{D79CC32B-6746-7D6D-67C4-943BB2AB98BF}"/>
              </a:ext>
            </a:extLst>
          </p:cNvPr>
          <p:cNvSpPr/>
          <p:nvPr/>
        </p:nvSpPr>
        <p:spPr>
          <a:xfrm>
            <a:off x="1779336" y="1393198"/>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11111"/>
                </a:solidFill>
                <a:effectLst/>
                <a:uLnTx/>
                <a:uFillTx/>
                <a:latin typeface="Calibri"/>
                <a:ea typeface="+mn-ea"/>
                <a:cs typeface="+mn-cs"/>
              </a:rPr>
              <a:t>Test how the rating engine handles mid-term policy changes, such as adding or removing coverage, changing deductibles, or updating insured valu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11111"/>
                </a:solidFill>
                <a:effectLst/>
                <a:uLnTx/>
                <a:uFillTx/>
                <a:latin typeface="Calibri"/>
                <a:ea typeface="+mn-ea"/>
                <a:cs typeface="+mn-cs"/>
              </a:rPr>
              <a:t>Ensure that endorsements are correctly reflected in the premium calculations.</a:t>
            </a:r>
          </a:p>
        </p:txBody>
      </p:sp>
      <p:sp>
        <p:nvSpPr>
          <p:cNvPr id="10" name="Rectangle 9">
            <a:extLst>
              <a:ext uri="{FF2B5EF4-FFF2-40B4-BE49-F238E27FC236}">
                <a16:creationId xmlns:a16="http://schemas.microsoft.com/office/drawing/2014/main" id="{4A20BAA5-B7AD-7D06-B219-C4CE10B10255}"/>
              </a:ext>
            </a:extLst>
          </p:cNvPr>
          <p:cNvSpPr/>
          <p:nvPr/>
        </p:nvSpPr>
        <p:spPr>
          <a:xfrm>
            <a:off x="321894" y="1393198"/>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tIns="45720" rIns="4572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a:ea typeface="+mn-ea"/>
                <a:cs typeface="+mn-cs"/>
              </a:rPr>
              <a:t>Policy Changes and other transactions</a:t>
            </a:r>
            <a:endParaRPr kumimoji="0" lang="en-US" sz="1100" b="1" i="0" u="none" strike="noStrike" kern="1200" cap="none" spc="0" normalizeH="0" baseline="0" noProof="0">
              <a:ln>
                <a:noFill/>
              </a:ln>
              <a:solidFill>
                <a:prstClr val="white"/>
              </a:solidFill>
              <a:effectLst/>
              <a:uLnTx/>
              <a:uFillTx/>
              <a:latin typeface="Calibri"/>
              <a:ea typeface="Calibri"/>
              <a:cs typeface="Calibri"/>
            </a:endParaRPr>
          </a:p>
        </p:txBody>
      </p:sp>
      <p:sp>
        <p:nvSpPr>
          <p:cNvPr id="11" name="Rectangle 10">
            <a:extLst>
              <a:ext uri="{FF2B5EF4-FFF2-40B4-BE49-F238E27FC236}">
                <a16:creationId xmlns:a16="http://schemas.microsoft.com/office/drawing/2014/main" id="{F6D6F3F4-9296-6FBE-F459-5AA6B8B55A67}"/>
              </a:ext>
            </a:extLst>
          </p:cNvPr>
          <p:cNvSpPr/>
          <p:nvPr/>
        </p:nvSpPr>
        <p:spPr>
          <a:xfrm>
            <a:off x="1779336" y="3211609"/>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Verify that the rating engine complies with local and national insurance regulations, including rate filings and approved rating factor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Test scenarios where regulatory changes impact the rating calculations.</a:t>
            </a:r>
          </a:p>
        </p:txBody>
      </p:sp>
      <p:sp>
        <p:nvSpPr>
          <p:cNvPr id="12" name="Rectangle 11">
            <a:extLst>
              <a:ext uri="{FF2B5EF4-FFF2-40B4-BE49-F238E27FC236}">
                <a16:creationId xmlns:a16="http://schemas.microsoft.com/office/drawing/2014/main" id="{B2EC89CF-EFDC-9C1E-2ED6-6CD9BBE70A32}"/>
              </a:ext>
            </a:extLst>
          </p:cNvPr>
          <p:cNvSpPr/>
          <p:nvPr/>
        </p:nvSpPr>
        <p:spPr>
          <a:xfrm>
            <a:off x="321894" y="3211609"/>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Regulatory Compliance</a:t>
            </a:r>
          </a:p>
        </p:txBody>
      </p:sp>
      <p:sp>
        <p:nvSpPr>
          <p:cNvPr id="13" name="Rectangle 12">
            <a:extLst>
              <a:ext uri="{FF2B5EF4-FFF2-40B4-BE49-F238E27FC236}">
                <a16:creationId xmlns:a16="http://schemas.microsoft.com/office/drawing/2014/main" id="{E551D1F6-5E62-B8D7-8EAF-D2A64622FEB4}"/>
              </a:ext>
            </a:extLst>
          </p:cNvPr>
          <p:cNvSpPr/>
          <p:nvPr/>
        </p:nvSpPr>
        <p:spPr>
          <a:xfrm>
            <a:off x="1779336" y="3817746"/>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Test the integration of the rating engine with external data sources (e.g., credit bureaus, vehicle databases) to fetch necessary rating informatio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Ensure that data from these sources is correctly incorporated into the rating calculations.</a:t>
            </a:r>
          </a:p>
        </p:txBody>
      </p:sp>
      <p:sp>
        <p:nvSpPr>
          <p:cNvPr id="14" name="Rectangle 13">
            <a:extLst>
              <a:ext uri="{FF2B5EF4-FFF2-40B4-BE49-F238E27FC236}">
                <a16:creationId xmlns:a16="http://schemas.microsoft.com/office/drawing/2014/main" id="{B7AB6546-8422-A61D-057E-40AC082FF999}"/>
              </a:ext>
            </a:extLst>
          </p:cNvPr>
          <p:cNvSpPr/>
          <p:nvPr/>
        </p:nvSpPr>
        <p:spPr>
          <a:xfrm>
            <a:off x="321894" y="3817746"/>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Integration with External Systems</a:t>
            </a:r>
          </a:p>
        </p:txBody>
      </p:sp>
      <p:sp>
        <p:nvSpPr>
          <p:cNvPr id="15" name="Rectangle 14">
            <a:extLst>
              <a:ext uri="{FF2B5EF4-FFF2-40B4-BE49-F238E27FC236}">
                <a16:creationId xmlns:a16="http://schemas.microsoft.com/office/drawing/2014/main" id="{3AAC7175-6A2C-56DD-6387-414BD538994A}"/>
              </a:ext>
            </a:extLst>
          </p:cNvPr>
          <p:cNvSpPr/>
          <p:nvPr/>
        </p:nvSpPr>
        <p:spPr>
          <a:xfrm>
            <a:off x="1779336" y="4423883"/>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Create scenarios that test the limits of the rating engine, such as extreme values for rating parameters or invalid data input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Ensure that the rating engine handles these edge cases gracefully and provides appropriate error messages.</a:t>
            </a:r>
          </a:p>
        </p:txBody>
      </p:sp>
      <p:sp>
        <p:nvSpPr>
          <p:cNvPr id="16" name="Rectangle 15">
            <a:extLst>
              <a:ext uri="{FF2B5EF4-FFF2-40B4-BE49-F238E27FC236}">
                <a16:creationId xmlns:a16="http://schemas.microsoft.com/office/drawing/2014/main" id="{0D390742-97E6-6C21-7697-D908C25E88D3}"/>
              </a:ext>
            </a:extLst>
          </p:cNvPr>
          <p:cNvSpPr/>
          <p:nvPr/>
        </p:nvSpPr>
        <p:spPr>
          <a:xfrm>
            <a:off x="321894" y="4423883"/>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Edge Cases and Negative Testing</a:t>
            </a:r>
          </a:p>
        </p:txBody>
      </p:sp>
      <p:sp>
        <p:nvSpPr>
          <p:cNvPr id="17" name="Rectangle 16">
            <a:extLst>
              <a:ext uri="{FF2B5EF4-FFF2-40B4-BE49-F238E27FC236}">
                <a16:creationId xmlns:a16="http://schemas.microsoft.com/office/drawing/2014/main" id="{017D0BCC-50E5-709C-832F-FDF1670A5B83}"/>
              </a:ext>
            </a:extLst>
          </p:cNvPr>
          <p:cNvSpPr/>
          <p:nvPr/>
        </p:nvSpPr>
        <p:spPr>
          <a:xfrm>
            <a:off x="1779336" y="5030020"/>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Develop real-world scenarios that mimic actual policyholder situations, including claims history, policy renewals, and cancella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Validate that the rating engine produces consistent and accurate results across these scenarios.</a:t>
            </a:r>
          </a:p>
        </p:txBody>
      </p:sp>
      <p:sp>
        <p:nvSpPr>
          <p:cNvPr id="18" name="Rectangle 17">
            <a:extLst>
              <a:ext uri="{FF2B5EF4-FFF2-40B4-BE49-F238E27FC236}">
                <a16:creationId xmlns:a16="http://schemas.microsoft.com/office/drawing/2014/main" id="{F4F084D0-0B80-5EF3-8B2F-32AB55A93611}"/>
              </a:ext>
            </a:extLst>
          </p:cNvPr>
          <p:cNvSpPr/>
          <p:nvPr/>
        </p:nvSpPr>
        <p:spPr>
          <a:xfrm>
            <a:off x="321894" y="5030020"/>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Scenario-Based Testing</a:t>
            </a:r>
          </a:p>
        </p:txBody>
      </p:sp>
      <p:sp>
        <p:nvSpPr>
          <p:cNvPr id="19" name="Rectangle 18">
            <a:extLst>
              <a:ext uri="{FF2B5EF4-FFF2-40B4-BE49-F238E27FC236}">
                <a16:creationId xmlns:a16="http://schemas.microsoft.com/office/drawing/2014/main" id="{1B204F86-7FF5-A27A-DA0B-7512F6421BF6}"/>
              </a:ext>
            </a:extLst>
          </p:cNvPr>
          <p:cNvSpPr/>
          <p:nvPr/>
        </p:nvSpPr>
        <p:spPr>
          <a:xfrm>
            <a:off x="1779336" y="5636154"/>
            <a:ext cx="9776394" cy="540000"/>
          </a:xfrm>
          <a:prstGeom prst="rect">
            <a:avLst/>
          </a:prstGeom>
          <a:solidFill>
            <a:schemeClr val="bg1">
              <a:lumMod val="95000"/>
            </a:schemeClr>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45720" rIns="45720" rtlCol="0" anchor="ctr" anchorCtr="0">
            <a:noAutofit/>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111111"/>
                </a:solidFill>
                <a:effectLst/>
                <a:uLnTx/>
                <a:uFillTx/>
                <a:latin typeface="Calibri"/>
                <a:ea typeface="+mn-ea"/>
                <a:cs typeface="+mn-cs"/>
              </a:rPr>
              <a:t>Test custom workflows specific to business processes, ensuring that the rating engine supports the customizations effectively</a:t>
            </a:r>
          </a:p>
        </p:txBody>
      </p:sp>
      <p:sp>
        <p:nvSpPr>
          <p:cNvPr id="20" name="Rectangle 19">
            <a:extLst>
              <a:ext uri="{FF2B5EF4-FFF2-40B4-BE49-F238E27FC236}">
                <a16:creationId xmlns:a16="http://schemas.microsoft.com/office/drawing/2014/main" id="{8FB73D6C-0466-3578-ACFC-5ACEC7F5FF76}"/>
              </a:ext>
            </a:extLst>
          </p:cNvPr>
          <p:cNvSpPr/>
          <p:nvPr/>
        </p:nvSpPr>
        <p:spPr>
          <a:xfrm>
            <a:off x="321894" y="5636154"/>
            <a:ext cx="1260000" cy="540000"/>
          </a:xfrm>
          <a:prstGeom prst="rect">
            <a:avLst/>
          </a:prstGeom>
          <a:solidFill>
            <a:srgbClr val="C00000"/>
          </a:solidFill>
          <a:ln w="3175">
            <a:no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lIns="73152"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prstClr val="white"/>
                </a:solidFill>
                <a:effectLst/>
                <a:uLnTx/>
                <a:uFillTx/>
                <a:latin typeface="Calibri"/>
                <a:ea typeface="+mn-ea"/>
                <a:cs typeface="+mn-cs"/>
              </a:rPr>
              <a:t>Custom Workflows</a:t>
            </a:r>
          </a:p>
        </p:txBody>
      </p:sp>
    </p:spTree>
    <p:extLst>
      <p:ext uri="{BB962C8B-B14F-4D97-AF65-F5344CB8AC3E}">
        <p14:creationId xmlns:p14="http://schemas.microsoft.com/office/powerpoint/2010/main" val="40361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FFE20-562C-19E6-E9E4-6F683DA29F04}"/>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588D49EE-475E-454C-FF4D-0E0514D9A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72414"/>
            <a:ext cx="4930140" cy="5207355"/>
          </a:xfrm>
          <a:prstGeom prst="rect">
            <a:avLst/>
          </a:prstGeom>
        </p:spPr>
      </p:pic>
      <p:sp>
        <p:nvSpPr>
          <p:cNvPr id="49" name="Oval 48">
            <a:extLst>
              <a:ext uri="{FF2B5EF4-FFF2-40B4-BE49-F238E27FC236}">
                <a16:creationId xmlns:a16="http://schemas.microsoft.com/office/drawing/2014/main" id="{B7F48D13-A19F-6605-B866-0AF0B8FA6903}"/>
              </a:ext>
            </a:extLst>
          </p:cNvPr>
          <p:cNvSpPr>
            <a:spLocks noChangeAspect="1"/>
          </p:cNvSpPr>
          <p:nvPr/>
        </p:nvSpPr>
        <p:spPr>
          <a:xfrm>
            <a:off x="5500421" y="1156225"/>
            <a:ext cx="477635" cy="435401"/>
          </a:xfrm>
          <a:prstGeom prst="ellipse">
            <a:avLst/>
          </a:prstGeom>
          <a:solidFill>
            <a:schemeClr val="tx2"/>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1</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2DF8D74D-C97A-3742-ACAC-92697EFB2609}"/>
              </a:ext>
            </a:extLst>
          </p:cNvPr>
          <p:cNvCxnSpPr>
            <a:cxnSpLocks/>
          </p:cNvCxnSpPr>
          <p:nvPr/>
        </p:nvCxnSpPr>
        <p:spPr>
          <a:xfrm>
            <a:off x="5509836" y="2371374"/>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ECE2AE56-E7E8-70DE-8961-3FAF6AC39CD6}"/>
              </a:ext>
            </a:extLst>
          </p:cNvPr>
          <p:cNvSpPr>
            <a:spLocks noChangeAspect="1"/>
          </p:cNvSpPr>
          <p:nvPr/>
        </p:nvSpPr>
        <p:spPr>
          <a:xfrm>
            <a:off x="5500421" y="1811571"/>
            <a:ext cx="477635" cy="435401"/>
          </a:xfrm>
          <a:prstGeom prst="ellipse">
            <a:avLst/>
          </a:prstGeom>
          <a:solidFill>
            <a:schemeClr val="accent1"/>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2</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55" name="Straight Connector 54">
            <a:extLst>
              <a:ext uri="{FF2B5EF4-FFF2-40B4-BE49-F238E27FC236}">
                <a16:creationId xmlns:a16="http://schemas.microsoft.com/office/drawing/2014/main" id="{D665571D-7FC4-47B9-4602-F865BB53006A}"/>
              </a:ext>
            </a:extLst>
          </p:cNvPr>
          <p:cNvCxnSpPr>
            <a:cxnSpLocks/>
          </p:cNvCxnSpPr>
          <p:nvPr/>
        </p:nvCxnSpPr>
        <p:spPr>
          <a:xfrm>
            <a:off x="5509836" y="1701598"/>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FEA02C01-4D6F-DCA9-2C38-15ED5A75BCB3}"/>
              </a:ext>
            </a:extLst>
          </p:cNvPr>
          <p:cNvSpPr>
            <a:spLocks noChangeAspect="1"/>
          </p:cNvSpPr>
          <p:nvPr/>
        </p:nvSpPr>
        <p:spPr>
          <a:xfrm>
            <a:off x="5511661" y="2519365"/>
            <a:ext cx="477635" cy="435401"/>
          </a:xfrm>
          <a:prstGeom prst="ellipse">
            <a:avLst/>
          </a:prstGeom>
          <a:solidFill>
            <a:schemeClr val="tx2"/>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3</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3151B10D-008E-8050-3B1B-A1A246DC2195}"/>
              </a:ext>
            </a:extLst>
          </p:cNvPr>
          <p:cNvSpPr txBox="1"/>
          <p:nvPr/>
        </p:nvSpPr>
        <p:spPr>
          <a:xfrm>
            <a:off x="6047046" y="3996518"/>
            <a:ext cx="5317577" cy="307777"/>
          </a:xfrm>
          <a:prstGeom prst="rect">
            <a:avLst/>
          </a:prstGeom>
          <a:noFill/>
        </p:spPr>
        <p:txBody>
          <a:bodyPr wrap="square">
            <a:spAutoFit/>
          </a:bodyPr>
          <a:lstStyle/>
          <a:p>
            <a:pPr>
              <a:defRPr/>
            </a:pPr>
            <a:r>
              <a:rPr lang="en-US" sz="1400" b="1" dirty="0">
                <a:solidFill>
                  <a:srgbClr val="000000"/>
                </a:solidFill>
                <a:latin typeface="Calibri" panose="020F0502020204030204" pitchFamily="34" charset="0"/>
              </a:rPr>
              <a:t>Test Design Accelerators</a:t>
            </a:r>
            <a:endParaRPr lang="en-US" sz="1000" dirty="0">
              <a:solidFill>
                <a:srgbClr val="000000"/>
              </a:solidFill>
            </a:endParaRPr>
          </a:p>
        </p:txBody>
      </p:sp>
      <p:sp>
        <p:nvSpPr>
          <p:cNvPr id="3" name="TextBox 2">
            <a:extLst>
              <a:ext uri="{FF2B5EF4-FFF2-40B4-BE49-F238E27FC236}">
                <a16:creationId xmlns:a16="http://schemas.microsoft.com/office/drawing/2014/main" id="{5129F10F-220A-1124-DBFC-4817E5EB0B41}"/>
              </a:ext>
            </a:extLst>
          </p:cNvPr>
          <p:cNvSpPr txBox="1"/>
          <p:nvPr/>
        </p:nvSpPr>
        <p:spPr>
          <a:xfrm>
            <a:off x="6047046" y="3267895"/>
            <a:ext cx="5317577" cy="307777"/>
          </a:xfrm>
          <a:prstGeom prst="rect">
            <a:avLst/>
          </a:prstGeom>
          <a:noFill/>
        </p:spPr>
        <p:txBody>
          <a:bodyPr wrap="square">
            <a:spAutoFit/>
          </a:bodyPr>
          <a:lstStyle/>
          <a:p>
            <a:pPr>
              <a:defRPr/>
            </a:pPr>
            <a:r>
              <a:rPr lang="en-US" sz="1400" b="1" dirty="0">
                <a:solidFill>
                  <a:srgbClr val="000000"/>
                </a:solidFill>
              </a:rPr>
              <a:t>QA Enablement Across the Guidewire Lifecycle</a:t>
            </a:r>
            <a:endParaRPr lang="en-US" sz="1000" dirty="0">
              <a:solidFill>
                <a:srgbClr val="000000"/>
              </a:solidFill>
            </a:endParaRPr>
          </a:p>
        </p:txBody>
      </p:sp>
      <p:cxnSp>
        <p:nvCxnSpPr>
          <p:cNvPr id="2" name="Straight Connector 1">
            <a:extLst>
              <a:ext uri="{FF2B5EF4-FFF2-40B4-BE49-F238E27FC236}">
                <a16:creationId xmlns:a16="http://schemas.microsoft.com/office/drawing/2014/main" id="{1BF10584-388F-20B7-4037-52CC7B7CF752}"/>
              </a:ext>
            </a:extLst>
          </p:cNvPr>
          <p:cNvCxnSpPr>
            <a:cxnSpLocks/>
          </p:cNvCxnSpPr>
          <p:nvPr/>
        </p:nvCxnSpPr>
        <p:spPr>
          <a:xfrm>
            <a:off x="5509836" y="3055114"/>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1F201B0C-47E5-BDF4-9BD5-E66BC28A5E2F}"/>
              </a:ext>
            </a:extLst>
          </p:cNvPr>
          <p:cNvSpPr>
            <a:spLocks noChangeAspect="1"/>
          </p:cNvSpPr>
          <p:nvPr/>
        </p:nvSpPr>
        <p:spPr>
          <a:xfrm>
            <a:off x="5500421" y="3201433"/>
            <a:ext cx="477635" cy="435401"/>
          </a:xfrm>
          <a:prstGeom prst="ellipse">
            <a:avLst/>
          </a:prstGeom>
          <a:solidFill>
            <a:schemeClr val="accent1"/>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4</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AEE2CB7F-B87F-8D92-DE31-075E74D6851F}"/>
              </a:ext>
            </a:extLst>
          </p:cNvPr>
          <p:cNvSpPr txBox="1"/>
          <p:nvPr/>
        </p:nvSpPr>
        <p:spPr>
          <a:xfrm>
            <a:off x="6047046" y="1204318"/>
            <a:ext cx="5317577" cy="307777"/>
          </a:xfrm>
          <a:prstGeom prst="rect">
            <a:avLst/>
          </a:prstGeom>
          <a:noFill/>
        </p:spPr>
        <p:txBody>
          <a:bodyPr wrap="square">
            <a:spAutoFit/>
          </a:bodyPr>
          <a:lstStyle/>
          <a:p>
            <a:pPr>
              <a:defRPr/>
            </a:pPr>
            <a:r>
              <a:rPr lang="en-US" sz="1400" b="1" dirty="0">
                <a:solidFill>
                  <a:srgbClr val="000000"/>
                </a:solidFill>
                <a:latin typeface="Calibri" panose="020F0502020204030204" pitchFamily="34" charset="0"/>
              </a:rPr>
              <a:t>Birlasoft Guidewire Testing Capabilities</a:t>
            </a:r>
            <a:endParaRPr lang="en-US" sz="1000" dirty="0">
              <a:solidFill>
                <a:srgbClr val="000000"/>
              </a:solidFill>
            </a:endParaRPr>
          </a:p>
        </p:txBody>
      </p:sp>
      <p:cxnSp>
        <p:nvCxnSpPr>
          <p:cNvPr id="6" name="Straight Connector 5">
            <a:extLst>
              <a:ext uri="{FF2B5EF4-FFF2-40B4-BE49-F238E27FC236}">
                <a16:creationId xmlns:a16="http://schemas.microsoft.com/office/drawing/2014/main" id="{07483006-D450-574B-92EA-D56A0C6516FC}"/>
              </a:ext>
            </a:extLst>
          </p:cNvPr>
          <p:cNvCxnSpPr>
            <a:cxnSpLocks/>
          </p:cNvCxnSpPr>
          <p:nvPr/>
        </p:nvCxnSpPr>
        <p:spPr>
          <a:xfrm>
            <a:off x="5500421" y="3787248"/>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169EDCDD-28D1-7529-E52E-102CE4BC3131}"/>
              </a:ext>
            </a:extLst>
          </p:cNvPr>
          <p:cNvSpPr>
            <a:spLocks noChangeAspect="1"/>
          </p:cNvSpPr>
          <p:nvPr/>
        </p:nvSpPr>
        <p:spPr>
          <a:xfrm>
            <a:off x="5511661" y="3937663"/>
            <a:ext cx="477635" cy="435401"/>
          </a:xfrm>
          <a:prstGeom prst="ellipse">
            <a:avLst/>
          </a:prstGeom>
          <a:solidFill>
            <a:schemeClr val="tx2"/>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5</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790ACE0F-DF53-C803-5D0D-59234C1BA602}"/>
              </a:ext>
            </a:extLst>
          </p:cNvPr>
          <p:cNvSpPr txBox="1"/>
          <p:nvPr/>
        </p:nvSpPr>
        <p:spPr>
          <a:xfrm>
            <a:off x="6047046" y="5404220"/>
            <a:ext cx="5317577" cy="307777"/>
          </a:xfrm>
          <a:prstGeom prst="rect">
            <a:avLst/>
          </a:prstGeom>
          <a:noFill/>
        </p:spPr>
        <p:txBody>
          <a:bodyPr wrap="square">
            <a:spAutoFit/>
          </a:bodyPr>
          <a:lstStyle/>
          <a:p>
            <a:pPr>
              <a:defRPr/>
            </a:pPr>
            <a:r>
              <a:rPr lang="en-US" sz="1400" b="1" dirty="0">
                <a:solidFill>
                  <a:srgbClr val="000000"/>
                </a:solidFill>
              </a:rPr>
              <a:t>Success Story</a:t>
            </a:r>
            <a:endParaRPr lang="en-US" sz="1000" dirty="0">
              <a:solidFill>
                <a:srgbClr val="000000"/>
              </a:solidFill>
            </a:endParaRPr>
          </a:p>
        </p:txBody>
      </p:sp>
      <p:cxnSp>
        <p:nvCxnSpPr>
          <p:cNvPr id="13" name="Straight Connector 12">
            <a:extLst>
              <a:ext uri="{FF2B5EF4-FFF2-40B4-BE49-F238E27FC236}">
                <a16:creationId xmlns:a16="http://schemas.microsoft.com/office/drawing/2014/main" id="{22274D76-E6C3-AD41-FE4C-9B0F58323836}"/>
              </a:ext>
            </a:extLst>
          </p:cNvPr>
          <p:cNvCxnSpPr>
            <a:cxnSpLocks/>
          </p:cNvCxnSpPr>
          <p:nvPr/>
        </p:nvCxnSpPr>
        <p:spPr>
          <a:xfrm>
            <a:off x="5491006" y="4466892"/>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B66C6A9-7ED7-F2EF-8160-3F4B9C74AAC5}"/>
              </a:ext>
            </a:extLst>
          </p:cNvPr>
          <p:cNvSpPr>
            <a:spLocks noChangeAspect="1"/>
          </p:cNvSpPr>
          <p:nvPr/>
        </p:nvSpPr>
        <p:spPr>
          <a:xfrm>
            <a:off x="5502246" y="4617307"/>
            <a:ext cx="477635" cy="435401"/>
          </a:xfrm>
          <a:prstGeom prst="ellipse">
            <a:avLst/>
          </a:prstGeom>
          <a:solidFill>
            <a:schemeClr val="accent1"/>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400"/>
              </a:spcBef>
            </a:pPr>
            <a:r>
              <a:rPr lang="en-US" sz="1100" b="1">
                <a:solidFill>
                  <a:prstClr val="white"/>
                </a:solidFill>
                <a:latin typeface="Calibri"/>
              </a:rPr>
              <a:t>06</a:t>
            </a:r>
            <a:endParaRPr lang="en-IN" sz="1100" b="1" dirty="0">
              <a:solidFill>
                <a:prstClr val="white"/>
              </a:solidFill>
              <a:latin typeface="Calibri"/>
            </a:endParaRPr>
          </a:p>
        </p:txBody>
      </p:sp>
      <p:sp>
        <p:nvSpPr>
          <p:cNvPr id="9" name="Rectangle 8">
            <a:extLst>
              <a:ext uri="{FF2B5EF4-FFF2-40B4-BE49-F238E27FC236}">
                <a16:creationId xmlns:a16="http://schemas.microsoft.com/office/drawing/2014/main" id="{D1DC1949-65A5-215D-2844-A94CEA2360A1}"/>
              </a:ext>
            </a:extLst>
          </p:cNvPr>
          <p:cNvSpPr/>
          <p:nvPr/>
        </p:nvSpPr>
        <p:spPr>
          <a:xfrm>
            <a:off x="0" y="869240"/>
            <a:ext cx="4928465" cy="5210546"/>
          </a:xfrm>
          <a:prstGeom prst="rect">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TextBox 16">
            <a:extLst>
              <a:ext uri="{FF2B5EF4-FFF2-40B4-BE49-F238E27FC236}">
                <a16:creationId xmlns:a16="http://schemas.microsoft.com/office/drawing/2014/main" id="{473E3EC0-755E-2FD8-1714-7B32653D6280}"/>
              </a:ext>
            </a:extLst>
          </p:cNvPr>
          <p:cNvSpPr txBox="1"/>
          <p:nvPr/>
        </p:nvSpPr>
        <p:spPr>
          <a:xfrm>
            <a:off x="6047046" y="1875875"/>
            <a:ext cx="5317577" cy="307777"/>
          </a:xfrm>
          <a:prstGeom prst="rect">
            <a:avLst/>
          </a:prstGeom>
          <a:noFill/>
        </p:spPr>
        <p:txBody>
          <a:bodyPr wrap="square">
            <a:spAutoFit/>
          </a:bodyPr>
          <a:lstStyle/>
          <a:p>
            <a:pPr>
              <a:defRPr/>
            </a:pPr>
            <a:r>
              <a:rPr lang="en-US" sz="1400" b="1" dirty="0">
                <a:solidFill>
                  <a:srgbClr val="000000"/>
                </a:solidFill>
                <a:latin typeface="Calibri" panose="020F0502020204030204" pitchFamily="34" charset="0"/>
              </a:rPr>
              <a:t>Deep Guidewire Domain Expertise across Insurance Value Chain</a:t>
            </a:r>
          </a:p>
        </p:txBody>
      </p:sp>
      <p:sp>
        <p:nvSpPr>
          <p:cNvPr id="18" name="TextBox 17">
            <a:extLst>
              <a:ext uri="{FF2B5EF4-FFF2-40B4-BE49-F238E27FC236}">
                <a16:creationId xmlns:a16="http://schemas.microsoft.com/office/drawing/2014/main" id="{9C7A5C93-0D6D-1286-7BD5-9F952C515236}"/>
              </a:ext>
            </a:extLst>
          </p:cNvPr>
          <p:cNvSpPr txBox="1"/>
          <p:nvPr/>
        </p:nvSpPr>
        <p:spPr>
          <a:xfrm>
            <a:off x="6047046" y="2585457"/>
            <a:ext cx="5317577" cy="307777"/>
          </a:xfrm>
          <a:prstGeom prst="rect">
            <a:avLst/>
          </a:prstGeom>
          <a:noFill/>
        </p:spPr>
        <p:txBody>
          <a:bodyPr wrap="square">
            <a:spAutoFit/>
          </a:bodyPr>
          <a:lstStyle/>
          <a:p>
            <a:pPr>
              <a:defRPr/>
            </a:pPr>
            <a:r>
              <a:rPr lang="en-US" sz="1400" b="1" dirty="0">
                <a:solidFill>
                  <a:srgbClr val="000000"/>
                </a:solidFill>
              </a:rPr>
              <a:t>GW Testing Maturity Assessment Framework</a:t>
            </a:r>
            <a:endParaRPr lang="en-US" sz="1000" dirty="0">
              <a:solidFill>
                <a:srgbClr val="000000"/>
              </a:solidFill>
            </a:endParaRPr>
          </a:p>
        </p:txBody>
      </p:sp>
      <p:cxnSp>
        <p:nvCxnSpPr>
          <p:cNvPr id="21" name="Straight Connector 20">
            <a:extLst>
              <a:ext uri="{FF2B5EF4-FFF2-40B4-BE49-F238E27FC236}">
                <a16:creationId xmlns:a16="http://schemas.microsoft.com/office/drawing/2014/main" id="{B13E04D4-9566-A2BC-0269-7E82F697259A}"/>
              </a:ext>
            </a:extLst>
          </p:cNvPr>
          <p:cNvCxnSpPr>
            <a:cxnSpLocks/>
          </p:cNvCxnSpPr>
          <p:nvPr/>
        </p:nvCxnSpPr>
        <p:spPr>
          <a:xfrm>
            <a:off x="5500421" y="5203122"/>
            <a:ext cx="4878616" cy="0"/>
          </a:xfrm>
          <a:prstGeom prst="line">
            <a:avLst/>
          </a:prstGeom>
          <a:ln w="12700">
            <a:solidFill>
              <a:schemeClr val="bg1">
                <a:lumMod val="65000"/>
              </a:schemeClr>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63DD765D-37BA-84A1-99A2-0F590643D60C}"/>
              </a:ext>
            </a:extLst>
          </p:cNvPr>
          <p:cNvSpPr>
            <a:spLocks noChangeAspect="1"/>
          </p:cNvSpPr>
          <p:nvPr/>
        </p:nvSpPr>
        <p:spPr>
          <a:xfrm>
            <a:off x="5511661" y="5353537"/>
            <a:ext cx="477635" cy="435401"/>
          </a:xfrm>
          <a:prstGeom prst="ellipse">
            <a:avLst/>
          </a:prstGeom>
          <a:solidFill>
            <a:schemeClr val="tx2"/>
          </a:solidFill>
          <a:ln>
            <a:noFill/>
          </a:ln>
          <a:effectLst>
            <a:outerShdw blurRad="304800" dist="152400" dir="8460000" sx="92000" sy="92000" algn="ctr" rotWithShape="0">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07</a:t>
            </a:r>
            <a:endParaRPr kumimoji="0" lang="en-IN"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C053182F-E155-DC27-B506-439B83515023}"/>
              </a:ext>
            </a:extLst>
          </p:cNvPr>
          <p:cNvSpPr txBox="1"/>
          <p:nvPr/>
        </p:nvSpPr>
        <p:spPr>
          <a:xfrm>
            <a:off x="6047046" y="4686076"/>
            <a:ext cx="5317577" cy="307777"/>
          </a:xfrm>
          <a:prstGeom prst="rect">
            <a:avLst/>
          </a:prstGeom>
          <a:noFill/>
        </p:spPr>
        <p:txBody>
          <a:bodyPr wrap="square">
            <a:spAutoFit/>
          </a:bodyPr>
          <a:lstStyle/>
          <a:p>
            <a:pPr>
              <a:defRPr/>
            </a:pPr>
            <a:r>
              <a:rPr lang="en-US" sz="1400" b="1" dirty="0">
                <a:solidFill>
                  <a:srgbClr val="000000"/>
                </a:solidFill>
                <a:latin typeface="Calibri" panose="020F0502020204030204" pitchFamily="34" charset="0"/>
              </a:rPr>
              <a:t>Augmenting GW testing lifecycle using Lynx</a:t>
            </a:r>
            <a:endParaRPr lang="en-US" sz="1000" dirty="0">
              <a:solidFill>
                <a:srgbClr val="000000"/>
              </a:solidFill>
            </a:endParaRPr>
          </a:p>
        </p:txBody>
      </p:sp>
    </p:spTree>
    <p:extLst>
      <p:ext uri="{BB962C8B-B14F-4D97-AF65-F5344CB8AC3E}">
        <p14:creationId xmlns:p14="http://schemas.microsoft.com/office/powerpoint/2010/main" val="251106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972AE-7912-E080-9362-D1427DBA15F5}"/>
            </a:ext>
          </a:extLst>
        </p:cNvPr>
        <p:cNvGrpSpPr/>
        <p:nvPr/>
      </p:nvGrpSpPr>
      <p:grpSpPr>
        <a:xfrm>
          <a:off x="0" y="0"/>
          <a:ext cx="0" cy="0"/>
          <a:chOff x="0" y="0"/>
          <a:chExt cx="0" cy="0"/>
        </a:xfrm>
      </p:grpSpPr>
      <p:sp>
        <p:nvSpPr>
          <p:cNvPr id="99" name="TextBox 98">
            <a:extLst>
              <a:ext uri="{FF2B5EF4-FFF2-40B4-BE49-F238E27FC236}">
                <a16:creationId xmlns:a16="http://schemas.microsoft.com/office/drawing/2014/main" id="{65ACA8BC-DB8D-B62E-BEEB-7A292A5C1784}"/>
              </a:ext>
            </a:extLst>
          </p:cNvPr>
          <p:cNvSpPr txBox="1"/>
          <p:nvPr/>
        </p:nvSpPr>
        <p:spPr>
          <a:xfrm>
            <a:off x="9788184" y="2771474"/>
            <a:ext cx="761042"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a:t>
            </a: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00</a:t>
            </a:r>
            <a:r>
              <a:rPr kumimoji="0" lang="en-IN" sz="16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ssociates</a:t>
            </a:r>
          </a:p>
        </p:txBody>
      </p:sp>
      <p:sp>
        <p:nvSpPr>
          <p:cNvPr id="100" name="Oval 99">
            <a:extLst>
              <a:ext uri="{FF2B5EF4-FFF2-40B4-BE49-F238E27FC236}">
                <a16:creationId xmlns:a16="http://schemas.microsoft.com/office/drawing/2014/main" id="{CC3F50A3-E8B7-AE2E-BE57-0994D3B7B0E7}"/>
              </a:ext>
            </a:extLst>
          </p:cNvPr>
          <p:cNvSpPr/>
          <p:nvPr/>
        </p:nvSpPr>
        <p:spPr>
          <a:xfrm>
            <a:off x="9133243" y="2773706"/>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1" name="TextBox 100">
            <a:extLst>
              <a:ext uri="{FF2B5EF4-FFF2-40B4-BE49-F238E27FC236}">
                <a16:creationId xmlns:a16="http://schemas.microsoft.com/office/drawing/2014/main" id="{DD95D4E0-AC9A-C506-984F-175F65DD3D56}"/>
              </a:ext>
            </a:extLst>
          </p:cNvPr>
          <p:cNvSpPr txBox="1"/>
          <p:nvPr/>
        </p:nvSpPr>
        <p:spPr>
          <a:xfrm>
            <a:off x="9788184" y="3554493"/>
            <a:ext cx="1580882"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1</a:t>
            </a:r>
            <a:r>
              <a:rPr lang="en-IN" sz="1600" b="1" dirty="0">
                <a:solidFill>
                  <a:schemeClr val="bg1"/>
                </a:solidFill>
                <a:latin typeface="+mj-lt"/>
                <a:ea typeface="Calibri" panose="020F0502020204030204" pitchFamily="34" charset="0"/>
                <a:cs typeface="Calibri" panose="020F0502020204030204" pitchFamily="34" charset="0"/>
              </a:rPr>
              <a:t>0+</a:t>
            </a:r>
            <a:endParaRPr kumimoji="0" lang="en-IN" sz="16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ctive GW Customers</a:t>
            </a:r>
          </a:p>
        </p:txBody>
      </p:sp>
      <p:sp>
        <p:nvSpPr>
          <p:cNvPr id="103" name="TextBox 102">
            <a:extLst>
              <a:ext uri="{FF2B5EF4-FFF2-40B4-BE49-F238E27FC236}">
                <a16:creationId xmlns:a16="http://schemas.microsoft.com/office/drawing/2014/main" id="{C12F273D-0633-6DE5-BBB6-DDF41BF9D615}"/>
              </a:ext>
            </a:extLst>
          </p:cNvPr>
          <p:cNvSpPr txBox="1"/>
          <p:nvPr/>
        </p:nvSpPr>
        <p:spPr>
          <a:xfrm>
            <a:off x="9788184" y="4302658"/>
            <a:ext cx="1021230" cy="461665"/>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5+</a:t>
            </a:r>
            <a:endPar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IN" sz="1400" dirty="0">
                <a:solidFill>
                  <a:schemeClr val="bg1"/>
                </a:solidFill>
                <a:latin typeface="+mj-lt"/>
                <a:ea typeface="Calibri" panose="020F0502020204030204" pitchFamily="34" charset="0"/>
                <a:cs typeface="Calibri" panose="020F0502020204030204" pitchFamily="34" charset="0"/>
              </a:rPr>
              <a:t>Accelerators</a:t>
            </a:r>
            <a:endPar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p:txBody>
      </p:sp>
      <p:sp>
        <p:nvSpPr>
          <p:cNvPr id="105" name="TextBox 104">
            <a:extLst>
              <a:ext uri="{FF2B5EF4-FFF2-40B4-BE49-F238E27FC236}">
                <a16:creationId xmlns:a16="http://schemas.microsoft.com/office/drawing/2014/main" id="{D60BBFFB-AC76-A148-A019-3B542D3EC6B2}"/>
              </a:ext>
            </a:extLst>
          </p:cNvPr>
          <p:cNvSpPr txBox="1"/>
          <p:nvPr/>
        </p:nvSpPr>
        <p:spPr>
          <a:xfrm>
            <a:off x="9788184" y="5119984"/>
            <a:ext cx="1292085"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a:t>
            </a: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00+</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Projects Executed</a:t>
            </a:r>
          </a:p>
        </p:txBody>
      </p:sp>
      <p:pic>
        <p:nvPicPr>
          <p:cNvPr id="107" name="Graphic 106">
            <a:extLst>
              <a:ext uri="{FF2B5EF4-FFF2-40B4-BE49-F238E27FC236}">
                <a16:creationId xmlns:a16="http://schemas.microsoft.com/office/drawing/2014/main" id="{25C96B25-DDE8-8A15-B7C8-296B03EF6E7D}"/>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25924" y="2862033"/>
            <a:ext cx="273072" cy="280546"/>
          </a:xfrm>
          <a:prstGeom prst="rect">
            <a:avLst/>
          </a:prstGeom>
        </p:spPr>
      </p:pic>
      <p:sp>
        <p:nvSpPr>
          <p:cNvPr id="3" name="Rectangle: Rounded Corners 2">
            <a:extLst>
              <a:ext uri="{FF2B5EF4-FFF2-40B4-BE49-F238E27FC236}">
                <a16:creationId xmlns:a16="http://schemas.microsoft.com/office/drawing/2014/main" id="{76385AC4-FF75-E683-38CF-CC93099F9F99}"/>
              </a:ext>
            </a:extLst>
          </p:cNvPr>
          <p:cNvSpPr/>
          <p:nvPr/>
        </p:nvSpPr>
        <p:spPr>
          <a:xfrm>
            <a:off x="467014" y="4458413"/>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r>
              <a:rPr lang="en-US" sz="1100" b="1" dirty="0">
                <a:solidFill>
                  <a:prstClr val="black"/>
                </a:solidFill>
                <a:latin typeface="+mj-lt"/>
              </a:rPr>
              <a:t>General Liability</a:t>
            </a:r>
          </a:p>
        </p:txBody>
      </p:sp>
      <p:sp>
        <p:nvSpPr>
          <p:cNvPr id="4" name="Rectangle: Top Corners Rounded 3">
            <a:extLst>
              <a:ext uri="{FF2B5EF4-FFF2-40B4-BE49-F238E27FC236}">
                <a16:creationId xmlns:a16="http://schemas.microsoft.com/office/drawing/2014/main" id="{2A5328FC-05F6-70C6-EA4B-99F21D48F51E}"/>
              </a:ext>
            </a:extLst>
          </p:cNvPr>
          <p:cNvSpPr/>
          <p:nvPr/>
        </p:nvSpPr>
        <p:spPr>
          <a:xfrm rot="5400000" flipH="1">
            <a:off x="457651" y="4521981"/>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5" name="Graphic 4">
            <a:extLst>
              <a:ext uri="{FF2B5EF4-FFF2-40B4-BE49-F238E27FC236}">
                <a16:creationId xmlns:a16="http://schemas.microsoft.com/office/drawing/2014/main" id="{F33D8798-2E51-CB31-DCA7-B6E188449A0A}"/>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01629" y="4594602"/>
            <a:ext cx="240104" cy="248185"/>
          </a:xfrm>
          <a:prstGeom prst="rect">
            <a:avLst/>
          </a:prstGeom>
        </p:spPr>
      </p:pic>
      <p:sp>
        <p:nvSpPr>
          <p:cNvPr id="6" name="Rectangle: Rounded Corners 5">
            <a:extLst>
              <a:ext uri="{FF2B5EF4-FFF2-40B4-BE49-F238E27FC236}">
                <a16:creationId xmlns:a16="http://schemas.microsoft.com/office/drawing/2014/main" id="{8B7C92C7-BF9E-1A07-5C5A-3A58D0F571B8}"/>
              </a:ext>
            </a:extLst>
          </p:cNvPr>
          <p:cNvSpPr/>
          <p:nvPr/>
        </p:nvSpPr>
        <p:spPr>
          <a:xfrm>
            <a:off x="467014" y="5107667"/>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r>
              <a:rPr lang="en-US" sz="1100" b="1" dirty="0">
                <a:solidFill>
                  <a:prstClr val="black"/>
                </a:solidFill>
                <a:latin typeface="+mj-lt"/>
              </a:rPr>
              <a:t>Workers Compensation</a:t>
            </a:r>
          </a:p>
        </p:txBody>
      </p:sp>
      <p:sp>
        <p:nvSpPr>
          <p:cNvPr id="7" name="Rectangle: Top Corners Rounded 6">
            <a:extLst>
              <a:ext uri="{FF2B5EF4-FFF2-40B4-BE49-F238E27FC236}">
                <a16:creationId xmlns:a16="http://schemas.microsoft.com/office/drawing/2014/main" id="{0EA4707A-D018-40EB-BDC0-7EB7FEBEC825}"/>
              </a:ext>
            </a:extLst>
          </p:cNvPr>
          <p:cNvSpPr/>
          <p:nvPr/>
        </p:nvSpPr>
        <p:spPr>
          <a:xfrm rot="5400000" flipH="1">
            <a:off x="457651" y="5171235"/>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8" name="Graphic 7">
            <a:extLst>
              <a:ext uri="{FF2B5EF4-FFF2-40B4-BE49-F238E27FC236}">
                <a16:creationId xmlns:a16="http://schemas.microsoft.com/office/drawing/2014/main" id="{E55F6D93-4389-4685-72A5-28AD0D16868C}"/>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01629" y="5243856"/>
            <a:ext cx="240104" cy="248185"/>
          </a:xfrm>
          <a:prstGeom prst="rect">
            <a:avLst/>
          </a:prstGeom>
        </p:spPr>
      </p:pic>
      <p:sp>
        <p:nvSpPr>
          <p:cNvPr id="9" name="Rectangle: Rounded Corners 8">
            <a:extLst>
              <a:ext uri="{FF2B5EF4-FFF2-40B4-BE49-F238E27FC236}">
                <a16:creationId xmlns:a16="http://schemas.microsoft.com/office/drawing/2014/main" id="{0407299D-F9B1-8E91-9271-1CEF610310B2}"/>
              </a:ext>
            </a:extLst>
          </p:cNvPr>
          <p:cNvSpPr/>
          <p:nvPr/>
        </p:nvSpPr>
        <p:spPr>
          <a:xfrm>
            <a:off x="478769" y="3104690"/>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r>
              <a:rPr lang="en-US" sz="1100" b="1" dirty="0">
                <a:solidFill>
                  <a:prstClr val="black"/>
                </a:solidFill>
                <a:latin typeface="+mj-lt"/>
              </a:rPr>
              <a:t>Inland Marine</a:t>
            </a:r>
          </a:p>
        </p:txBody>
      </p:sp>
      <p:sp>
        <p:nvSpPr>
          <p:cNvPr id="10" name="Rectangle: Top Corners Rounded 9">
            <a:extLst>
              <a:ext uri="{FF2B5EF4-FFF2-40B4-BE49-F238E27FC236}">
                <a16:creationId xmlns:a16="http://schemas.microsoft.com/office/drawing/2014/main" id="{1CA5A53C-A6FF-6F84-8CF0-009CBFEB1BE2}"/>
              </a:ext>
            </a:extLst>
          </p:cNvPr>
          <p:cNvSpPr/>
          <p:nvPr/>
        </p:nvSpPr>
        <p:spPr>
          <a:xfrm rot="5400000" flipH="1">
            <a:off x="469406" y="3168258"/>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11" name="Graphic 10">
            <a:extLst>
              <a:ext uri="{FF2B5EF4-FFF2-40B4-BE49-F238E27FC236}">
                <a16:creationId xmlns:a16="http://schemas.microsoft.com/office/drawing/2014/main" id="{FA765A3B-EC6C-BE93-D7F4-9BE419910EB6}"/>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13384" y="3240879"/>
            <a:ext cx="240104" cy="248185"/>
          </a:xfrm>
          <a:prstGeom prst="rect">
            <a:avLst/>
          </a:prstGeom>
        </p:spPr>
      </p:pic>
      <p:sp>
        <p:nvSpPr>
          <p:cNvPr id="12" name="Rectangle: Rounded Corners 11">
            <a:extLst>
              <a:ext uri="{FF2B5EF4-FFF2-40B4-BE49-F238E27FC236}">
                <a16:creationId xmlns:a16="http://schemas.microsoft.com/office/drawing/2014/main" id="{39FDD07F-BCE0-693F-2BCF-D0AD3696C4C8}"/>
              </a:ext>
            </a:extLst>
          </p:cNvPr>
          <p:cNvSpPr/>
          <p:nvPr/>
        </p:nvSpPr>
        <p:spPr>
          <a:xfrm>
            <a:off x="467014" y="2463398"/>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pPr>
              <a:lnSpc>
                <a:spcPct val="90000"/>
              </a:lnSpc>
              <a:spcBef>
                <a:spcPct val="0"/>
              </a:spcBef>
              <a:spcAft>
                <a:spcPct val="35000"/>
              </a:spcAft>
              <a:defRPr/>
            </a:pPr>
            <a:r>
              <a:rPr lang="en-US" sz="1100" b="1" dirty="0">
                <a:solidFill>
                  <a:prstClr val="black"/>
                </a:solidFill>
              </a:rPr>
              <a:t>Personal &amp; Commercial Umbrella</a:t>
            </a:r>
          </a:p>
        </p:txBody>
      </p:sp>
      <p:sp>
        <p:nvSpPr>
          <p:cNvPr id="13" name="Rectangle: Top Corners Rounded 12">
            <a:extLst>
              <a:ext uri="{FF2B5EF4-FFF2-40B4-BE49-F238E27FC236}">
                <a16:creationId xmlns:a16="http://schemas.microsoft.com/office/drawing/2014/main" id="{0E0EDDD2-AC8D-99EC-9AFC-C9BA0E1E05D7}"/>
              </a:ext>
            </a:extLst>
          </p:cNvPr>
          <p:cNvSpPr/>
          <p:nvPr/>
        </p:nvSpPr>
        <p:spPr>
          <a:xfrm rot="5400000" flipH="1">
            <a:off x="457651" y="2526966"/>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14" name="Graphic 13">
            <a:extLst>
              <a:ext uri="{FF2B5EF4-FFF2-40B4-BE49-F238E27FC236}">
                <a16:creationId xmlns:a16="http://schemas.microsoft.com/office/drawing/2014/main" id="{0856FDE9-B091-EBE1-6AF1-CF1B179DFE7F}"/>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01629" y="2599587"/>
            <a:ext cx="240104" cy="248185"/>
          </a:xfrm>
          <a:prstGeom prst="rect">
            <a:avLst/>
          </a:prstGeom>
        </p:spPr>
      </p:pic>
      <p:sp>
        <p:nvSpPr>
          <p:cNvPr id="19" name="Rounded Rectangle 9">
            <a:extLst>
              <a:ext uri="{FF2B5EF4-FFF2-40B4-BE49-F238E27FC236}">
                <a16:creationId xmlns:a16="http://schemas.microsoft.com/office/drawing/2014/main" id="{628AB874-BE01-391C-BC77-BD0C53EE7B3F}"/>
              </a:ext>
            </a:extLst>
          </p:cNvPr>
          <p:cNvSpPr/>
          <p:nvPr/>
        </p:nvSpPr>
        <p:spPr>
          <a:xfrm>
            <a:off x="354114" y="825642"/>
            <a:ext cx="1806234" cy="5029105"/>
          </a:xfrm>
          <a:prstGeom prst="roundRect">
            <a:avLst>
              <a:gd name="adj" fmla="val 5310"/>
            </a:avLst>
          </a:prstGeom>
          <a:noFill/>
          <a:ln w="3175" cap="flat">
            <a:solidFill>
              <a:schemeClr val="bg1">
                <a:lumMod val="75000"/>
              </a:schemeClr>
            </a:solidFill>
            <a:prstDash val="solid"/>
            <a:miter/>
          </a:ln>
          <a:effectLst>
            <a:innerShdw blurRad="279400">
              <a:prstClr val="black">
                <a:alpha val="14000"/>
              </a:prstClr>
            </a:innerShd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lang="en-US" sz="2400" b="1">
              <a:solidFill>
                <a:schemeClr val="accent2"/>
              </a:solidFill>
              <a:latin typeface="+mj-lt"/>
              <a:cs typeface="Arial" panose="020B0604020202020204" pitchFamily="34" charset="0"/>
            </a:endParaRPr>
          </a:p>
        </p:txBody>
      </p:sp>
      <p:sp>
        <p:nvSpPr>
          <p:cNvPr id="20" name="Rectangle: Top Corners Rounded 19">
            <a:extLst>
              <a:ext uri="{FF2B5EF4-FFF2-40B4-BE49-F238E27FC236}">
                <a16:creationId xmlns:a16="http://schemas.microsoft.com/office/drawing/2014/main" id="{49DF5B45-64D2-6F49-E143-48D4F491EBD6}"/>
              </a:ext>
            </a:extLst>
          </p:cNvPr>
          <p:cNvSpPr/>
          <p:nvPr/>
        </p:nvSpPr>
        <p:spPr>
          <a:xfrm>
            <a:off x="476306" y="769887"/>
            <a:ext cx="1561850" cy="280120"/>
          </a:xfrm>
          <a:prstGeom prst="round2SameRect">
            <a:avLst>
              <a:gd name="adj1" fmla="val 0"/>
              <a:gd name="adj2" fmla="val 22948"/>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r>
              <a:rPr lang="en-US" sz="1200" b="1" dirty="0">
                <a:solidFill>
                  <a:schemeClr val="bg1"/>
                </a:solidFill>
              </a:rPr>
              <a:t>Business Domain</a:t>
            </a:r>
          </a:p>
        </p:txBody>
      </p:sp>
      <p:sp>
        <p:nvSpPr>
          <p:cNvPr id="15" name="Rectangle: Rounded Corners 14">
            <a:extLst>
              <a:ext uri="{FF2B5EF4-FFF2-40B4-BE49-F238E27FC236}">
                <a16:creationId xmlns:a16="http://schemas.microsoft.com/office/drawing/2014/main" id="{FE29DBDB-051D-EB71-7454-150973F68662}"/>
              </a:ext>
            </a:extLst>
          </p:cNvPr>
          <p:cNvSpPr/>
          <p:nvPr/>
        </p:nvSpPr>
        <p:spPr>
          <a:xfrm>
            <a:off x="456244" y="1846803"/>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r>
              <a:rPr lang="en-US" sz="1100" b="1" dirty="0">
                <a:solidFill>
                  <a:prstClr val="black"/>
                </a:solidFill>
                <a:latin typeface="+mj-lt"/>
              </a:rPr>
              <a:t>Homeowners &amp; Commercial Property</a:t>
            </a:r>
          </a:p>
        </p:txBody>
      </p:sp>
      <p:sp>
        <p:nvSpPr>
          <p:cNvPr id="22" name="Rectangle: Top Corners Rounded 21">
            <a:extLst>
              <a:ext uri="{FF2B5EF4-FFF2-40B4-BE49-F238E27FC236}">
                <a16:creationId xmlns:a16="http://schemas.microsoft.com/office/drawing/2014/main" id="{2CBA2D32-3E6D-000F-FBA8-F0695F2CF541}"/>
              </a:ext>
            </a:extLst>
          </p:cNvPr>
          <p:cNvSpPr/>
          <p:nvPr/>
        </p:nvSpPr>
        <p:spPr>
          <a:xfrm rot="5400000" flipH="1">
            <a:off x="446046" y="1910371"/>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dirty="0">
              <a:solidFill>
                <a:schemeClr val="lt1"/>
              </a:solidFill>
              <a:latin typeface="+mj-lt"/>
            </a:endParaRPr>
          </a:p>
        </p:txBody>
      </p:sp>
      <p:pic>
        <p:nvPicPr>
          <p:cNvPr id="23" name="Graphic 22">
            <a:extLst>
              <a:ext uri="{FF2B5EF4-FFF2-40B4-BE49-F238E27FC236}">
                <a16:creationId xmlns:a16="http://schemas.microsoft.com/office/drawing/2014/main" id="{3A6F13F8-B3EB-F57E-AC2F-5370668F74F7}"/>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0025" y="2001257"/>
            <a:ext cx="240105" cy="248185"/>
          </a:xfrm>
          <a:prstGeom prst="rect">
            <a:avLst/>
          </a:prstGeom>
        </p:spPr>
      </p:pic>
      <p:sp>
        <p:nvSpPr>
          <p:cNvPr id="24" name="Rectangle: Rounded Corners 23">
            <a:extLst>
              <a:ext uri="{FF2B5EF4-FFF2-40B4-BE49-F238E27FC236}">
                <a16:creationId xmlns:a16="http://schemas.microsoft.com/office/drawing/2014/main" id="{1ADE6A8D-0276-59D5-EC1A-C3E7C4FE9078}"/>
              </a:ext>
            </a:extLst>
          </p:cNvPr>
          <p:cNvSpPr/>
          <p:nvPr/>
        </p:nvSpPr>
        <p:spPr>
          <a:xfrm>
            <a:off x="2270327" y="784332"/>
            <a:ext cx="3637308" cy="5029106"/>
          </a:xfrm>
          <a:prstGeom prst="roundRect">
            <a:avLst>
              <a:gd name="adj" fmla="val 3306"/>
            </a:avLst>
          </a:prstGeom>
          <a:solidFill>
            <a:srgbClr val="EFEFEF"/>
          </a:solidFill>
          <a:ln w="3175" cap="flat">
            <a:solidFill>
              <a:schemeClr val="bg1">
                <a:lumMod val="75000"/>
              </a:schemeClr>
            </a:solidFill>
            <a:prstDash val="solid"/>
            <a:miter/>
          </a:ln>
          <a:effectLst>
            <a:innerShdw blurRad="279400">
              <a:prstClr val="black">
                <a:alpha val="14000"/>
              </a:prstClr>
            </a:innerShdw>
          </a:effectLst>
        </p:spPr>
        <p:txBody>
          <a:bodyPr rot="0" spcFirstLastPara="0" vertOverflow="overflow" horzOverflow="overflow" vert="horz" wrap="square" lIns="108000" tIns="504000" rIns="36000" bIns="36000" numCol="1" spcCol="0" rtlCol="0" fromWordArt="0" anchor="t" anchorCtr="0" forceAA="0" compatLnSpc="1">
            <a:prstTxWarp prst="textNoShape">
              <a:avLst/>
            </a:prstTxWarp>
            <a:noAutofit/>
          </a:bodyPr>
          <a:lstStyle/>
          <a:p>
            <a:pPr marL="0" marR="0" lvl="2" defTabSz="914400" eaLnBrk="1" fontAlgn="auto" latinLnBrk="0" hangingPunct="1">
              <a:lnSpc>
                <a:spcPct val="100000"/>
              </a:lnSpc>
              <a:spcBef>
                <a:spcPts val="0"/>
              </a:spcBef>
              <a:spcAft>
                <a:spcPts val="0"/>
              </a:spcAft>
              <a:buClr>
                <a:schemeClr val="accent1"/>
              </a:buClr>
              <a:buSzTx/>
              <a:tabLst>
                <a:tab pos="1371600" algn="l"/>
              </a:tabLst>
              <a:defRPr/>
            </a:pPr>
            <a:endParaRPr kumimoji="0" lang="en-US" sz="1100" b="1" i="0" u="none" strike="noStrike" kern="100" cap="none" spc="0" normalizeH="0" baseline="0" noProof="0">
              <a:ln>
                <a:noFill/>
              </a:ln>
              <a:solidFill>
                <a:prstClr val="black"/>
              </a:solidFill>
              <a:effectLst/>
              <a:uLnTx/>
              <a:uFillTx/>
              <a:latin typeface="+mj-lt"/>
              <a:cs typeface="Times New Roman"/>
            </a:endParaRPr>
          </a:p>
        </p:txBody>
      </p:sp>
      <p:sp>
        <p:nvSpPr>
          <p:cNvPr id="58" name="Rectangle: Top Corners Rounded 57">
            <a:extLst>
              <a:ext uri="{FF2B5EF4-FFF2-40B4-BE49-F238E27FC236}">
                <a16:creationId xmlns:a16="http://schemas.microsoft.com/office/drawing/2014/main" id="{0D7B03BD-65C3-FD31-932D-763197DB44B9}"/>
              </a:ext>
            </a:extLst>
          </p:cNvPr>
          <p:cNvSpPr/>
          <p:nvPr/>
        </p:nvSpPr>
        <p:spPr>
          <a:xfrm>
            <a:off x="2688416" y="769887"/>
            <a:ext cx="2708965" cy="280120"/>
          </a:xfrm>
          <a:prstGeom prst="round2SameRect">
            <a:avLst>
              <a:gd name="adj1" fmla="val 0"/>
              <a:gd name="adj2" fmla="val 22948"/>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r>
              <a:rPr lang="en-US" sz="1200" b="1" dirty="0">
                <a:solidFill>
                  <a:schemeClr val="bg1"/>
                </a:solidFill>
              </a:rPr>
              <a:t>Guidewire Solution Coverage</a:t>
            </a:r>
          </a:p>
        </p:txBody>
      </p:sp>
      <p:sp>
        <p:nvSpPr>
          <p:cNvPr id="60" name="TextBox 59">
            <a:extLst>
              <a:ext uri="{FF2B5EF4-FFF2-40B4-BE49-F238E27FC236}">
                <a16:creationId xmlns:a16="http://schemas.microsoft.com/office/drawing/2014/main" id="{4D012672-76E0-D59C-666B-DCFFA00EA2EC}"/>
              </a:ext>
            </a:extLst>
          </p:cNvPr>
          <p:cNvSpPr txBox="1"/>
          <p:nvPr/>
        </p:nvSpPr>
        <p:spPr>
          <a:xfrm>
            <a:off x="2811551" y="1256723"/>
            <a:ext cx="2598212" cy="184666"/>
          </a:xfrm>
          <a:prstGeom prst="rect">
            <a:avLst/>
          </a:prstGeom>
          <a:noFill/>
        </p:spPr>
        <p:txBody>
          <a:bodyPr wrap="none" lIns="0" tIns="0" rIns="0" bIns="0" anchor="t">
            <a:spAutoFit/>
          </a:bodyPr>
          <a:lstStyle/>
          <a:p>
            <a:pPr marL="0" lvl="2">
              <a:buClr>
                <a:schemeClr val="accent1"/>
              </a:buClr>
              <a:tabLst>
                <a:tab pos="1371600" algn="l"/>
              </a:tabLst>
              <a:defRPr/>
            </a:pPr>
            <a:r>
              <a:rPr lang="en-US" sz="1200" b="1" kern="100" dirty="0">
                <a:solidFill>
                  <a:schemeClr val="accent1"/>
                </a:solidFill>
                <a:latin typeface="+mj-lt"/>
                <a:cs typeface="Times New Roman"/>
              </a:rPr>
              <a:t>Advisory led</a:t>
            </a:r>
            <a:r>
              <a:rPr kumimoji="0" lang="en-US" sz="1200" b="1" i="0" u="none" strike="noStrike" kern="100" cap="none" spc="0" normalizeH="0" baseline="0" noProof="0" dirty="0">
                <a:ln>
                  <a:noFill/>
                </a:ln>
                <a:solidFill>
                  <a:schemeClr val="accent1"/>
                </a:solidFill>
                <a:effectLst/>
                <a:uLnTx/>
                <a:uFillTx/>
                <a:latin typeface="+mj-lt"/>
                <a:cs typeface="Times New Roman"/>
              </a:rPr>
              <a:t> </a:t>
            </a:r>
            <a:r>
              <a:rPr lang="en-US" sz="1200" b="1" kern="100" dirty="0">
                <a:solidFill>
                  <a:schemeClr val="accent1"/>
                </a:solidFill>
                <a:latin typeface="+mj-lt"/>
                <a:cs typeface="Times New Roman"/>
              </a:rPr>
              <a:t>Testing Center of Excellence</a:t>
            </a:r>
            <a:endParaRPr kumimoji="0" lang="en-US" sz="1200" b="1" i="0" u="none" strike="noStrike" kern="100" cap="none" spc="0" normalizeH="0" baseline="0" noProof="0" dirty="0">
              <a:ln>
                <a:noFill/>
              </a:ln>
              <a:solidFill>
                <a:schemeClr val="accent1"/>
              </a:solidFill>
              <a:effectLst/>
              <a:uLnTx/>
              <a:uFillTx/>
              <a:latin typeface="+mj-lt"/>
              <a:cs typeface="Times New Roman"/>
            </a:endParaRPr>
          </a:p>
        </p:txBody>
      </p:sp>
      <p:sp>
        <p:nvSpPr>
          <p:cNvPr id="21" name="Rectangle: Rounded Corners 20">
            <a:extLst>
              <a:ext uri="{FF2B5EF4-FFF2-40B4-BE49-F238E27FC236}">
                <a16:creationId xmlns:a16="http://schemas.microsoft.com/office/drawing/2014/main" id="{6ABCB2E4-8E6B-5915-78A2-34FB8A31451D}"/>
              </a:ext>
            </a:extLst>
          </p:cNvPr>
          <p:cNvSpPr/>
          <p:nvPr/>
        </p:nvSpPr>
        <p:spPr>
          <a:xfrm>
            <a:off x="467015" y="1250958"/>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pPr>
              <a:lnSpc>
                <a:spcPct val="90000"/>
              </a:lnSpc>
              <a:spcBef>
                <a:spcPct val="0"/>
              </a:spcBef>
              <a:spcAft>
                <a:spcPct val="35000"/>
              </a:spcAft>
              <a:defRPr/>
            </a:pPr>
            <a:r>
              <a:rPr lang="en-US" sz="1100" b="1" dirty="0">
                <a:solidFill>
                  <a:prstClr val="black"/>
                </a:solidFill>
              </a:rPr>
              <a:t>Personal</a:t>
            </a:r>
            <a:r>
              <a:rPr lang="en-US" sz="1100" b="1" dirty="0">
                <a:solidFill>
                  <a:prstClr val="black"/>
                </a:solidFill>
                <a:latin typeface="+mj-lt"/>
              </a:rPr>
              <a:t> &amp; Commercial Auto</a:t>
            </a:r>
          </a:p>
        </p:txBody>
      </p:sp>
      <p:sp>
        <p:nvSpPr>
          <p:cNvPr id="16" name="Rectangle: Top Corners Rounded 15">
            <a:extLst>
              <a:ext uri="{FF2B5EF4-FFF2-40B4-BE49-F238E27FC236}">
                <a16:creationId xmlns:a16="http://schemas.microsoft.com/office/drawing/2014/main" id="{8E0A9B7B-3F96-E267-8635-D03EA38B4985}"/>
              </a:ext>
            </a:extLst>
          </p:cNvPr>
          <p:cNvSpPr/>
          <p:nvPr/>
        </p:nvSpPr>
        <p:spPr>
          <a:xfrm rot="5400000" flipH="1">
            <a:off x="477079" y="1314526"/>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17" name="Graphic 16">
            <a:extLst>
              <a:ext uri="{FF2B5EF4-FFF2-40B4-BE49-F238E27FC236}">
                <a16:creationId xmlns:a16="http://schemas.microsoft.com/office/drawing/2014/main" id="{01AA1AFE-D477-A080-E36C-5F39D00D2759}"/>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532288" y="1387147"/>
            <a:ext cx="240105" cy="248185"/>
          </a:xfrm>
          <a:prstGeom prst="rect">
            <a:avLst/>
          </a:prstGeom>
        </p:spPr>
      </p:pic>
      <p:pic>
        <p:nvPicPr>
          <p:cNvPr id="147" name="Picture 146">
            <a:extLst>
              <a:ext uri="{FF2B5EF4-FFF2-40B4-BE49-F238E27FC236}">
                <a16:creationId xmlns:a16="http://schemas.microsoft.com/office/drawing/2014/main" id="{BA26AE02-5B11-D2F7-3144-CFA2817A13BE}"/>
              </a:ext>
            </a:extLst>
          </p:cNvPr>
          <p:cNvPicPr>
            <a:picLocks noChangeAspect="1"/>
          </p:cNvPicPr>
          <p:nvPr/>
        </p:nvPicPr>
        <p:blipFill rotWithShape="1">
          <a:blip r:embed="rId10"/>
          <a:srcRect l="5614" t="11661" r="5380" b="13998"/>
          <a:stretch/>
        </p:blipFill>
        <p:spPr>
          <a:xfrm>
            <a:off x="9972266" y="1227414"/>
            <a:ext cx="837148" cy="237918"/>
          </a:xfrm>
          <a:prstGeom prst="rect">
            <a:avLst/>
          </a:prstGeom>
        </p:spPr>
      </p:pic>
      <p:pic>
        <p:nvPicPr>
          <p:cNvPr id="149" name="Picture 14" descr="Apache JMeter - Apache JMeter™">
            <a:extLst>
              <a:ext uri="{FF2B5EF4-FFF2-40B4-BE49-F238E27FC236}">
                <a16:creationId xmlns:a16="http://schemas.microsoft.com/office/drawing/2014/main" id="{F919E605-48C7-4AA4-B9E4-E4CEBBD5CC9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68989" y="1549330"/>
            <a:ext cx="970574" cy="329734"/>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49">
            <a:extLst>
              <a:ext uri="{FF2B5EF4-FFF2-40B4-BE49-F238E27FC236}">
                <a16:creationId xmlns:a16="http://schemas.microsoft.com/office/drawing/2014/main" id="{39ED4962-EA12-8E49-78C0-B2FBA66D6B65}"/>
              </a:ext>
            </a:extLst>
          </p:cNvPr>
          <p:cNvPicPr>
            <a:picLocks noChangeAspect="1"/>
          </p:cNvPicPr>
          <p:nvPr/>
        </p:nvPicPr>
        <p:blipFill>
          <a:blip r:embed="rId12"/>
          <a:stretch>
            <a:fillRect/>
          </a:stretch>
        </p:blipFill>
        <p:spPr>
          <a:xfrm>
            <a:off x="10899782" y="1187059"/>
            <a:ext cx="774210" cy="259400"/>
          </a:xfrm>
          <a:prstGeom prst="rect">
            <a:avLst/>
          </a:prstGeom>
        </p:spPr>
      </p:pic>
      <p:sp>
        <p:nvSpPr>
          <p:cNvPr id="44" name="Rectangle 43">
            <a:extLst>
              <a:ext uri="{FF2B5EF4-FFF2-40B4-BE49-F238E27FC236}">
                <a16:creationId xmlns:a16="http://schemas.microsoft.com/office/drawing/2014/main" id="{BFCEB5C7-4F40-BD61-254A-1453ED510FF2}"/>
              </a:ext>
            </a:extLst>
          </p:cNvPr>
          <p:cNvSpPr/>
          <p:nvPr/>
        </p:nvSpPr>
        <p:spPr>
          <a:xfrm rot="10800000" flipV="1">
            <a:off x="6200811" y="1245347"/>
            <a:ext cx="2356387" cy="1056700"/>
          </a:xfrm>
          <a:prstGeom prst="rect">
            <a:avLst/>
          </a:prstGeom>
          <a:noFill/>
          <a:ln w="3175" cap="flat" cmpd="sng" algn="ctr">
            <a:noFill/>
            <a:prstDash val="solid"/>
            <a:miter lim="800000"/>
          </a:ln>
          <a:effectLst/>
        </p:spPr>
        <p:txBody>
          <a:bodyPr wrap="square" lIns="0" tIns="0" rIns="0" bIns="0" rtlCol="0" anchor="t" anchorCtr="0">
            <a:spAutoFit/>
          </a:bodyPr>
          <a:lstStyle/>
          <a:p>
            <a:pPr marL="0" marR="0" lvl="2" defTabSz="914400" eaLnBrk="1" fontAlgn="auto" latinLnBrk="0" hangingPunct="1">
              <a:spcAft>
                <a:spcPts val="200"/>
              </a:spcAft>
              <a:buClr>
                <a:schemeClr val="accent1"/>
              </a:buClr>
              <a:buSzTx/>
              <a:tabLst>
                <a:tab pos="1371600" algn="l"/>
              </a:tabLst>
              <a:defRPr/>
            </a:pPr>
            <a:r>
              <a:rPr kumimoji="0" lang="en-US" sz="1200" b="1" i="0" u="none" strike="noStrike" kern="100" cap="none" spc="0" normalizeH="0" baseline="0" noProof="0" dirty="0">
                <a:ln>
                  <a:noFill/>
                </a:ln>
                <a:solidFill>
                  <a:schemeClr val="accent1"/>
                </a:solidFill>
                <a:effectLst/>
                <a:uLnTx/>
                <a:uFillTx/>
                <a:latin typeface="+mj-lt"/>
                <a:cs typeface="Times New Roman"/>
              </a:rPr>
              <a:t>Consulting</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QA Maturity Assessment </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Test Strategy definition based on GW </a:t>
            </a:r>
            <a:r>
              <a:rPr lang="en-US" sz="1000" kern="0" dirty="0" err="1">
                <a:solidFill>
                  <a:prstClr val="black">
                    <a:hueOff val="0"/>
                    <a:satOff val="0"/>
                    <a:lumOff val="0"/>
                    <a:alphaOff val="0"/>
                  </a:prstClr>
                </a:solidFill>
                <a:latin typeface="+mj-lt"/>
              </a:rPr>
              <a:t>SurePath</a:t>
            </a:r>
            <a:r>
              <a:rPr lang="en-US" sz="1000" kern="0" dirty="0">
                <a:solidFill>
                  <a:prstClr val="black">
                    <a:hueOff val="0"/>
                    <a:satOff val="0"/>
                    <a:lumOff val="0"/>
                    <a:alphaOff val="0"/>
                  </a:prstClr>
                </a:solidFill>
                <a:latin typeface="+mj-lt"/>
              </a:rPr>
              <a:t> (GTF)</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Tools Optimization and Implementation of Guidewire Test Frameworks</a:t>
            </a:r>
          </a:p>
        </p:txBody>
      </p:sp>
      <p:sp>
        <p:nvSpPr>
          <p:cNvPr id="53" name="Rectangle 52">
            <a:extLst>
              <a:ext uri="{FF2B5EF4-FFF2-40B4-BE49-F238E27FC236}">
                <a16:creationId xmlns:a16="http://schemas.microsoft.com/office/drawing/2014/main" id="{A726F091-F690-223E-F8DA-34365274121E}"/>
              </a:ext>
            </a:extLst>
          </p:cNvPr>
          <p:cNvSpPr/>
          <p:nvPr/>
        </p:nvSpPr>
        <p:spPr>
          <a:xfrm rot="10800000" flipV="1">
            <a:off x="2826536" y="1461326"/>
            <a:ext cx="2238024" cy="307777"/>
          </a:xfrm>
          <a:prstGeom prst="rect">
            <a:avLst/>
          </a:prstGeom>
          <a:noFill/>
          <a:ln w="3175" cap="flat" cmpd="sng" algn="ctr">
            <a:noFill/>
            <a:prstDash val="solid"/>
            <a:miter lim="800000"/>
          </a:ln>
          <a:effectLst/>
        </p:spPr>
        <p:txBody>
          <a:bodyPr wrap="square" lIns="0" tIns="0" rIns="0" bIns="0" rtlCol="0" anchor="t" anchorCtr="0">
            <a:spAutoFit/>
          </a:bodyPr>
          <a:lstStyle/>
          <a:p>
            <a:pPr marL="115888" marR="0" lvl="2" indent="-115888" defTabSz="914400" eaLnBrk="1" fontAlgn="auto" latinLnBrk="0" hangingPunct="1">
              <a:buClr>
                <a:schemeClr val="tx1"/>
              </a:buClr>
              <a:buSzPct val="100000"/>
              <a:buFont typeface="Arial" panose="020B0604020202020204" pitchFamily="34" charset="0"/>
              <a:buChar char="•"/>
              <a:defRPr/>
            </a:pPr>
            <a:r>
              <a:rPr lang="en-US" sz="1000" kern="0" dirty="0">
                <a:solidFill>
                  <a:prstClr val="black">
                    <a:hueOff val="0"/>
                    <a:satOff val="0"/>
                    <a:lumOff val="0"/>
                    <a:alphaOff val="0"/>
                  </a:prstClr>
                </a:solidFill>
                <a:latin typeface="+mj-lt"/>
              </a:rPr>
              <a:t>Managed Testing Services</a:t>
            </a:r>
          </a:p>
          <a:p>
            <a:pPr marL="115888" marR="0" lvl="1" indent="-115888" defTabSz="488930" fontAlgn="auto">
              <a:buClr>
                <a:schemeClr val="tx1"/>
              </a:buClr>
              <a:buSzPct val="100000"/>
              <a:buFont typeface="Arial" panose="020B0604020202020204" pitchFamily="34" charset="0"/>
              <a:buChar char="•"/>
              <a:defRPr/>
            </a:pPr>
            <a:r>
              <a:rPr lang="en-US" sz="1000" kern="0" dirty="0">
                <a:solidFill>
                  <a:prstClr val="black">
                    <a:hueOff val="0"/>
                    <a:satOff val="0"/>
                    <a:lumOff val="0"/>
                    <a:alphaOff val="0"/>
                  </a:prstClr>
                </a:solidFill>
                <a:latin typeface="+mj-lt"/>
              </a:rPr>
              <a:t>Test Transformation Initiatives</a:t>
            </a:r>
          </a:p>
        </p:txBody>
      </p:sp>
      <p:sp>
        <p:nvSpPr>
          <p:cNvPr id="41" name="Rounded Rectangle 9">
            <a:extLst>
              <a:ext uri="{FF2B5EF4-FFF2-40B4-BE49-F238E27FC236}">
                <a16:creationId xmlns:a16="http://schemas.microsoft.com/office/drawing/2014/main" id="{C730F04B-4DF4-A55A-BC51-46D0B5721059}"/>
              </a:ext>
            </a:extLst>
          </p:cNvPr>
          <p:cNvSpPr/>
          <p:nvPr/>
        </p:nvSpPr>
        <p:spPr>
          <a:xfrm>
            <a:off x="6080401" y="770319"/>
            <a:ext cx="2577603" cy="5317360"/>
          </a:xfrm>
          <a:prstGeom prst="roundRect">
            <a:avLst>
              <a:gd name="adj" fmla="val 4586"/>
            </a:avLst>
          </a:prstGeom>
          <a:noFill/>
          <a:ln w="3175" cap="flat">
            <a:solidFill>
              <a:schemeClr val="bg1">
                <a:lumMod val="75000"/>
              </a:schemeClr>
            </a:solidFill>
            <a:prstDash val="solid"/>
            <a:miter/>
          </a:ln>
          <a:effectLst>
            <a:innerShdw blurRad="279400">
              <a:prstClr val="black">
                <a:alpha val="14000"/>
              </a:prstClr>
            </a:innerShd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lang="en-US" sz="2400" b="1">
              <a:solidFill>
                <a:schemeClr val="accent2"/>
              </a:solidFill>
              <a:latin typeface="+mj-lt"/>
              <a:cs typeface="Arial" panose="020B0604020202020204" pitchFamily="34" charset="0"/>
            </a:endParaRPr>
          </a:p>
        </p:txBody>
      </p:sp>
      <p:sp>
        <p:nvSpPr>
          <p:cNvPr id="42" name="Rectangle: Top Corners Rounded 41">
            <a:extLst>
              <a:ext uri="{FF2B5EF4-FFF2-40B4-BE49-F238E27FC236}">
                <a16:creationId xmlns:a16="http://schemas.microsoft.com/office/drawing/2014/main" id="{3A2E9C52-9626-5FA3-82D0-7E2C9E83C392}"/>
              </a:ext>
            </a:extLst>
          </p:cNvPr>
          <p:cNvSpPr/>
          <p:nvPr/>
        </p:nvSpPr>
        <p:spPr>
          <a:xfrm>
            <a:off x="6572694" y="770321"/>
            <a:ext cx="1593016" cy="325324"/>
          </a:xfrm>
          <a:prstGeom prst="round2SameRect">
            <a:avLst>
              <a:gd name="adj1" fmla="val 0"/>
              <a:gd name="adj2" fmla="val 21272"/>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r>
              <a:rPr lang="en-US" sz="1200" b="1" dirty="0">
                <a:solidFill>
                  <a:schemeClr val="bg1"/>
                </a:solidFill>
              </a:rPr>
              <a:t>Service Offerings</a:t>
            </a:r>
          </a:p>
        </p:txBody>
      </p:sp>
      <p:sp>
        <p:nvSpPr>
          <p:cNvPr id="49" name="Rectangle 48">
            <a:extLst>
              <a:ext uri="{FF2B5EF4-FFF2-40B4-BE49-F238E27FC236}">
                <a16:creationId xmlns:a16="http://schemas.microsoft.com/office/drawing/2014/main" id="{C6304728-B827-9011-EA40-83D55AE61C90}"/>
              </a:ext>
            </a:extLst>
          </p:cNvPr>
          <p:cNvSpPr/>
          <p:nvPr/>
        </p:nvSpPr>
        <p:spPr>
          <a:xfrm rot="10800000" flipV="1">
            <a:off x="6209096" y="2456355"/>
            <a:ext cx="2356387" cy="1749197"/>
          </a:xfrm>
          <a:prstGeom prst="rect">
            <a:avLst/>
          </a:prstGeom>
          <a:noFill/>
          <a:ln w="3175" cap="flat" cmpd="sng" algn="ctr">
            <a:noFill/>
            <a:prstDash val="solid"/>
            <a:miter lim="800000"/>
          </a:ln>
          <a:effectLst/>
        </p:spPr>
        <p:txBody>
          <a:bodyPr wrap="square" lIns="0" tIns="0" rIns="0" bIns="0" rtlCol="0" anchor="t" anchorCtr="0">
            <a:spAutoFit/>
          </a:bodyPr>
          <a:lstStyle/>
          <a:p>
            <a:pPr marL="0" lvl="2" defTabSz="914400">
              <a:spcAft>
                <a:spcPts val="200"/>
              </a:spcAft>
              <a:buClr>
                <a:schemeClr val="accent1"/>
              </a:buClr>
              <a:tabLst>
                <a:tab pos="1371600" algn="l"/>
              </a:tabLst>
              <a:defRPr/>
            </a:pPr>
            <a:r>
              <a:rPr lang="en-US" sz="1200" b="1" kern="100" dirty="0">
                <a:solidFill>
                  <a:schemeClr val="accent1"/>
                </a:solidFill>
                <a:latin typeface="+mj-lt"/>
                <a:cs typeface="Times New Roman"/>
              </a:rPr>
              <a:t>Delivery</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Functional Testing for Customized Modules</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Integration Testing  (CoreLogic, Billing and Downstreams)</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Regression testing for OOTB Functionalities</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End-End Testing of Entire Business Process</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Lifecycle Automation across testing phase</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Data Migration Testing </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Performance, Usability, Accessibility Testing</a:t>
            </a:r>
            <a:endParaRPr kumimoji="0" lang="en-US" sz="1000" i="0" u="none" strike="noStrike" kern="100" cap="none" spc="0" normalizeH="0" baseline="0" noProof="0" dirty="0">
              <a:ln>
                <a:noFill/>
              </a:ln>
              <a:solidFill>
                <a:prstClr val="black"/>
              </a:solidFill>
              <a:effectLst/>
              <a:uLnTx/>
              <a:uFillTx/>
              <a:latin typeface="+mj-lt"/>
              <a:cs typeface="Times New Roman"/>
            </a:endParaRPr>
          </a:p>
        </p:txBody>
      </p:sp>
      <p:sp>
        <p:nvSpPr>
          <p:cNvPr id="54" name="Rectangle 53">
            <a:extLst>
              <a:ext uri="{FF2B5EF4-FFF2-40B4-BE49-F238E27FC236}">
                <a16:creationId xmlns:a16="http://schemas.microsoft.com/office/drawing/2014/main" id="{47915312-31FE-91C4-4687-0B386381B8E2}"/>
              </a:ext>
            </a:extLst>
          </p:cNvPr>
          <p:cNvSpPr/>
          <p:nvPr/>
        </p:nvSpPr>
        <p:spPr>
          <a:xfrm rot="10800000" flipV="1">
            <a:off x="6209096" y="4302658"/>
            <a:ext cx="2356387" cy="1261884"/>
          </a:xfrm>
          <a:prstGeom prst="rect">
            <a:avLst/>
          </a:prstGeom>
          <a:noFill/>
          <a:ln w="3175" cap="flat" cmpd="sng" algn="ctr">
            <a:noFill/>
            <a:prstDash val="solid"/>
            <a:miter lim="800000"/>
          </a:ln>
          <a:effectLst/>
        </p:spPr>
        <p:txBody>
          <a:bodyPr wrap="square" lIns="0" tIns="0" rIns="0" bIns="0" rtlCol="0" anchor="t" anchorCtr="0">
            <a:spAutoFit/>
          </a:bodyPr>
          <a:lstStyle/>
          <a:p>
            <a:pPr marL="0" lvl="2" defTabSz="914400">
              <a:spcAft>
                <a:spcPts val="200"/>
              </a:spcAft>
              <a:buClr>
                <a:schemeClr val="accent1"/>
              </a:buClr>
              <a:tabLst>
                <a:tab pos="1371600" algn="l"/>
              </a:tabLst>
              <a:defRPr/>
            </a:pPr>
            <a:r>
              <a:rPr lang="en-US" sz="1200" b="1" kern="100" dirty="0">
                <a:solidFill>
                  <a:schemeClr val="accent1"/>
                </a:solidFill>
                <a:latin typeface="+mj-lt"/>
                <a:cs typeface="Times New Roman"/>
              </a:rPr>
              <a:t>Type of Engagements</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Guidewire Cloud Migration</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GW Version Upgrade &amp; Support</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Database Upgrade &amp; Migration</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Maintenance Release </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New Implementation &amp; Optimization</a:t>
            </a:r>
          </a:p>
          <a:p>
            <a:pPr marL="114295" lvl="1" indent="-114295" defTabSz="488930">
              <a:spcAft>
                <a:spcPts val="200"/>
              </a:spcAft>
              <a:buFont typeface="Arial" panose="020B0604020202020204" pitchFamily="34" charset="0"/>
              <a:buChar char="•"/>
              <a:defRPr/>
            </a:pPr>
            <a:r>
              <a:rPr lang="en-US" sz="1000" kern="0" dirty="0">
                <a:solidFill>
                  <a:prstClr val="black">
                    <a:hueOff val="0"/>
                    <a:satOff val="0"/>
                    <a:lumOff val="0"/>
                    <a:alphaOff val="0"/>
                  </a:prstClr>
                </a:solidFill>
                <a:latin typeface="+mj-lt"/>
              </a:rPr>
              <a:t>Guidewire Digital &amp; Integrations</a:t>
            </a:r>
          </a:p>
        </p:txBody>
      </p:sp>
      <p:pic>
        <p:nvPicPr>
          <p:cNvPr id="76" name="Picture 75">
            <a:extLst>
              <a:ext uri="{FF2B5EF4-FFF2-40B4-BE49-F238E27FC236}">
                <a16:creationId xmlns:a16="http://schemas.microsoft.com/office/drawing/2014/main" id="{AAB6A19C-E4EE-87D6-FABD-26C5722949E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93956" y="1616763"/>
            <a:ext cx="974750" cy="303672"/>
          </a:xfrm>
          <a:prstGeom prst="rect">
            <a:avLst/>
          </a:prstGeom>
        </p:spPr>
      </p:pic>
      <p:sp>
        <p:nvSpPr>
          <p:cNvPr id="71" name="Title 70">
            <a:extLst>
              <a:ext uri="{FF2B5EF4-FFF2-40B4-BE49-F238E27FC236}">
                <a16:creationId xmlns:a16="http://schemas.microsoft.com/office/drawing/2014/main" id="{970A949A-6890-354B-5FA3-056CC18B5830}"/>
              </a:ext>
            </a:extLst>
          </p:cNvPr>
          <p:cNvSpPr>
            <a:spLocks noGrp="1"/>
          </p:cNvSpPr>
          <p:nvPr>
            <p:ph type="title"/>
          </p:nvPr>
        </p:nvSpPr>
        <p:spPr>
          <a:xfrm>
            <a:off x="244911" y="237533"/>
            <a:ext cx="11359107" cy="505732"/>
          </a:xfrm>
        </p:spPr>
        <p:txBody>
          <a:bodyPr>
            <a:normAutofit/>
          </a:bodyPr>
          <a:lstStyle/>
          <a:p>
            <a:r>
              <a:rPr lang="en-US" sz="2400" dirty="0"/>
              <a:t>Guidewire Testing Capabilities</a:t>
            </a:r>
            <a:endParaRPr lang="en-IN" sz="2400" dirty="0"/>
          </a:p>
        </p:txBody>
      </p:sp>
      <p:sp>
        <p:nvSpPr>
          <p:cNvPr id="73" name="Rounded Rectangle 9">
            <a:extLst>
              <a:ext uri="{FF2B5EF4-FFF2-40B4-BE49-F238E27FC236}">
                <a16:creationId xmlns:a16="http://schemas.microsoft.com/office/drawing/2014/main" id="{5F80D770-50EC-E6FF-8BD1-96F9EEFF7AD4}"/>
              </a:ext>
            </a:extLst>
          </p:cNvPr>
          <p:cNvSpPr/>
          <p:nvPr/>
        </p:nvSpPr>
        <p:spPr>
          <a:xfrm>
            <a:off x="8819308" y="770319"/>
            <a:ext cx="3017520" cy="1636355"/>
          </a:xfrm>
          <a:prstGeom prst="roundRect">
            <a:avLst>
              <a:gd name="adj" fmla="val 4586"/>
            </a:avLst>
          </a:prstGeom>
          <a:noFill/>
          <a:ln w="3175" cap="flat">
            <a:solidFill>
              <a:schemeClr val="bg1">
                <a:lumMod val="75000"/>
              </a:schemeClr>
            </a:solidFill>
            <a:prstDash val="solid"/>
            <a:miter/>
          </a:ln>
          <a:effectLst>
            <a:innerShdw blurRad="279400">
              <a:prstClr val="black">
                <a:alpha val="14000"/>
              </a:prstClr>
            </a:innerShd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lang="en-US" sz="2400" b="1">
              <a:solidFill>
                <a:schemeClr val="accent2"/>
              </a:solidFill>
              <a:latin typeface="+mj-lt"/>
              <a:cs typeface="Arial" panose="020B0604020202020204" pitchFamily="34" charset="0"/>
            </a:endParaRPr>
          </a:p>
        </p:txBody>
      </p:sp>
      <p:sp>
        <p:nvSpPr>
          <p:cNvPr id="74" name="Rectangle: Top Corners Rounded 73">
            <a:extLst>
              <a:ext uri="{FF2B5EF4-FFF2-40B4-BE49-F238E27FC236}">
                <a16:creationId xmlns:a16="http://schemas.microsoft.com/office/drawing/2014/main" id="{574A8739-4629-BFA0-3122-5E687755D2D5}"/>
              </a:ext>
            </a:extLst>
          </p:cNvPr>
          <p:cNvSpPr/>
          <p:nvPr/>
        </p:nvSpPr>
        <p:spPr>
          <a:xfrm>
            <a:off x="9532089" y="770321"/>
            <a:ext cx="1593016" cy="325324"/>
          </a:xfrm>
          <a:prstGeom prst="round2SameRect">
            <a:avLst>
              <a:gd name="adj1" fmla="val 0"/>
              <a:gd name="adj2" fmla="val 21272"/>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r>
              <a:rPr lang="en-US" sz="1200" b="1" dirty="0">
                <a:solidFill>
                  <a:schemeClr val="bg1"/>
                </a:solidFill>
              </a:rPr>
              <a:t>Key Tools</a:t>
            </a:r>
          </a:p>
        </p:txBody>
      </p:sp>
      <p:sp>
        <p:nvSpPr>
          <p:cNvPr id="75" name="Oval 74">
            <a:extLst>
              <a:ext uri="{FF2B5EF4-FFF2-40B4-BE49-F238E27FC236}">
                <a16:creationId xmlns:a16="http://schemas.microsoft.com/office/drawing/2014/main" id="{4BA20CBE-5BB0-9366-4344-7771E554900C}"/>
              </a:ext>
            </a:extLst>
          </p:cNvPr>
          <p:cNvSpPr/>
          <p:nvPr/>
        </p:nvSpPr>
        <p:spPr>
          <a:xfrm>
            <a:off x="9133243" y="3556725"/>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7" name="Oval 76">
            <a:extLst>
              <a:ext uri="{FF2B5EF4-FFF2-40B4-BE49-F238E27FC236}">
                <a16:creationId xmlns:a16="http://schemas.microsoft.com/office/drawing/2014/main" id="{D6BBE11C-1896-1329-2D8A-0B6CFFD4BE2F}"/>
              </a:ext>
            </a:extLst>
          </p:cNvPr>
          <p:cNvSpPr/>
          <p:nvPr/>
        </p:nvSpPr>
        <p:spPr>
          <a:xfrm>
            <a:off x="9133243" y="4338635"/>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8" name="Oval 77">
            <a:extLst>
              <a:ext uri="{FF2B5EF4-FFF2-40B4-BE49-F238E27FC236}">
                <a16:creationId xmlns:a16="http://schemas.microsoft.com/office/drawing/2014/main" id="{327A0F7F-8D31-DA1E-67B5-82751459232B}"/>
              </a:ext>
            </a:extLst>
          </p:cNvPr>
          <p:cNvSpPr/>
          <p:nvPr/>
        </p:nvSpPr>
        <p:spPr>
          <a:xfrm>
            <a:off x="9133243" y="5122216"/>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108" name="Graphic 107">
            <a:extLst>
              <a:ext uri="{FF2B5EF4-FFF2-40B4-BE49-F238E27FC236}">
                <a16:creationId xmlns:a16="http://schemas.microsoft.com/office/drawing/2014/main" id="{1B656D87-38E4-3258-0FFA-1F1F99C988F7}"/>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9218969" y="3637906"/>
            <a:ext cx="286982" cy="294838"/>
          </a:xfrm>
          <a:prstGeom prst="rect">
            <a:avLst/>
          </a:prstGeom>
        </p:spPr>
      </p:pic>
      <p:pic>
        <p:nvPicPr>
          <p:cNvPr id="109" name="Graphic 108">
            <a:extLst>
              <a:ext uri="{FF2B5EF4-FFF2-40B4-BE49-F238E27FC236}">
                <a16:creationId xmlns:a16="http://schemas.microsoft.com/office/drawing/2014/main" id="{2F2B930B-F0D1-BC52-7B33-20264B6604BE}"/>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9225924" y="5210543"/>
            <a:ext cx="273072" cy="280546"/>
          </a:xfrm>
          <a:prstGeom prst="rect">
            <a:avLst/>
          </a:prstGeom>
        </p:spPr>
      </p:pic>
      <p:pic>
        <p:nvPicPr>
          <p:cNvPr id="110" name="Graphic 109">
            <a:extLst>
              <a:ext uri="{FF2B5EF4-FFF2-40B4-BE49-F238E27FC236}">
                <a16:creationId xmlns:a16="http://schemas.microsoft.com/office/drawing/2014/main" id="{CA1BF8AC-815B-7574-E4CC-51A69F22051E}"/>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9225924" y="4426962"/>
            <a:ext cx="273072" cy="280546"/>
          </a:xfrm>
          <a:prstGeom prst="rect">
            <a:avLst/>
          </a:prstGeom>
        </p:spPr>
      </p:pic>
      <p:pic>
        <p:nvPicPr>
          <p:cNvPr id="2" name="Picture 1">
            <a:extLst>
              <a:ext uri="{FF2B5EF4-FFF2-40B4-BE49-F238E27FC236}">
                <a16:creationId xmlns:a16="http://schemas.microsoft.com/office/drawing/2014/main" id="{FE127FF5-74AB-BA53-CA52-86EF175FF048}"/>
              </a:ext>
            </a:extLst>
          </p:cNvPr>
          <p:cNvPicPr>
            <a:picLocks noChangeAspect="1"/>
          </p:cNvPicPr>
          <p:nvPr/>
        </p:nvPicPr>
        <p:blipFill>
          <a:blip r:embed="rId17"/>
          <a:stretch>
            <a:fillRect/>
          </a:stretch>
        </p:blipFill>
        <p:spPr>
          <a:xfrm>
            <a:off x="9125302" y="2031639"/>
            <a:ext cx="813574" cy="329734"/>
          </a:xfrm>
          <a:prstGeom prst="rect">
            <a:avLst/>
          </a:prstGeom>
        </p:spPr>
      </p:pic>
      <p:grpSp>
        <p:nvGrpSpPr>
          <p:cNvPr id="64" name="Group 63">
            <a:extLst>
              <a:ext uri="{FF2B5EF4-FFF2-40B4-BE49-F238E27FC236}">
                <a16:creationId xmlns:a16="http://schemas.microsoft.com/office/drawing/2014/main" id="{BF305459-4866-383F-7B77-8600A8E5F618}"/>
              </a:ext>
            </a:extLst>
          </p:cNvPr>
          <p:cNvGrpSpPr/>
          <p:nvPr/>
        </p:nvGrpSpPr>
        <p:grpSpPr>
          <a:xfrm>
            <a:off x="2348229" y="2100799"/>
            <a:ext cx="3440380" cy="3390290"/>
            <a:chOff x="2343189" y="2101334"/>
            <a:chExt cx="3440380" cy="3390290"/>
          </a:xfrm>
          <a:solidFill>
            <a:srgbClr val="C00000"/>
          </a:solidFill>
        </p:grpSpPr>
        <p:sp>
          <p:nvSpPr>
            <p:cNvPr id="61" name="Partial Circle 60">
              <a:extLst>
                <a:ext uri="{FF2B5EF4-FFF2-40B4-BE49-F238E27FC236}">
                  <a16:creationId xmlns:a16="http://schemas.microsoft.com/office/drawing/2014/main" id="{974D2CF9-237C-D0C3-E0D7-24B1CA168F09}"/>
                </a:ext>
              </a:extLst>
            </p:cNvPr>
            <p:cNvSpPr/>
            <p:nvPr/>
          </p:nvSpPr>
          <p:spPr>
            <a:xfrm>
              <a:off x="2343189" y="2158121"/>
              <a:ext cx="3440380" cy="3322577"/>
            </a:xfrm>
            <a:prstGeom prst="pie">
              <a:avLst>
                <a:gd name="adj1" fmla="val 19757419"/>
                <a:gd name="adj2" fmla="val 5420067"/>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endParaRPr lang="en-US" sz="1200" b="1" dirty="0">
                <a:solidFill>
                  <a:schemeClr val="bg1"/>
                </a:solidFill>
              </a:endParaRPr>
            </a:p>
          </p:txBody>
        </p:sp>
        <p:sp>
          <p:nvSpPr>
            <p:cNvPr id="62" name="Partial Circle 61">
              <a:extLst>
                <a:ext uri="{FF2B5EF4-FFF2-40B4-BE49-F238E27FC236}">
                  <a16:creationId xmlns:a16="http://schemas.microsoft.com/office/drawing/2014/main" id="{51101BDF-884C-4EBE-E000-C3BF18F0707D}"/>
                </a:ext>
              </a:extLst>
            </p:cNvPr>
            <p:cNvSpPr/>
            <p:nvPr/>
          </p:nvSpPr>
          <p:spPr>
            <a:xfrm rot="14405239">
              <a:off x="2390689" y="2120444"/>
              <a:ext cx="3369409" cy="3331189"/>
            </a:xfrm>
            <a:prstGeom prst="pie">
              <a:avLst>
                <a:gd name="adj1" fmla="val 19833994"/>
                <a:gd name="adj2" fmla="val 5335664"/>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endParaRPr lang="en-US" sz="1200" b="1">
                <a:solidFill>
                  <a:schemeClr val="bg1"/>
                </a:solidFill>
              </a:endParaRPr>
            </a:p>
          </p:txBody>
        </p:sp>
        <p:sp>
          <p:nvSpPr>
            <p:cNvPr id="63" name="Partial Circle 62">
              <a:extLst>
                <a:ext uri="{FF2B5EF4-FFF2-40B4-BE49-F238E27FC236}">
                  <a16:creationId xmlns:a16="http://schemas.microsoft.com/office/drawing/2014/main" id="{6EAE1CDE-4023-35CF-73EA-6126554B3ACF}"/>
                </a:ext>
              </a:extLst>
            </p:cNvPr>
            <p:cNvSpPr/>
            <p:nvPr/>
          </p:nvSpPr>
          <p:spPr>
            <a:xfrm rot="7305901">
              <a:off x="2347559" y="2159381"/>
              <a:ext cx="3366927" cy="3297560"/>
            </a:xfrm>
            <a:prstGeom prst="pie">
              <a:avLst>
                <a:gd name="adj1" fmla="val 19683785"/>
                <a:gd name="adj2" fmla="val 5335664"/>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502920" rtlCol="0" anchor="ctr"/>
            <a:lstStyle/>
            <a:p>
              <a:endParaRPr lang="en-US" sz="1200" b="1" dirty="0">
                <a:solidFill>
                  <a:schemeClr val="bg1"/>
                </a:solidFill>
              </a:endParaRPr>
            </a:p>
          </p:txBody>
        </p:sp>
      </p:grpSp>
      <p:sp>
        <p:nvSpPr>
          <p:cNvPr id="59" name="Oval 58">
            <a:extLst>
              <a:ext uri="{FF2B5EF4-FFF2-40B4-BE49-F238E27FC236}">
                <a16:creationId xmlns:a16="http://schemas.microsoft.com/office/drawing/2014/main" id="{C02D28FC-D06F-EA37-C94E-7961D66F1E1F}"/>
              </a:ext>
            </a:extLst>
          </p:cNvPr>
          <p:cNvSpPr/>
          <p:nvPr/>
        </p:nvSpPr>
        <p:spPr>
          <a:xfrm>
            <a:off x="2999990" y="2736085"/>
            <a:ext cx="2160103" cy="2123367"/>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BCD1E49E-0E3B-B864-DDA7-E2691341F668}"/>
              </a:ext>
            </a:extLst>
          </p:cNvPr>
          <p:cNvSpPr txBox="1"/>
          <p:nvPr/>
        </p:nvSpPr>
        <p:spPr>
          <a:xfrm>
            <a:off x="3518873" y="3000073"/>
            <a:ext cx="1066124" cy="461665"/>
          </a:xfrm>
          <a:prstGeom prst="rect">
            <a:avLst/>
          </a:prstGeom>
          <a:noFill/>
        </p:spPr>
        <p:txBody>
          <a:bodyPr wrap="square">
            <a:spAutoFit/>
          </a:bodyPr>
          <a:lstStyle/>
          <a:p>
            <a:pPr algn="ctr"/>
            <a:r>
              <a:rPr lang="en-US" sz="1200" b="1" dirty="0">
                <a:solidFill>
                  <a:schemeClr val="bg1"/>
                </a:solidFill>
                <a:latin typeface="+mj-lt"/>
              </a:rPr>
              <a:t>Core </a:t>
            </a:r>
          </a:p>
          <a:p>
            <a:pPr algn="ctr"/>
            <a:r>
              <a:rPr lang="en-US" sz="1200" b="1" dirty="0">
                <a:solidFill>
                  <a:schemeClr val="bg1"/>
                </a:solidFill>
                <a:latin typeface="+mj-lt"/>
              </a:rPr>
              <a:t>Systems</a:t>
            </a:r>
            <a:endParaRPr lang="en-US" sz="1200" dirty="0">
              <a:solidFill>
                <a:schemeClr val="bg1"/>
              </a:solidFill>
            </a:endParaRPr>
          </a:p>
        </p:txBody>
      </p:sp>
      <p:sp>
        <p:nvSpPr>
          <p:cNvPr id="67" name="TextBox 66">
            <a:extLst>
              <a:ext uri="{FF2B5EF4-FFF2-40B4-BE49-F238E27FC236}">
                <a16:creationId xmlns:a16="http://schemas.microsoft.com/office/drawing/2014/main" id="{485949F4-BE37-DA8C-5A5A-6B10C38EBEBC}"/>
              </a:ext>
            </a:extLst>
          </p:cNvPr>
          <p:cNvSpPr txBox="1"/>
          <p:nvPr/>
        </p:nvSpPr>
        <p:spPr>
          <a:xfrm>
            <a:off x="2976418" y="3805085"/>
            <a:ext cx="1176432" cy="461665"/>
          </a:xfrm>
          <a:prstGeom prst="rect">
            <a:avLst/>
          </a:prstGeom>
          <a:noFill/>
        </p:spPr>
        <p:txBody>
          <a:bodyPr wrap="square">
            <a:spAutoFit/>
          </a:bodyPr>
          <a:lstStyle/>
          <a:p>
            <a:pPr algn="ctr"/>
            <a:r>
              <a:rPr lang="en-US" sz="1200" b="1" dirty="0">
                <a:solidFill>
                  <a:schemeClr val="bg1"/>
                </a:solidFill>
                <a:latin typeface="+mj-lt"/>
              </a:rPr>
              <a:t>Digital &amp; Engage Layer</a:t>
            </a:r>
            <a:endParaRPr lang="en-US" sz="1200" dirty="0">
              <a:solidFill>
                <a:schemeClr val="bg1"/>
              </a:solidFill>
            </a:endParaRPr>
          </a:p>
        </p:txBody>
      </p:sp>
      <p:sp>
        <p:nvSpPr>
          <p:cNvPr id="68" name="TextBox 67">
            <a:extLst>
              <a:ext uri="{FF2B5EF4-FFF2-40B4-BE49-F238E27FC236}">
                <a16:creationId xmlns:a16="http://schemas.microsoft.com/office/drawing/2014/main" id="{E8536419-FB4F-A0C0-57A5-FD85A9EBB3B9}"/>
              </a:ext>
            </a:extLst>
          </p:cNvPr>
          <p:cNvSpPr txBox="1"/>
          <p:nvPr/>
        </p:nvSpPr>
        <p:spPr>
          <a:xfrm>
            <a:off x="3996781" y="3815476"/>
            <a:ext cx="1176432" cy="461665"/>
          </a:xfrm>
          <a:prstGeom prst="rect">
            <a:avLst/>
          </a:prstGeom>
          <a:noFill/>
        </p:spPr>
        <p:txBody>
          <a:bodyPr wrap="square">
            <a:spAutoFit/>
          </a:bodyPr>
          <a:lstStyle/>
          <a:p>
            <a:pPr algn="ctr"/>
            <a:r>
              <a:rPr lang="en-US" sz="1200" b="1" dirty="0">
                <a:solidFill>
                  <a:schemeClr val="bg1"/>
                </a:solidFill>
                <a:latin typeface="+mj-lt"/>
              </a:rPr>
              <a:t>Integration &amp; Ecosystem</a:t>
            </a:r>
            <a:endParaRPr lang="en-US" sz="1200" dirty="0">
              <a:solidFill>
                <a:schemeClr val="bg1"/>
              </a:solidFill>
            </a:endParaRPr>
          </a:p>
        </p:txBody>
      </p:sp>
      <p:sp>
        <p:nvSpPr>
          <p:cNvPr id="69" name="TextBox 68">
            <a:extLst>
              <a:ext uri="{FF2B5EF4-FFF2-40B4-BE49-F238E27FC236}">
                <a16:creationId xmlns:a16="http://schemas.microsoft.com/office/drawing/2014/main" id="{C4706F31-844D-6924-8F27-673E763974AB}"/>
              </a:ext>
            </a:extLst>
          </p:cNvPr>
          <p:cNvSpPr txBox="1"/>
          <p:nvPr/>
        </p:nvSpPr>
        <p:spPr>
          <a:xfrm rot="19116858">
            <a:off x="2672229" y="2491531"/>
            <a:ext cx="1066124" cy="415498"/>
          </a:xfrm>
          <a:prstGeom prst="rect">
            <a:avLst/>
          </a:prstGeom>
          <a:noFill/>
        </p:spPr>
        <p:txBody>
          <a:bodyPr wrap="square">
            <a:spAutoFit/>
          </a:bodyPr>
          <a:lstStyle/>
          <a:p>
            <a:pPr algn="ctr"/>
            <a:r>
              <a:rPr lang="en-US" sz="1050" dirty="0">
                <a:solidFill>
                  <a:schemeClr val="bg1"/>
                </a:solidFill>
                <a:latin typeface="+mj-lt"/>
              </a:rPr>
              <a:t>Policy </a:t>
            </a:r>
          </a:p>
          <a:p>
            <a:pPr algn="ctr"/>
            <a:r>
              <a:rPr lang="en-US" sz="1050" dirty="0">
                <a:solidFill>
                  <a:schemeClr val="bg1"/>
                </a:solidFill>
                <a:latin typeface="+mj-lt"/>
              </a:rPr>
              <a:t>Center</a:t>
            </a:r>
            <a:endParaRPr lang="en-US" sz="1050" dirty="0">
              <a:solidFill>
                <a:schemeClr val="bg1"/>
              </a:solidFill>
            </a:endParaRPr>
          </a:p>
        </p:txBody>
      </p:sp>
      <p:sp>
        <p:nvSpPr>
          <p:cNvPr id="70" name="TextBox 69">
            <a:extLst>
              <a:ext uri="{FF2B5EF4-FFF2-40B4-BE49-F238E27FC236}">
                <a16:creationId xmlns:a16="http://schemas.microsoft.com/office/drawing/2014/main" id="{8B3D6DED-9101-5DD5-2024-5752165925DE}"/>
              </a:ext>
            </a:extLst>
          </p:cNvPr>
          <p:cNvSpPr txBox="1"/>
          <p:nvPr/>
        </p:nvSpPr>
        <p:spPr>
          <a:xfrm>
            <a:off x="3510311" y="2200803"/>
            <a:ext cx="1066124" cy="415498"/>
          </a:xfrm>
          <a:prstGeom prst="rect">
            <a:avLst/>
          </a:prstGeom>
          <a:noFill/>
        </p:spPr>
        <p:txBody>
          <a:bodyPr wrap="square">
            <a:spAutoFit/>
          </a:bodyPr>
          <a:lstStyle/>
          <a:p>
            <a:pPr algn="ctr"/>
            <a:r>
              <a:rPr lang="en-US" sz="1050" dirty="0">
                <a:solidFill>
                  <a:schemeClr val="bg1"/>
                </a:solidFill>
                <a:latin typeface="+mj-lt"/>
              </a:rPr>
              <a:t>Claim </a:t>
            </a:r>
          </a:p>
          <a:p>
            <a:pPr algn="ctr"/>
            <a:r>
              <a:rPr lang="en-US" sz="1050" dirty="0">
                <a:solidFill>
                  <a:schemeClr val="bg1"/>
                </a:solidFill>
                <a:latin typeface="+mj-lt"/>
              </a:rPr>
              <a:t>Center</a:t>
            </a:r>
            <a:endParaRPr lang="en-US" sz="1050" dirty="0">
              <a:solidFill>
                <a:schemeClr val="bg1"/>
              </a:solidFill>
            </a:endParaRPr>
          </a:p>
        </p:txBody>
      </p:sp>
      <p:sp>
        <p:nvSpPr>
          <p:cNvPr id="79" name="TextBox 78">
            <a:extLst>
              <a:ext uri="{FF2B5EF4-FFF2-40B4-BE49-F238E27FC236}">
                <a16:creationId xmlns:a16="http://schemas.microsoft.com/office/drawing/2014/main" id="{AD80317F-AA4A-B576-E9EE-1C35FBF53BF3}"/>
              </a:ext>
            </a:extLst>
          </p:cNvPr>
          <p:cNvSpPr txBox="1"/>
          <p:nvPr/>
        </p:nvSpPr>
        <p:spPr>
          <a:xfrm rot="2197782">
            <a:off x="4362840" y="2482153"/>
            <a:ext cx="1066124" cy="415498"/>
          </a:xfrm>
          <a:prstGeom prst="rect">
            <a:avLst/>
          </a:prstGeom>
          <a:noFill/>
        </p:spPr>
        <p:txBody>
          <a:bodyPr wrap="square">
            <a:spAutoFit/>
          </a:bodyPr>
          <a:lstStyle/>
          <a:p>
            <a:pPr algn="ctr"/>
            <a:r>
              <a:rPr lang="en-US" sz="1050" dirty="0">
                <a:solidFill>
                  <a:schemeClr val="bg1"/>
                </a:solidFill>
                <a:latin typeface="+mj-lt"/>
              </a:rPr>
              <a:t>Billing </a:t>
            </a:r>
          </a:p>
          <a:p>
            <a:pPr algn="ctr"/>
            <a:r>
              <a:rPr lang="en-US" sz="1050" dirty="0">
                <a:solidFill>
                  <a:schemeClr val="bg1"/>
                </a:solidFill>
                <a:latin typeface="+mj-lt"/>
              </a:rPr>
              <a:t>Center</a:t>
            </a:r>
            <a:endParaRPr lang="en-US" sz="1050" dirty="0">
              <a:solidFill>
                <a:schemeClr val="bg1"/>
              </a:solidFill>
            </a:endParaRPr>
          </a:p>
        </p:txBody>
      </p:sp>
      <p:sp>
        <p:nvSpPr>
          <p:cNvPr id="80" name="TextBox 79">
            <a:extLst>
              <a:ext uri="{FF2B5EF4-FFF2-40B4-BE49-F238E27FC236}">
                <a16:creationId xmlns:a16="http://schemas.microsoft.com/office/drawing/2014/main" id="{8081E4DD-EC06-DC8B-9744-2C41053F1728}"/>
              </a:ext>
            </a:extLst>
          </p:cNvPr>
          <p:cNvSpPr txBox="1"/>
          <p:nvPr/>
        </p:nvSpPr>
        <p:spPr>
          <a:xfrm rot="5400000">
            <a:off x="2080653" y="3548901"/>
            <a:ext cx="1163965" cy="415498"/>
          </a:xfrm>
          <a:prstGeom prst="rect">
            <a:avLst/>
          </a:prstGeom>
          <a:noFill/>
        </p:spPr>
        <p:txBody>
          <a:bodyPr wrap="square">
            <a:spAutoFit/>
          </a:bodyPr>
          <a:lstStyle/>
          <a:p>
            <a:pPr algn="ctr"/>
            <a:r>
              <a:rPr lang="en-US" sz="1050" dirty="0">
                <a:solidFill>
                  <a:schemeClr val="bg1"/>
                </a:solidFill>
                <a:latin typeface="+mj-lt"/>
              </a:rPr>
              <a:t>Customer</a:t>
            </a:r>
          </a:p>
          <a:p>
            <a:pPr algn="ctr"/>
            <a:r>
              <a:rPr lang="en-US" sz="1050" dirty="0">
                <a:solidFill>
                  <a:schemeClr val="bg1"/>
                </a:solidFill>
                <a:latin typeface="+mj-lt"/>
              </a:rPr>
              <a:t> Engage</a:t>
            </a:r>
            <a:endParaRPr lang="en-US" sz="1050" dirty="0">
              <a:solidFill>
                <a:schemeClr val="bg1"/>
              </a:solidFill>
            </a:endParaRPr>
          </a:p>
        </p:txBody>
      </p:sp>
      <p:sp>
        <p:nvSpPr>
          <p:cNvPr id="81" name="TextBox 80">
            <a:extLst>
              <a:ext uri="{FF2B5EF4-FFF2-40B4-BE49-F238E27FC236}">
                <a16:creationId xmlns:a16="http://schemas.microsoft.com/office/drawing/2014/main" id="{2D5CFC38-2CC8-A6A4-D382-679C1D5CA8DD}"/>
              </a:ext>
            </a:extLst>
          </p:cNvPr>
          <p:cNvSpPr txBox="1"/>
          <p:nvPr/>
        </p:nvSpPr>
        <p:spPr>
          <a:xfrm rot="2777967">
            <a:off x="2673835" y="4659800"/>
            <a:ext cx="1066124" cy="415498"/>
          </a:xfrm>
          <a:prstGeom prst="rect">
            <a:avLst/>
          </a:prstGeom>
          <a:noFill/>
        </p:spPr>
        <p:txBody>
          <a:bodyPr wrap="square">
            <a:spAutoFit/>
          </a:bodyPr>
          <a:lstStyle/>
          <a:p>
            <a:pPr algn="ctr"/>
            <a:r>
              <a:rPr lang="en-US" sz="1050" dirty="0">
                <a:solidFill>
                  <a:schemeClr val="bg1"/>
                </a:solidFill>
                <a:latin typeface="+mj-lt"/>
              </a:rPr>
              <a:t>Product </a:t>
            </a:r>
          </a:p>
          <a:p>
            <a:pPr algn="ctr"/>
            <a:r>
              <a:rPr lang="en-US" sz="1050" dirty="0">
                <a:solidFill>
                  <a:schemeClr val="bg1"/>
                </a:solidFill>
                <a:latin typeface="+mj-lt"/>
              </a:rPr>
              <a:t>Engage</a:t>
            </a:r>
            <a:endParaRPr lang="en-US" sz="1050" dirty="0">
              <a:solidFill>
                <a:schemeClr val="bg1"/>
              </a:solidFill>
            </a:endParaRPr>
          </a:p>
        </p:txBody>
      </p:sp>
      <p:sp>
        <p:nvSpPr>
          <p:cNvPr id="84" name="TextBox 83">
            <a:extLst>
              <a:ext uri="{FF2B5EF4-FFF2-40B4-BE49-F238E27FC236}">
                <a16:creationId xmlns:a16="http://schemas.microsoft.com/office/drawing/2014/main" id="{02640388-EF58-7400-2108-310572B46CD6}"/>
              </a:ext>
            </a:extLst>
          </p:cNvPr>
          <p:cNvSpPr txBox="1"/>
          <p:nvPr/>
        </p:nvSpPr>
        <p:spPr>
          <a:xfrm rot="16200000">
            <a:off x="4948934" y="3467892"/>
            <a:ext cx="1066124" cy="415498"/>
          </a:xfrm>
          <a:prstGeom prst="rect">
            <a:avLst/>
          </a:prstGeom>
          <a:noFill/>
        </p:spPr>
        <p:txBody>
          <a:bodyPr wrap="square">
            <a:spAutoFit/>
          </a:bodyPr>
          <a:lstStyle/>
          <a:p>
            <a:pPr algn="ctr"/>
            <a:r>
              <a:rPr lang="en-US" sz="1050" dirty="0">
                <a:solidFill>
                  <a:schemeClr val="bg1"/>
                </a:solidFill>
                <a:latin typeface="+mj-lt"/>
              </a:rPr>
              <a:t>Third-party systems</a:t>
            </a:r>
            <a:endParaRPr lang="en-US" sz="1050" dirty="0">
              <a:solidFill>
                <a:schemeClr val="bg1"/>
              </a:solidFill>
            </a:endParaRPr>
          </a:p>
        </p:txBody>
      </p:sp>
      <p:sp>
        <p:nvSpPr>
          <p:cNvPr id="85" name="TextBox 84">
            <a:extLst>
              <a:ext uri="{FF2B5EF4-FFF2-40B4-BE49-F238E27FC236}">
                <a16:creationId xmlns:a16="http://schemas.microsoft.com/office/drawing/2014/main" id="{C7E096BC-DE46-C170-AB5F-9F0F8E4DC5D2}"/>
              </a:ext>
            </a:extLst>
          </p:cNvPr>
          <p:cNvSpPr txBox="1"/>
          <p:nvPr/>
        </p:nvSpPr>
        <p:spPr>
          <a:xfrm rot="18523404">
            <a:off x="4738405" y="4344433"/>
            <a:ext cx="1066124" cy="415498"/>
          </a:xfrm>
          <a:prstGeom prst="rect">
            <a:avLst/>
          </a:prstGeom>
          <a:noFill/>
        </p:spPr>
        <p:txBody>
          <a:bodyPr wrap="square">
            <a:spAutoFit/>
          </a:bodyPr>
          <a:lstStyle/>
          <a:p>
            <a:pPr algn="ctr"/>
            <a:r>
              <a:rPr lang="en-US" sz="1050" dirty="0">
                <a:solidFill>
                  <a:schemeClr val="bg1"/>
                </a:solidFill>
                <a:latin typeface="+mj-lt"/>
              </a:rPr>
              <a:t>API &amp; Messaging</a:t>
            </a:r>
          </a:p>
        </p:txBody>
      </p:sp>
      <p:sp>
        <p:nvSpPr>
          <p:cNvPr id="86" name="TextBox 85">
            <a:extLst>
              <a:ext uri="{FF2B5EF4-FFF2-40B4-BE49-F238E27FC236}">
                <a16:creationId xmlns:a16="http://schemas.microsoft.com/office/drawing/2014/main" id="{E63904D4-A7A0-ABD1-A5CD-2719F19F0591}"/>
              </a:ext>
            </a:extLst>
          </p:cNvPr>
          <p:cNvSpPr txBox="1"/>
          <p:nvPr/>
        </p:nvSpPr>
        <p:spPr>
          <a:xfrm rot="20197154">
            <a:off x="4034177" y="4884787"/>
            <a:ext cx="1066124" cy="415498"/>
          </a:xfrm>
          <a:prstGeom prst="rect">
            <a:avLst/>
          </a:prstGeom>
          <a:noFill/>
        </p:spPr>
        <p:txBody>
          <a:bodyPr wrap="square">
            <a:spAutoFit/>
          </a:bodyPr>
          <a:lstStyle/>
          <a:p>
            <a:pPr algn="ctr"/>
            <a:r>
              <a:rPr lang="en-US" sz="1050" dirty="0">
                <a:solidFill>
                  <a:schemeClr val="bg1"/>
                </a:solidFill>
                <a:latin typeface="+mj-lt"/>
              </a:rPr>
              <a:t>Data </a:t>
            </a:r>
          </a:p>
          <a:p>
            <a:pPr algn="ctr"/>
            <a:r>
              <a:rPr lang="en-US" sz="1050" dirty="0">
                <a:solidFill>
                  <a:schemeClr val="bg1"/>
                </a:solidFill>
                <a:latin typeface="+mj-lt"/>
              </a:rPr>
              <a:t>Exchange</a:t>
            </a:r>
            <a:endParaRPr lang="en-US" sz="1050" dirty="0">
              <a:solidFill>
                <a:schemeClr val="bg1"/>
              </a:solidFill>
            </a:endParaRPr>
          </a:p>
        </p:txBody>
      </p:sp>
      <p:sp>
        <p:nvSpPr>
          <p:cNvPr id="18" name="Rectangle: Rounded Corners 17">
            <a:extLst>
              <a:ext uri="{FF2B5EF4-FFF2-40B4-BE49-F238E27FC236}">
                <a16:creationId xmlns:a16="http://schemas.microsoft.com/office/drawing/2014/main" id="{5CF289D8-C8D9-1B6C-E1EC-9A0D558118AE}"/>
              </a:ext>
            </a:extLst>
          </p:cNvPr>
          <p:cNvSpPr/>
          <p:nvPr/>
        </p:nvSpPr>
        <p:spPr>
          <a:xfrm>
            <a:off x="486269" y="3772571"/>
            <a:ext cx="1581912" cy="520562"/>
          </a:xfrm>
          <a:prstGeom prst="roundRect">
            <a:avLst>
              <a:gd name="adj" fmla="val 12579"/>
            </a:avLst>
          </a:prstGeom>
          <a:solidFill>
            <a:schemeClr val="bg1"/>
          </a:solidFill>
          <a:ln w="12700" cap="flat" cmpd="sng" algn="ctr">
            <a:noFill/>
            <a:prstDash val="solid"/>
            <a:miter lim="800000"/>
          </a:ln>
          <a:effectLst>
            <a:outerShdw blurRad="254000" sx="89000" sy="89000" algn="ctr" rotWithShape="0">
              <a:prstClr val="black">
                <a:alpha val="22000"/>
              </a:prstClr>
            </a:outerShdw>
          </a:effectLst>
        </p:spPr>
        <p:txBody>
          <a:bodyPr lIns="457200" tIns="36000" rIns="45720" bIns="36000" rtlCol="0" anchor="ctr"/>
          <a:lstStyle/>
          <a:p>
            <a:r>
              <a:rPr lang="en-US" sz="1100" b="1" dirty="0">
                <a:solidFill>
                  <a:prstClr val="black"/>
                </a:solidFill>
                <a:latin typeface="+mj-lt"/>
              </a:rPr>
              <a:t>Specialty</a:t>
            </a:r>
          </a:p>
        </p:txBody>
      </p:sp>
      <p:sp>
        <p:nvSpPr>
          <p:cNvPr id="25" name="Rectangle: Top Corners Rounded 24">
            <a:extLst>
              <a:ext uri="{FF2B5EF4-FFF2-40B4-BE49-F238E27FC236}">
                <a16:creationId xmlns:a16="http://schemas.microsoft.com/office/drawing/2014/main" id="{519EE01B-C15B-5264-EF77-71709D0EDC91}"/>
              </a:ext>
            </a:extLst>
          </p:cNvPr>
          <p:cNvSpPr/>
          <p:nvPr/>
        </p:nvSpPr>
        <p:spPr>
          <a:xfrm rot="5400000" flipH="1">
            <a:off x="476906" y="3836139"/>
            <a:ext cx="382557" cy="393427"/>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IN" sz="1000" b="1">
              <a:solidFill>
                <a:schemeClr val="lt1"/>
              </a:solidFill>
              <a:latin typeface="+mj-lt"/>
            </a:endParaRPr>
          </a:p>
        </p:txBody>
      </p:sp>
      <p:pic>
        <p:nvPicPr>
          <p:cNvPr id="1026" name="Picture 2" descr="Specialization Icon Png, Transparent Png - vhv">
            <a:extLst>
              <a:ext uri="{FF2B5EF4-FFF2-40B4-BE49-F238E27FC236}">
                <a16:creationId xmlns:a16="http://schemas.microsoft.com/office/drawing/2014/main" id="{ADDAF383-9857-A305-4EE8-6CEB2F0B1D5D}"/>
              </a:ext>
            </a:extLst>
          </p:cNvPr>
          <p:cNvPicPr>
            <a:picLocks noChangeAspect="1" noChangeArrowheads="1"/>
          </p:cNvPicPr>
          <p:nvPr/>
        </p:nvPicPr>
        <p:blipFill>
          <a:blip r:embed="rId18">
            <a:lum bright="70000" contrast="-70000"/>
            <a:extLst>
              <a:ext uri="{BEBA8EAE-BF5A-486C-A8C5-ECC9F3942E4B}">
                <a14:imgProps xmlns:a14="http://schemas.microsoft.com/office/drawing/2010/main">
                  <a14:imgLayer r:embed="rId19">
                    <a14:imgEffect>
                      <a14:backgroundRemoval t="7750" b="94500" l="10000" r="90000">
                        <a14:foregroundMark x1="44767" y1="7750" x2="44767" y2="7750"/>
                        <a14:foregroundMark x1="49070" y1="19750" x2="49070" y2="19750"/>
                        <a14:foregroundMark x1="50465" y1="32000" x2="50465" y2="32000"/>
                        <a14:foregroundMark x1="50465" y1="90875" x2="50465" y2="90875"/>
                        <a14:foregroundMark x1="49767" y1="94500" x2="49767" y2="94500"/>
                      </a14:backgroundRemoval>
                    </a14:imgEffect>
                  </a14:imgLayer>
                </a14:imgProps>
              </a:ext>
              <a:ext uri="{28A0092B-C50C-407E-A947-70E740481C1C}">
                <a14:useLocalDpi xmlns:a14="http://schemas.microsoft.com/office/drawing/2010/main" val="0"/>
              </a:ext>
            </a:extLst>
          </a:blip>
          <a:srcRect/>
          <a:stretch>
            <a:fillRect/>
          </a:stretch>
        </p:blipFill>
        <p:spPr bwMode="auto">
          <a:xfrm>
            <a:off x="435312" y="3874110"/>
            <a:ext cx="393427" cy="36597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OpenText – Raynet Partner for ECM &amp; Compliance Integration">
            <a:extLst>
              <a:ext uri="{FF2B5EF4-FFF2-40B4-BE49-F238E27FC236}">
                <a16:creationId xmlns:a16="http://schemas.microsoft.com/office/drawing/2014/main" id="{D2D1D96A-478D-9B2A-D747-66906A3D4321}"/>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2938" t="43034" r="14937" b="42752"/>
          <a:stretch>
            <a:fillRect/>
          </a:stretch>
        </p:blipFill>
        <p:spPr bwMode="auto">
          <a:xfrm>
            <a:off x="8855344" y="1254368"/>
            <a:ext cx="1050209" cy="20695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4B390249-8329-6014-7C4A-0613CFB7C6A2}"/>
              </a:ext>
            </a:extLst>
          </p:cNvPr>
          <p:cNvSpPr txBox="1"/>
          <p:nvPr/>
        </p:nvSpPr>
        <p:spPr>
          <a:xfrm>
            <a:off x="10032149" y="1949845"/>
            <a:ext cx="1458572" cy="461665"/>
          </a:xfrm>
          <a:prstGeom prst="rect">
            <a:avLst/>
          </a:prstGeom>
          <a:noFill/>
        </p:spPr>
        <p:txBody>
          <a:bodyPr wrap="square">
            <a:spAutoFit/>
          </a:bodyPr>
          <a:lstStyle/>
          <a:p>
            <a:pPr algn="ctr"/>
            <a:r>
              <a:rPr lang="en-US" sz="1200" b="1" kern="0" dirty="0">
                <a:solidFill>
                  <a:prstClr val="black">
                    <a:hueOff val="0"/>
                    <a:satOff val="0"/>
                    <a:lumOff val="0"/>
                    <a:alphaOff val="0"/>
                  </a:prstClr>
                </a:solidFill>
                <a:latin typeface="+mj-lt"/>
              </a:rPr>
              <a:t>Guidewire Testing Framework</a:t>
            </a:r>
            <a:endParaRPr lang="en-US" sz="1200" b="1" dirty="0"/>
          </a:p>
        </p:txBody>
      </p:sp>
      <p:sp>
        <p:nvSpPr>
          <p:cNvPr id="26" name="Rectangle: Rounded Corners 25">
            <a:extLst>
              <a:ext uri="{FF2B5EF4-FFF2-40B4-BE49-F238E27FC236}">
                <a16:creationId xmlns:a16="http://schemas.microsoft.com/office/drawing/2014/main" id="{F0F3133E-9A95-3D49-486E-EE6A736E431D}"/>
              </a:ext>
            </a:extLst>
          </p:cNvPr>
          <p:cNvSpPr/>
          <p:nvPr/>
        </p:nvSpPr>
        <p:spPr>
          <a:xfrm>
            <a:off x="8907851" y="2583251"/>
            <a:ext cx="3017520" cy="3504428"/>
          </a:xfrm>
          <a:prstGeom prst="roundRect">
            <a:avLst>
              <a:gd name="adj" fmla="val 4702"/>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72000" bIns="72000" rtlCol="0" anchor="ctr"/>
          <a:lstStyle/>
          <a:p>
            <a:endParaRPr lang="en-US" sz="1400" dirty="0">
              <a:solidFill>
                <a:schemeClr val="tx1"/>
              </a:solidFill>
              <a:latin typeface="+mj-lt"/>
            </a:endParaRPr>
          </a:p>
        </p:txBody>
      </p:sp>
      <p:sp>
        <p:nvSpPr>
          <p:cNvPr id="27" name="TextBox 26">
            <a:extLst>
              <a:ext uri="{FF2B5EF4-FFF2-40B4-BE49-F238E27FC236}">
                <a16:creationId xmlns:a16="http://schemas.microsoft.com/office/drawing/2014/main" id="{25BC9091-348F-B1DF-D520-C22B986A02C5}"/>
              </a:ext>
            </a:extLst>
          </p:cNvPr>
          <p:cNvSpPr txBox="1"/>
          <p:nvPr/>
        </p:nvSpPr>
        <p:spPr>
          <a:xfrm>
            <a:off x="9788184" y="2771474"/>
            <a:ext cx="761042"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a:t>
            </a: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00</a:t>
            </a:r>
            <a:r>
              <a:rPr kumimoji="0" lang="en-IN" sz="16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ssociates</a:t>
            </a:r>
          </a:p>
        </p:txBody>
      </p:sp>
      <p:sp>
        <p:nvSpPr>
          <p:cNvPr id="29" name="Oval 28">
            <a:extLst>
              <a:ext uri="{FF2B5EF4-FFF2-40B4-BE49-F238E27FC236}">
                <a16:creationId xmlns:a16="http://schemas.microsoft.com/office/drawing/2014/main" id="{A8D95502-AA7E-FBC4-9BD6-38D0DF811701}"/>
              </a:ext>
            </a:extLst>
          </p:cNvPr>
          <p:cNvSpPr/>
          <p:nvPr/>
        </p:nvSpPr>
        <p:spPr>
          <a:xfrm>
            <a:off x="9139636" y="2761866"/>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TextBox 29">
            <a:extLst>
              <a:ext uri="{FF2B5EF4-FFF2-40B4-BE49-F238E27FC236}">
                <a16:creationId xmlns:a16="http://schemas.microsoft.com/office/drawing/2014/main" id="{4E2E70A7-78AD-97DE-4A0B-5585A94E190E}"/>
              </a:ext>
            </a:extLst>
          </p:cNvPr>
          <p:cNvSpPr txBox="1"/>
          <p:nvPr/>
        </p:nvSpPr>
        <p:spPr>
          <a:xfrm>
            <a:off x="9793500" y="3406118"/>
            <a:ext cx="1158907"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5</a:t>
            </a:r>
            <a:r>
              <a:rPr kumimoji="0" lang="en-IN" sz="16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ctive Accounts</a:t>
            </a:r>
          </a:p>
        </p:txBody>
      </p:sp>
      <p:sp>
        <p:nvSpPr>
          <p:cNvPr id="31" name="TextBox 30">
            <a:extLst>
              <a:ext uri="{FF2B5EF4-FFF2-40B4-BE49-F238E27FC236}">
                <a16:creationId xmlns:a16="http://schemas.microsoft.com/office/drawing/2014/main" id="{57BB6CA0-474F-74EB-2B38-5C50F9906D28}"/>
              </a:ext>
            </a:extLst>
          </p:cNvPr>
          <p:cNvSpPr txBox="1"/>
          <p:nvPr/>
        </p:nvSpPr>
        <p:spPr>
          <a:xfrm>
            <a:off x="9814397" y="4009255"/>
            <a:ext cx="1652184"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0+ Years of </a:t>
            </a:r>
            <a:endPar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Customer Relationship</a:t>
            </a:r>
          </a:p>
        </p:txBody>
      </p:sp>
      <p:sp>
        <p:nvSpPr>
          <p:cNvPr id="32" name="TextBox 31">
            <a:extLst>
              <a:ext uri="{FF2B5EF4-FFF2-40B4-BE49-F238E27FC236}">
                <a16:creationId xmlns:a16="http://schemas.microsoft.com/office/drawing/2014/main" id="{C7EAB83C-EAEF-4BE2-F933-2BFDC2D538C4}"/>
              </a:ext>
            </a:extLst>
          </p:cNvPr>
          <p:cNvSpPr txBox="1"/>
          <p:nvPr/>
        </p:nvSpPr>
        <p:spPr>
          <a:xfrm>
            <a:off x="9833020" y="4690305"/>
            <a:ext cx="1292085" cy="461665"/>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a:t>
            </a: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00+</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Projects Executed</a:t>
            </a:r>
          </a:p>
        </p:txBody>
      </p:sp>
      <p:pic>
        <p:nvPicPr>
          <p:cNvPr id="33" name="Graphic 32">
            <a:extLst>
              <a:ext uri="{FF2B5EF4-FFF2-40B4-BE49-F238E27FC236}">
                <a16:creationId xmlns:a16="http://schemas.microsoft.com/office/drawing/2014/main" id="{1A5DF680-ACA2-4E29-8542-489816EB63D9}"/>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25924" y="2862033"/>
            <a:ext cx="273072" cy="280546"/>
          </a:xfrm>
          <a:prstGeom prst="rect">
            <a:avLst/>
          </a:prstGeom>
        </p:spPr>
      </p:pic>
      <p:sp>
        <p:nvSpPr>
          <p:cNvPr id="34" name="Oval 33">
            <a:extLst>
              <a:ext uri="{FF2B5EF4-FFF2-40B4-BE49-F238E27FC236}">
                <a16:creationId xmlns:a16="http://schemas.microsoft.com/office/drawing/2014/main" id="{28C29E38-8212-2DC0-0C05-844351D131EA}"/>
              </a:ext>
            </a:extLst>
          </p:cNvPr>
          <p:cNvSpPr/>
          <p:nvPr/>
        </p:nvSpPr>
        <p:spPr>
          <a:xfrm>
            <a:off x="9159456" y="3347885"/>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5" name="Oval 34">
            <a:extLst>
              <a:ext uri="{FF2B5EF4-FFF2-40B4-BE49-F238E27FC236}">
                <a16:creationId xmlns:a16="http://schemas.microsoft.com/office/drawing/2014/main" id="{6AE4877B-C2A8-7E45-B565-5AE812FD18F4}"/>
              </a:ext>
            </a:extLst>
          </p:cNvPr>
          <p:cNvSpPr/>
          <p:nvPr/>
        </p:nvSpPr>
        <p:spPr>
          <a:xfrm>
            <a:off x="9159456" y="4051287"/>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6" name="Oval 35">
            <a:extLst>
              <a:ext uri="{FF2B5EF4-FFF2-40B4-BE49-F238E27FC236}">
                <a16:creationId xmlns:a16="http://schemas.microsoft.com/office/drawing/2014/main" id="{9B9B52E0-DD45-D489-72E0-532A092A4A3C}"/>
              </a:ext>
            </a:extLst>
          </p:cNvPr>
          <p:cNvSpPr/>
          <p:nvPr/>
        </p:nvSpPr>
        <p:spPr>
          <a:xfrm>
            <a:off x="9174809" y="4665055"/>
            <a:ext cx="458432" cy="457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37" name="Graphic 36">
            <a:extLst>
              <a:ext uri="{FF2B5EF4-FFF2-40B4-BE49-F238E27FC236}">
                <a16:creationId xmlns:a16="http://schemas.microsoft.com/office/drawing/2014/main" id="{C1296EB0-363E-02F5-F28D-27B199771D9E}"/>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9218969" y="3421361"/>
            <a:ext cx="286982" cy="294838"/>
          </a:xfrm>
          <a:prstGeom prst="rect">
            <a:avLst/>
          </a:prstGeom>
        </p:spPr>
      </p:pic>
      <p:pic>
        <p:nvPicPr>
          <p:cNvPr id="38" name="Graphic 37">
            <a:extLst>
              <a:ext uri="{FF2B5EF4-FFF2-40B4-BE49-F238E27FC236}">
                <a16:creationId xmlns:a16="http://schemas.microsoft.com/office/drawing/2014/main" id="{86C5DE1A-E93D-AF58-612B-C3AC9ABE569B}"/>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9255609" y="4764323"/>
            <a:ext cx="273072" cy="280546"/>
          </a:xfrm>
          <a:prstGeom prst="rect">
            <a:avLst/>
          </a:prstGeom>
        </p:spPr>
      </p:pic>
      <p:pic>
        <p:nvPicPr>
          <p:cNvPr id="39" name="Graphic 38">
            <a:extLst>
              <a:ext uri="{FF2B5EF4-FFF2-40B4-BE49-F238E27FC236}">
                <a16:creationId xmlns:a16="http://schemas.microsoft.com/office/drawing/2014/main" id="{91B3AC9B-5C82-57EA-173B-F8B3B34CA98C}"/>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9225924" y="4161000"/>
            <a:ext cx="273072" cy="280546"/>
          </a:xfrm>
          <a:prstGeom prst="rect">
            <a:avLst/>
          </a:prstGeom>
        </p:spPr>
      </p:pic>
      <p:sp>
        <p:nvSpPr>
          <p:cNvPr id="40" name="Oval 39">
            <a:extLst>
              <a:ext uri="{FF2B5EF4-FFF2-40B4-BE49-F238E27FC236}">
                <a16:creationId xmlns:a16="http://schemas.microsoft.com/office/drawing/2014/main" id="{CE59CA7A-FD95-2C4B-D25F-F3FAC4B20D9D}"/>
              </a:ext>
            </a:extLst>
          </p:cNvPr>
          <p:cNvSpPr/>
          <p:nvPr/>
        </p:nvSpPr>
        <p:spPr>
          <a:xfrm>
            <a:off x="9174809" y="5293996"/>
            <a:ext cx="509202" cy="4736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43" name="Graphic 42" descr="Diploma outline">
            <a:extLst>
              <a:ext uri="{FF2B5EF4-FFF2-40B4-BE49-F238E27FC236}">
                <a16:creationId xmlns:a16="http://schemas.microsoft.com/office/drawing/2014/main" id="{E5E2E8F3-FAAA-71D3-CEA8-CC4E02C4B245}"/>
              </a:ext>
            </a:extLst>
          </p:cNvPr>
          <p:cNvPicPr>
            <a:picLocks noChangeAspect="1"/>
          </p:cNvPicPr>
          <p:nvPr/>
        </p:nvPicPr>
        <p:blipFill>
          <a:blip>
            <a:extLst>
              <a:ext uri="{96DAC541-7B7A-43D3-8B79-37D633B846F1}">
                <asvg:svgBlip xmlns:asvg="http://schemas.microsoft.com/office/drawing/2016/SVG/main" r:embed="rId21"/>
              </a:ext>
            </a:extLst>
          </a:blip>
          <a:stretch>
            <a:fillRect/>
          </a:stretch>
        </p:blipFill>
        <p:spPr>
          <a:xfrm>
            <a:off x="9250996" y="5350816"/>
            <a:ext cx="347072" cy="347072"/>
          </a:xfrm>
          <a:prstGeom prst="rect">
            <a:avLst/>
          </a:prstGeom>
        </p:spPr>
      </p:pic>
      <p:sp>
        <p:nvSpPr>
          <p:cNvPr id="45" name="TextBox 44">
            <a:extLst>
              <a:ext uri="{FF2B5EF4-FFF2-40B4-BE49-F238E27FC236}">
                <a16:creationId xmlns:a16="http://schemas.microsoft.com/office/drawing/2014/main" id="{0685B72B-9D74-5DD1-BB72-512BCFC28740}"/>
              </a:ext>
            </a:extLst>
          </p:cNvPr>
          <p:cNvSpPr txBox="1"/>
          <p:nvPr/>
        </p:nvSpPr>
        <p:spPr>
          <a:xfrm>
            <a:off x="9836240" y="5260929"/>
            <a:ext cx="1963038" cy="892552"/>
          </a:xfrm>
          <a:prstGeom prst="rect">
            <a:avLst/>
          </a:prstGeom>
          <a:noFill/>
        </p:spPr>
        <p:txBody>
          <a:bodyPr wrap="non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dirty="0">
                <a:solidFill>
                  <a:schemeClr val="bg1"/>
                </a:solidFill>
                <a:latin typeface="+mj-lt"/>
                <a:ea typeface="Calibri" panose="020F0502020204030204" pitchFamily="34" charset="0"/>
                <a:cs typeface="Calibri" panose="020F0502020204030204" pitchFamily="34" charset="0"/>
              </a:rPr>
              <a:t>1</a:t>
            </a:r>
            <a:r>
              <a:rPr kumimoji="0" lang="en-IN" sz="16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00+</a:t>
            </a:r>
          </a:p>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Resource GW, CPCU, AIN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AIT, AIDA </a:t>
            </a:r>
            <a:r>
              <a:rPr lang="fr-FR" sz="1400" dirty="0">
                <a:solidFill>
                  <a:schemeClr val="bg1"/>
                </a:solidFill>
                <a:latin typeface="+mj-lt"/>
                <a:ea typeface="Calibri" panose="020F0502020204030204" pitchFamily="34" charset="0"/>
                <a:cs typeface="Calibri" panose="020F0502020204030204" pitchFamily="34" charset="0"/>
              </a:rPr>
              <a:t>Certified</a:t>
            </a:r>
            <a:endParaRPr kumimoji="0" lang="fr-FR"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7E6C948B-0CA2-A021-9A9C-48EE9F5B0A74}"/>
              </a:ext>
            </a:extLst>
          </p:cNvPr>
          <p:cNvSpPr txBox="1"/>
          <p:nvPr/>
        </p:nvSpPr>
        <p:spPr>
          <a:xfrm>
            <a:off x="735114" y="5955520"/>
            <a:ext cx="5152911" cy="369355"/>
          </a:xfrm>
          <a:prstGeom prst="rect">
            <a:avLst/>
          </a:prstGeom>
          <a:noFill/>
        </p:spPr>
        <p:txBody>
          <a:bodyPr wrap="square" rtlCol="0">
            <a:spAutoFit/>
          </a:bodyPr>
          <a:lstStyle/>
          <a:p>
            <a:r>
              <a:rPr lang="en-US" sz="900" i="1" dirty="0"/>
              <a:t>Though </a:t>
            </a:r>
            <a:r>
              <a:rPr lang="en-US" sz="900" i="1" dirty="0" err="1"/>
              <a:t>PricingCenter</a:t>
            </a:r>
            <a:r>
              <a:rPr lang="en-US" sz="900" i="1" dirty="0"/>
              <a:t> and </a:t>
            </a:r>
            <a:r>
              <a:rPr lang="en-US" sz="900" i="1" dirty="0" err="1"/>
              <a:t>UnderwritingCenter</a:t>
            </a:r>
            <a:r>
              <a:rPr lang="en-US" sz="900" i="1" dirty="0"/>
              <a:t> are part of Guidewire’s released offerings, we have highlighted only those products where we have hands-on experience and expertise</a:t>
            </a:r>
          </a:p>
        </p:txBody>
      </p:sp>
    </p:spTree>
    <p:extLst>
      <p:ext uri="{BB962C8B-B14F-4D97-AF65-F5344CB8AC3E}">
        <p14:creationId xmlns:p14="http://schemas.microsoft.com/office/powerpoint/2010/main" val="136599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C75DB-EBCC-772A-025D-ABE1DD6DF6C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307FC49-51A6-3AEF-42BE-D37DB5EF3B20}"/>
              </a:ext>
            </a:extLst>
          </p:cNvPr>
          <p:cNvSpPr>
            <a:spLocks noGrp="1"/>
          </p:cNvSpPr>
          <p:nvPr>
            <p:ph type="title"/>
          </p:nvPr>
        </p:nvSpPr>
        <p:spPr>
          <a:xfrm>
            <a:off x="252531" y="247667"/>
            <a:ext cx="11738510" cy="648000"/>
          </a:xfrm>
        </p:spPr>
        <p:txBody>
          <a:bodyPr tIns="0" bIns="0" anchor="t" anchorCtr="0">
            <a:normAutofit/>
          </a:bodyPr>
          <a:lstStyle/>
          <a:p>
            <a:r>
              <a:rPr lang="en-US" dirty="0"/>
              <a:t>Deep Guidewire Domain Expertise across Insurance Value Chain</a:t>
            </a:r>
          </a:p>
        </p:txBody>
      </p:sp>
      <p:sp>
        <p:nvSpPr>
          <p:cNvPr id="2" name="TextBox 2">
            <a:extLst>
              <a:ext uri="{FF2B5EF4-FFF2-40B4-BE49-F238E27FC236}">
                <a16:creationId xmlns:a16="http://schemas.microsoft.com/office/drawing/2014/main" id="{0E3EAC9C-6D07-070B-7C87-89E7CBD48161}"/>
              </a:ext>
            </a:extLst>
          </p:cNvPr>
          <p:cNvSpPr txBox="1"/>
          <p:nvPr/>
        </p:nvSpPr>
        <p:spPr>
          <a:xfrm>
            <a:off x="879966" y="6215551"/>
            <a:ext cx="5241820" cy="15388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latin typeface="+mj-lt"/>
              </a:rPr>
              <a:t>*Competency Levels are defined from L1 to L5 basis number of domain assets for the functional area</a:t>
            </a:r>
          </a:p>
        </p:txBody>
      </p:sp>
      <p:sp>
        <p:nvSpPr>
          <p:cNvPr id="3" name="Rounded Rectangle 4">
            <a:extLst>
              <a:ext uri="{FF2B5EF4-FFF2-40B4-BE49-F238E27FC236}">
                <a16:creationId xmlns:a16="http://schemas.microsoft.com/office/drawing/2014/main" id="{89D5FE26-89DA-9221-3C2A-7C0DF4766F56}"/>
              </a:ext>
            </a:extLst>
          </p:cNvPr>
          <p:cNvSpPr/>
          <p:nvPr/>
        </p:nvSpPr>
        <p:spPr>
          <a:xfrm>
            <a:off x="1291278" y="1351162"/>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rPr>
              <a:t>Captures insured details, coverage, locations, vehicles, </a:t>
            </a:r>
            <a:r>
              <a:rPr kumimoji="0" lang="en-US" sz="1100" b="0" i="0" u="none" strike="noStrike" kern="1200" cap="none" spc="0" normalizeH="0" baseline="0" noProof="0" dirty="0" err="1">
                <a:ln>
                  <a:noFill/>
                </a:ln>
                <a:solidFill>
                  <a:srgbClr val="262726">
                    <a:hueOff val="0"/>
                    <a:satOff val="0"/>
                    <a:lumOff val="0"/>
                    <a:alphaOff val="0"/>
                  </a:srgbClr>
                </a:solidFill>
                <a:effectLst/>
                <a:uLnTx/>
                <a:uFillTx/>
                <a:latin typeface="+mj-lt"/>
                <a:ea typeface="ＭＳ Ｐゴシック"/>
                <a:cs typeface="+mn-cs"/>
              </a:rPr>
              <a:t>etc</a:t>
            </a:r>
            <a:endPar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endParaRPr>
          </a:p>
        </p:txBody>
      </p:sp>
      <p:sp>
        <p:nvSpPr>
          <p:cNvPr id="4" name="Rounded Rectangle 7">
            <a:extLst>
              <a:ext uri="{FF2B5EF4-FFF2-40B4-BE49-F238E27FC236}">
                <a16:creationId xmlns:a16="http://schemas.microsoft.com/office/drawing/2014/main" id="{8477AC50-5EA7-D4AB-232D-62AD22DE1DD7}"/>
              </a:ext>
            </a:extLst>
          </p:cNvPr>
          <p:cNvSpPr/>
          <p:nvPr/>
        </p:nvSpPr>
        <p:spPr>
          <a:xfrm>
            <a:off x="1291278"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Submission</a:t>
            </a:r>
          </a:p>
        </p:txBody>
      </p:sp>
      <p:sp>
        <p:nvSpPr>
          <p:cNvPr id="5" name="Rounded Rectangle 9">
            <a:extLst>
              <a:ext uri="{FF2B5EF4-FFF2-40B4-BE49-F238E27FC236}">
                <a16:creationId xmlns:a16="http://schemas.microsoft.com/office/drawing/2014/main" id="{B5CC8F51-D352-4027-3227-9BC593938972}"/>
              </a:ext>
            </a:extLst>
          </p:cNvPr>
          <p:cNvSpPr/>
          <p:nvPr/>
        </p:nvSpPr>
        <p:spPr>
          <a:xfrm>
            <a:off x="2805003" y="1351161"/>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rPr>
              <a:t>Calculates premium based on rating and coverages</a:t>
            </a:r>
          </a:p>
        </p:txBody>
      </p:sp>
      <p:sp>
        <p:nvSpPr>
          <p:cNvPr id="7" name="Rounded Rectangle 12">
            <a:extLst>
              <a:ext uri="{FF2B5EF4-FFF2-40B4-BE49-F238E27FC236}">
                <a16:creationId xmlns:a16="http://schemas.microsoft.com/office/drawing/2014/main" id="{9153C876-C130-2379-EDA7-AEA1F13423E1}"/>
              </a:ext>
            </a:extLst>
          </p:cNvPr>
          <p:cNvSpPr/>
          <p:nvPr/>
        </p:nvSpPr>
        <p:spPr>
          <a:xfrm>
            <a:off x="2805003"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Quote</a:t>
            </a:r>
          </a:p>
        </p:txBody>
      </p:sp>
      <p:sp>
        <p:nvSpPr>
          <p:cNvPr id="8" name="Rounded Rectangle 14">
            <a:extLst>
              <a:ext uri="{FF2B5EF4-FFF2-40B4-BE49-F238E27FC236}">
                <a16:creationId xmlns:a16="http://schemas.microsoft.com/office/drawing/2014/main" id="{CC896B6C-0DDD-229A-AC08-3B4B7304161A}"/>
              </a:ext>
            </a:extLst>
          </p:cNvPr>
          <p:cNvSpPr/>
          <p:nvPr/>
        </p:nvSpPr>
        <p:spPr>
          <a:xfrm>
            <a:off x="4318728" y="1351161"/>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rPr>
              <a:t>Confirms the insured’s acceptance of the quote</a:t>
            </a:r>
          </a:p>
        </p:txBody>
      </p:sp>
      <p:sp>
        <p:nvSpPr>
          <p:cNvPr id="9" name="Rounded Rectangle 17">
            <a:extLst>
              <a:ext uri="{FF2B5EF4-FFF2-40B4-BE49-F238E27FC236}">
                <a16:creationId xmlns:a16="http://schemas.microsoft.com/office/drawing/2014/main" id="{BE3C58F8-CA10-62F8-8F85-D0A99606E11D}"/>
              </a:ext>
            </a:extLst>
          </p:cNvPr>
          <p:cNvSpPr/>
          <p:nvPr/>
        </p:nvSpPr>
        <p:spPr>
          <a:xfrm>
            <a:off x="4318728"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Bind</a:t>
            </a:r>
          </a:p>
        </p:txBody>
      </p:sp>
      <p:sp>
        <p:nvSpPr>
          <p:cNvPr id="10" name="Rounded Rectangle 19">
            <a:extLst>
              <a:ext uri="{FF2B5EF4-FFF2-40B4-BE49-F238E27FC236}">
                <a16:creationId xmlns:a16="http://schemas.microsoft.com/office/drawing/2014/main" id="{643DA9C5-7320-9580-982C-E6BA3256A155}"/>
              </a:ext>
            </a:extLst>
          </p:cNvPr>
          <p:cNvSpPr/>
          <p:nvPr/>
        </p:nvSpPr>
        <p:spPr>
          <a:xfrm>
            <a:off x="5832453" y="1351162"/>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rPr>
              <a:t>Policy is formally issued after binding along with Policy number &amp; forms. </a:t>
            </a:r>
          </a:p>
        </p:txBody>
      </p:sp>
      <p:sp>
        <p:nvSpPr>
          <p:cNvPr id="11" name="Rounded Rectangle 22">
            <a:extLst>
              <a:ext uri="{FF2B5EF4-FFF2-40B4-BE49-F238E27FC236}">
                <a16:creationId xmlns:a16="http://schemas.microsoft.com/office/drawing/2014/main" id="{AB4E3DA4-45DE-A627-3BF9-ED2B07621B12}"/>
              </a:ext>
            </a:extLst>
          </p:cNvPr>
          <p:cNvSpPr/>
          <p:nvPr/>
        </p:nvSpPr>
        <p:spPr>
          <a:xfrm>
            <a:off x="5832453"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Issuance</a:t>
            </a:r>
          </a:p>
        </p:txBody>
      </p:sp>
      <p:sp>
        <p:nvSpPr>
          <p:cNvPr id="12" name="Rounded Rectangle 24">
            <a:extLst>
              <a:ext uri="{FF2B5EF4-FFF2-40B4-BE49-F238E27FC236}">
                <a16:creationId xmlns:a16="http://schemas.microsoft.com/office/drawing/2014/main" id="{F24E859A-09E0-2F6B-2FD3-E62F754A6CDC}"/>
              </a:ext>
            </a:extLst>
          </p:cNvPr>
          <p:cNvSpPr/>
          <p:nvPr/>
        </p:nvSpPr>
        <p:spPr>
          <a:xfrm>
            <a:off x="7346178" y="1351162"/>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lvl="1" algn="ctr" defTabSz="444500" fontAlgn="base">
              <a:spcBef>
                <a:spcPct val="0"/>
              </a:spcBef>
              <a:defRPr/>
            </a:pPr>
            <a:r>
              <a:rPr lang="en-US" sz="1100" dirty="0">
                <a:solidFill>
                  <a:srgbClr val="262726">
                    <a:hueOff val="0"/>
                    <a:satOff val="0"/>
                    <a:lumOff val="0"/>
                    <a:alphaOff val="0"/>
                  </a:srgbClr>
                </a:solidFill>
                <a:ea typeface="ＭＳ Ｐゴシック"/>
              </a:rPr>
              <a:t>Mid-term change to an active policy with forms.</a:t>
            </a:r>
          </a:p>
        </p:txBody>
      </p:sp>
      <p:sp>
        <p:nvSpPr>
          <p:cNvPr id="13" name="Rounded Rectangle 27">
            <a:extLst>
              <a:ext uri="{FF2B5EF4-FFF2-40B4-BE49-F238E27FC236}">
                <a16:creationId xmlns:a16="http://schemas.microsoft.com/office/drawing/2014/main" id="{B00616A3-F0CD-84E2-FFEB-D3BF5E21649D}"/>
              </a:ext>
            </a:extLst>
          </p:cNvPr>
          <p:cNvSpPr/>
          <p:nvPr/>
        </p:nvSpPr>
        <p:spPr>
          <a:xfrm>
            <a:off x="7346178" y="1074163"/>
            <a:ext cx="1280160" cy="276999"/>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fontAlgn="base">
              <a:spcBef>
                <a:spcPct val="0"/>
              </a:spcBef>
              <a:defRPr/>
            </a:pPr>
            <a:r>
              <a:rPr lang="en-US" sz="1100" b="1" dirty="0">
                <a:solidFill>
                  <a:schemeClr val="bg1"/>
                </a:solidFill>
                <a:ea typeface="ＭＳ Ｐゴシック"/>
              </a:rPr>
              <a:t>Endorsement</a:t>
            </a:r>
          </a:p>
        </p:txBody>
      </p:sp>
      <p:sp>
        <p:nvSpPr>
          <p:cNvPr id="14" name="Rounded Rectangle 29">
            <a:extLst>
              <a:ext uri="{FF2B5EF4-FFF2-40B4-BE49-F238E27FC236}">
                <a16:creationId xmlns:a16="http://schemas.microsoft.com/office/drawing/2014/main" id="{8A4A6A2B-D05F-357F-AA7F-DC54DCF3B9CA}"/>
              </a:ext>
            </a:extLst>
          </p:cNvPr>
          <p:cNvSpPr/>
          <p:nvPr/>
        </p:nvSpPr>
        <p:spPr>
          <a:xfrm>
            <a:off x="8859903" y="1351162"/>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lvl="1" algn="ctr" defTabSz="444500" fontAlgn="base">
              <a:spcBef>
                <a:spcPct val="0"/>
              </a:spcBef>
              <a:defRPr/>
            </a:pPr>
            <a:r>
              <a:rPr lang="en-US" sz="1100" dirty="0">
                <a:solidFill>
                  <a:srgbClr val="262726">
                    <a:hueOff val="0"/>
                    <a:satOff val="0"/>
                    <a:lumOff val="0"/>
                    <a:alphaOff val="0"/>
                  </a:srgbClr>
                </a:solidFill>
                <a:ea typeface="ＭＳ Ｐゴシック"/>
              </a:rPr>
              <a:t>Automated re-underwriting during renewal processing with forms.</a:t>
            </a:r>
          </a:p>
        </p:txBody>
      </p:sp>
      <p:sp>
        <p:nvSpPr>
          <p:cNvPr id="15" name="Rounded Rectangle 32">
            <a:extLst>
              <a:ext uri="{FF2B5EF4-FFF2-40B4-BE49-F238E27FC236}">
                <a16:creationId xmlns:a16="http://schemas.microsoft.com/office/drawing/2014/main" id="{E638DC33-2306-E300-0A74-24F5C0470066}"/>
              </a:ext>
            </a:extLst>
          </p:cNvPr>
          <p:cNvSpPr/>
          <p:nvPr/>
        </p:nvSpPr>
        <p:spPr>
          <a:xfrm>
            <a:off x="8859903"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533400" fontAlgn="base">
              <a:spcBef>
                <a:spcPct val="0"/>
              </a:spcBef>
              <a:defRPr/>
            </a:pPr>
            <a:r>
              <a:rPr lang="en-US" sz="1100" b="1" dirty="0">
                <a:solidFill>
                  <a:schemeClr val="bg1"/>
                </a:solidFill>
                <a:ea typeface="ＭＳ Ｐゴシック"/>
              </a:rPr>
              <a:t>Renewal</a:t>
            </a:r>
          </a:p>
        </p:txBody>
      </p:sp>
      <p:sp>
        <p:nvSpPr>
          <p:cNvPr id="16" name="Rounded Rectangle 34">
            <a:extLst>
              <a:ext uri="{FF2B5EF4-FFF2-40B4-BE49-F238E27FC236}">
                <a16:creationId xmlns:a16="http://schemas.microsoft.com/office/drawing/2014/main" id="{F8D57A91-2C14-5D31-31C8-F2ED2C924201}"/>
              </a:ext>
            </a:extLst>
          </p:cNvPr>
          <p:cNvSpPr/>
          <p:nvPr/>
        </p:nvSpPr>
        <p:spPr>
          <a:xfrm>
            <a:off x="10373631" y="1351162"/>
            <a:ext cx="1280160" cy="941832"/>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endPar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endParaRPr>
          </a:p>
        </p:txBody>
      </p:sp>
      <p:sp>
        <p:nvSpPr>
          <p:cNvPr id="17" name="Rounded Rectangle 36">
            <a:extLst>
              <a:ext uri="{FF2B5EF4-FFF2-40B4-BE49-F238E27FC236}">
                <a16:creationId xmlns:a16="http://schemas.microsoft.com/office/drawing/2014/main" id="{8C096223-0505-6AD7-382C-86467FC9562A}"/>
              </a:ext>
            </a:extLst>
          </p:cNvPr>
          <p:cNvSpPr/>
          <p:nvPr/>
        </p:nvSpPr>
        <p:spPr>
          <a:xfrm>
            <a:off x="10373631" y="1074163"/>
            <a:ext cx="1280160" cy="276999"/>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Cancellation</a:t>
            </a:r>
          </a:p>
        </p:txBody>
      </p:sp>
      <p:cxnSp>
        <p:nvCxnSpPr>
          <p:cNvPr id="18" name="Straight Arrow Connector 17">
            <a:extLst>
              <a:ext uri="{FF2B5EF4-FFF2-40B4-BE49-F238E27FC236}">
                <a16:creationId xmlns:a16="http://schemas.microsoft.com/office/drawing/2014/main" id="{9E2902BE-65E1-602A-E903-1CED7C7D6F0A}"/>
              </a:ext>
            </a:extLst>
          </p:cNvPr>
          <p:cNvCxnSpPr>
            <a:stCxn id="3" idx="3"/>
            <a:endCxn id="5" idx="1"/>
          </p:cNvCxnSpPr>
          <p:nvPr/>
        </p:nvCxnSpPr>
        <p:spPr>
          <a:xfrm flipV="1">
            <a:off x="2571438" y="1822077"/>
            <a:ext cx="233565"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CCFA69E-BFC1-757C-4763-7404F54C345B}"/>
              </a:ext>
            </a:extLst>
          </p:cNvPr>
          <p:cNvCxnSpPr>
            <a:cxnSpLocks/>
            <a:stCxn id="5" idx="3"/>
            <a:endCxn id="8" idx="1"/>
          </p:cNvCxnSpPr>
          <p:nvPr/>
        </p:nvCxnSpPr>
        <p:spPr>
          <a:xfrm>
            <a:off x="4085163" y="1822077"/>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07A40C4-1E34-BD6E-FE56-A1E1B30845BC}"/>
              </a:ext>
            </a:extLst>
          </p:cNvPr>
          <p:cNvCxnSpPr>
            <a:cxnSpLocks/>
            <a:stCxn id="8" idx="3"/>
            <a:endCxn id="10" idx="1"/>
          </p:cNvCxnSpPr>
          <p:nvPr/>
        </p:nvCxnSpPr>
        <p:spPr>
          <a:xfrm>
            <a:off x="5598888" y="1822077"/>
            <a:ext cx="233565"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8BEEE5A-A6FC-116F-07EF-01B2B113F2E0}"/>
              </a:ext>
            </a:extLst>
          </p:cNvPr>
          <p:cNvCxnSpPr>
            <a:cxnSpLocks/>
            <a:stCxn id="10" idx="3"/>
            <a:endCxn id="12" idx="1"/>
          </p:cNvCxnSpPr>
          <p:nvPr/>
        </p:nvCxnSpPr>
        <p:spPr>
          <a:xfrm>
            <a:off x="7112613" y="1822078"/>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B59221D-AE86-A067-1271-DFAF7CB88C71}"/>
              </a:ext>
            </a:extLst>
          </p:cNvPr>
          <p:cNvCxnSpPr>
            <a:cxnSpLocks/>
            <a:stCxn id="12" idx="3"/>
            <a:endCxn id="14" idx="1"/>
          </p:cNvCxnSpPr>
          <p:nvPr/>
        </p:nvCxnSpPr>
        <p:spPr>
          <a:xfrm>
            <a:off x="8626338" y="1822078"/>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CB76AE9-CF76-AE3A-26D7-3D67473B29B7}"/>
              </a:ext>
            </a:extLst>
          </p:cNvPr>
          <p:cNvCxnSpPr>
            <a:cxnSpLocks/>
            <a:stCxn id="14" idx="3"/>
            <a:endCxn id="16" idx="1"/>
          </p:cNvCxnSpPr>
          <p:nvPr/>
        </p:nvCxnSpPr>
        <p:spPr>
          <a:xfrm>
            <a:off x="10140063" y="1822078"/>
            <a:ext cx="233568"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24" name="Rounded Rectangle 4">
            <a:extLst>
              <a:ext uri="{FF2B5EF4-FFF2-40B4-BE49-F238E27FC236}">
                <a16:creationId xmlns:a16="http://schemas.microsoft.com/office/drawing/2014/main" id="{61DFDCC1-8775-4360-FFEB-B841ACB530F4}"/>
              </a:ext>
            </a:extLst>
          </p:cNvPr>
          <p:cNvSpPr/>
          <p:nvPr/>
        </p:nvSpPr>
        <p:spPr>
          <a:xfrm>
            <a:off x="1245438" y="2745777"/>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chemeClr val="tx1"/>
                </a:solidFill>
                <a:effectLst/>
                <a:uLnTx/>
                <a:uFillTx/>
                <a:latin typeface="+mj-lt"/>
                <a:ea typeface="ＭＳ Ｐゴシック"/>
                <a:cs typeface="+mn-cs"/>
              </a:rPr>
              <a:t>Receive notice of new or changed policy</a:t>
            </a:r>
          </a:p>
        </p:txBody>
      </p:sp>
      <p:sp>
        <p:nvSpPr>
          <p:cNvPr id="25" name="Rounded Rectangle 7">
            <a:extLst>
              <a:ext uri="{FF2B5EF4-FFF2-40B4-BE49-F238E27FC236}">
                <a16:creationId xmlns:a16="http://schemas.microsoft.com/office/drawing/2014/main" id="{83472FA3-ABF7-8D82-CB3F-05A2459F26E2}"/>
              </a:ext>
            </a:extLst>
          </p:cNvPr>
          <p:cNvSpPr/>
          <p:nvPr/>
        </p:nvSpPr>
        <p:spPr>
          <a:xfrm>
            <a:off x="1245438" y="2462279"/>
            <a:ext cx="1280160" cy="343448"/>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Billing Instruction</a:t>
            </a:r>
          </a:p>
        </p:txBody>
      </p:sp>
      <p:sp>
        <p:nvSpPr>
          <p:cNvPr id="26" name="Rounded Rectangle 9">
            <a:extLst>
              <a:ext uri="{FF2B5EF4-FFF2-40B4-BE49-F238E27FC236}">
                <a16:creationId xmlns:a16="http://schemas.microsoft.com/office/drawing/2014/main" id="{FBE264AB-7E35-DC0B-B26B-D26511E526B5}"/>
              </a:ext>
            </a:extLst>
          </p:cNvPr>
          <p:cNvSpPr/>
          <p:nvPr/>
        </p:nvSpPr>
        <p:spPr>
          <a:xfrm>
            <a:off x="2759163" y="2745776"/>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chemeClr val="tx1"/>
                </a:solidFill>
                <a:effectLst/>
                <a:uLnTx/>
                <a:uFillTx/>
                <a:latin typeface="+mj-lt"/>
                <a:ea typeface="ＭＳ Ｐゴシック"/>
                <a:cs typeface="+mn-cs"/>
              </a:rPr>
              <a:t>Create account, assign plans, process down-payment, &amp;  installments</a:t>
            </a:r>
          </a:p>
        </p:txBody>
      </p:sp>
      <p:sp>
        <p:nvSpPr>
          <p:cNvPr id="27" name="Rounded Rectangle 12">
            <a:extLst>
              <a:ext uri="{FF2B5EF4-FFF2-40B4-BE49-F238E27FC236}">
                <a16:creationId xmlns:a16="http://schemas.microsoft.com/office/drawing/2014/main" id="{CBC20A47-A6DF-8B5F-1B65-50CEE582A55A}"/>
              </a:ext>
            </a:extLst>
          </p:cNvPr>
          <p:cNvSpPr/>
          <p:nvPr/>
        </p:nvSpPr>
        <p:spPr>
          <a:xfrm>
            <a:off x="2759163" y="2462279"/>
            <a:ext cx="1280160" cy="343448"/>
          </a:xfrm>
          <a:prstGeom prst="rect">
            <a:avLst/>
          </a:prstGeom>
          <a:solidFill>
            <a:srgbClr val="7030A0"/>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Scheduling</a:t>
            </a:r>
          </a:p>
        </p:txBody>
      </p:sp>
      <p:sp>
        <p:nvSpPr>
          <p:cNvPr id="28" name="Rounded Rectangle 14">
            <a:extLst>
              <a:ext uri="{FF2B5EF4-FFF2-40B4-BE49-F238E27FC236}">
                <a16:creationId xmlns:a16="http://schemas.microsoft.com/office/drawing/2014/main" id="{58962E19-1DF9-0C1F-0B23-7EABDF9B6D26}"/>
              </a:ext>
            </a:extLst>
          </p:cNvPr>
          <p:cNvSpPr/>
          <p:nvPr/>
        </p:nvSpPr>
        <p:spPr>
          <a:xfrm>
            <a:off x="4272888" y="2745776"/>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chemeClr val="tx1"/>
                </a:solidFill>
                <a:effectLst/>
                <a:uLnTx/>
                <a:uFillTx/>
                <a:latin typeface="+mj-lt"/>
                <a:ea typeface="ＭＳ Ｐゴシック"/>
                <a:cs typeface="+mn-cs"/>
              </a:rPr>
              <a:t>Calculate commissions / automated disbursements</a:t>
            </a:r>
          </a:p>
        </p:txBody>
      </p:sp>
      <p:sp>
        <p:nvSpPr>
          <p:cNvPr id="29" name="Rounded Rectangle 17">
            <a:extLst>
              <a:ext uri="{FF2B5EF4-FFF2-40B4-BE49-F238E27FC236}">
                <a16:creationId xmlns:a16="http://schemas.microsoft.com/office/drawing/2014/main" id="{EC8EA455-3AA7-7486-96F6-10D80F8E3C42}"/>
              </a:ext>
            </a:extLst>
          </p:cNvPr>
          <p:cNvSpPr/>
          <p:nvPr/>
        </p:nvSpPr>
        <p:spPr>
          <a:xfrm>
            <a:off x="4272888" y="2462279"/>
            <a:ext cx="1280160" cy="34344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Commission</a:t>
            </a:r>
          </a:p>
        </p:txBody>
      </p:sp>
      <p:sp>
        <p:nvSpPr>
          <p:cNvPr id="30" name="Rounded Rectangle 19">
            <a:extLst>
              <a:ext uri="{FF2B5EF4-FFF2-40B4-BE49-F238E27FC236}">
                <a16:creationId xmlns:a16="http://schemas.microsoft.com/office/drawing/2014/main" id="{11D824D5-8C72-6F2F-D580-3719FC7BDEE0}"/>
              </a:ext>
            </a:extLst>
          </p:cNvPr>
          <p:cNvSpPr/>
          <p:nvPr/>
        </p:nvSpPr>
        <p:spPr>
          <a:xfrm>
            <a:off x="5786613" y="2745777"/>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chemeClr val="tx1"/>
                </a:solidFill>
                <a:effectLst/>
                <a:uLnTx/>
                <a:uFillTx/>
                <a:latin typeface="+mj-lt"/>
                <a:ea typeface="ＭＳ Ｐゴシック"/>
                <a:cs typeface="+mn-cs"/>
              </a:rPr>
              <a:t>Calculate present and future invoices</a:t>
            </a:r>
          </a:p>
        </p:txBody>
      </p:sp>
      <p:sp>
        <p:nvSpPr>
          <p:cNvPr id="31" name="Rounded Rectangle 22">
            <a:extLst>
              <a:ext uri="{FF2B5EF4-FFF2-40B4-BE49-F238E27FC236}">
                <a16:creationId xmlns:a16="http://schemas.microsoft.com/office/drawing/2014/main" id="{4982F72F-7D05-494C-176B-2923BB0AC4DC}"/>
              </a:ext>
            </a:extLst>
          </p:cNvPr>
          <p:cNvSpPr/>
          <p:nvPr/>
        </p:nvSpPr>
        <p:spPr>
          <a:xfrm>
            <a:off x="5786613" y="2462279"/>
            <a:ext cx="1280160" cy="343448"/>
          </a:xfrm>
          <a:prstGeom prst="rect">
            <a:avLst/>
          </a:prstGeom>
          <a:solidFill>
            <a:srgbClr val="7030A0"/>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Invoicing</a:t>
            </a:r>
          </a:p>
        </p:txBody>
      </p:sp>
      <p:sp>
        <p:nvSpPr>
          <p:cNvPr id="32" name="Rounded Rectangle 24">
            <a:extLst>
              <a:ext uri="{FF2B5EF4-FFF2-40B4-BE49-F238E27FC236}">
                <a16:creationId xmlns:a16="http://schemas.microsoft.com/office/drawing/2014/main" id="{9510E81D-56B6-1364-7220-595FC46DFDF1}"/>
              </a:ext>
            </a:extLst>
          </p:cNvPr>
          <p:cNvSpPr/>
          <p:nvPr/>
        </p:nvSpPr>
        <p:spPr>
          <a:xfrm>
            <a:off x="7300338" y="2745777"/>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chemeClr val="tx1"/>
                </a:solidFill>
                <a:effectLst/>
                <a:uLnTx/>
                <a:uFillTx/>
                <a:latin typeface="+mj-lt"/>
                <a:ea typeface="ＭＳ Ｐゴシック"/>
                <a:cs typeface="+mn-cs"/>
              </a:rPr>
              <a:t>Preview and make changes at any time</a:t>
            </a:r>
          </a:p>
        </p:txBody>
      </p:sp>
      <p:sp>
        <p:nvSpPr>
          <p:cNvPr id="33" name="Rounded Rectangle 27">
            <a:extLst>
              <a:ext uri="{FF2B5EF4-FFF2-40B4-BE49-F238E27FC236}">
                <a16:creationId xmlns:a16="http://schemas.microsoft.com/office/drawing/2014/main" id="{F7783432-607E-3A84-91E7-B097D340C666}"/>
              </a:ext>
            </a:extLst>
          </p:cNvPr>
          <p:cNvSpPr/>
          <p:nvPr/>
        </p:nvSpPr>
        <p:spPr>
          <a:xfrm>
            <a:off x="7300338" y="2462279"/>
            <a:ext cx="1280160" cy="34344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Policyholder Service</a:t>
            </a:r>
          </a:p>
        </p:txBody>
      </p:sp>
      <p:sp>
        <p:nvSpPr>
          <p:cNvPr id="34" name="Rounded Rectangle 29">
            <a:extLst>
              <a:ext uri="{FF2B5EF4-FFF2-40B4-BE49-F238E27FC236}">
                <a16:creationId xmlns:a16="http://schemas.microsoft.com/office/drawing/2014/main" id="{C3190689-4656-234F-EE48-27CF9199ED98}"/>
              </a:ext>
            </a:extLst>
          </p:cNvPr>
          <p:cNvSpPr/>
          <p:nvPr/>
        </p:nvSpPr>
        <p:spPr>
          <a:xfrm>
            <a:off x="8814063" y="2745777"/>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chemeClr val="tx1"/>
                </a:solidFill>
                <a:effectLst/>
                <a:uLnTx/>
                <a:uFillTx/>
                <a:latin typeface="+mj-lt"/>
                <a:ea typeface="ＭＳ Ｐゴシック"/>
                <a:cs typeface="+mn-cs"/>
              </a:rPr>
              <a:t>Automate distribution of payments</a:t>
            </a:r>
            <a:r>
              <a:rPr lang="en-US" sz="1100" dirty="0">
                <a:solidFill>
                  <a:schemeClr val="tx1"/>
                </a:solidFill>
                <a:latin typeface="+mj-lt"/>
                <a:ea typeface="ＭＳ Ｐゴシック"/>
              </a:rPr>
              <a:t> and </a:t>
            </a:r>
            <a:r>
              <a:rPr kumimoji="0" lang="en-US" sz="1100" b="0" i="0" u="none" strike="noStrike" kern="1200" cap="none" spc="0" normalizeH="0" baseline="0" noProof="0" dirty="0">
                <a:ln>
                  <a:noFill/>
                </a:ln>
                <a:solidFill>
                  <a:schemeClr val="tx1"/>
                </a:solidFill>
                <a:effectLst/>
                <a:uLnTx/>
                <a:uFillTx/>
                <a:latin typeface="+mj-lt"/>
                <a:ea typeface="ＭＳ Ｐゴシック"/>
                <a:cs typeface="+mn-cs"/>
              </a:rPr>
              <a:t>Outgoing payment processed.</a:t>
            </a:r>
          </a:p>
        </p:txBody>
      </p:sp>
      <p:sp>
        <p:nvSpPr>
          <p:cNvPr id="35" name="Rounded Rectangle 32">
            <a:extLst>
              <a:ext uri="{FF2B5EF4-FFF2-40B4-BE49-F238E27FC236}">
                <a16:creationId xmlns:a16="http://schemas.microsoft.com/office/drawing/2014/main" id="{37939148-8257-9D41-E4F4-F04B40CE07CB}"/>
              </a:ext>
            </a:extLst>
          </p:cNvPr>
          <p:cNvSpPr/>
          <p:nvPr/>
        </p:nvSpPr>
        <p:spPr>
          <a:xfrm>
            <a:off x="8814063" y="2462279"/>
            <a:ext cx="1280160" cy="343446"/>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Payment/</a:t>
            </a:r>
          </a:p>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Disbursement</a:t>
            </a:r>
          </a:p>
        </p:txBody>
      </p:sp>
      <p:sp>
        <p:nvSpPr>
          <p:cNvPr id="36" name="Rounded Rectangle 34">
            <a:extLst>
              <a:ext uri="{FF2B5EF4-FFF2-40B4-BE49-F238E27FC236}">
                <a16:creationId xmlns:a16="http://schemas.microsoft.com/office/drawing/2014/main" id="{4F01A60B-77E7-E5C5-EA04-09C4B281C946}"/>
              </a:ext>
            </a:extLst>
          </p:cNvPr>
          <p:cNvSpPr/>
          <p:nvPr/>
        </p:nvSpPr>
        <p:spPr>
          <a:xfrm>
            <a:off x="10327791" y="2745777"/>
            <a:ext cx="1280160" cy="1167765"/>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chemeClr val="tx1"/>
                </a:solidFill>
                <a:effectLst/>
                <a:uLnTx/>
                <a:uFillTx/>
                <a:latin typeface="+mj-lt"/>
                <a:ea typeface="ＭＳ Ｐゴシック"/>
                <a:cs typeface="+mn-cs"/>
              </a:rPr>
              <a:t>Validate all receivables have been cleared</a:t>
            </a:r>
          </a:p>
        </p:txBody>
      </p:sp>
      <p:sp>
        <p:nvSpPr>
          <p:cNvPr id="37" name="Rounded Rectangle 36">
            <a:extLst>
              <a:ext uri="{FF2B5EF4-FFF2-40B4-BE49-F238E27FC236}">
                <a16:creationId xmlns:a16="http://schemas.microsoft.com/office/drawing/2014/main" id="{0FB8771A-D9CE-DC32-33AE-D7B826D5C1C2}"/>
              </a:ext>
            </a:extLst>
          </p:cNvPr>
          <p:cNvSpPr/>
          <p:nvPr/>
        </p:nvSpPr>
        <p:spPr>
          <a:xfrm>
            <a:off x="10327791" y="2462279"/>
            <a:ext cx="1280160" cy="34344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Close</a:t>
            </a:r>
          </a:p>
        </p:txBody>
      </p:sp>
      <p:cxnSp>
        <p:nvCxnSpPr>
          <p:cNvPr id="38" name="Straight Arrow Connector 37">
            <a:extLst>
              <a:ext uri="{FF2B5EF4-FFF2-40B4-BE49-F238E27FC236}">
                <a16:creationId xmlns:a16="http://schemas.microsoft.com/office/drawing/2014/main" id="{8AB55BE9-7EFA-D4E9-E76F-A03B44644E3E}"/>
              </a:ext>
            </a:extLst>
          </p:cNvPr>
          <p:cNvCxnSpPr>
            <a:cxnSpLocks/>
          </p:cNvCxnSpPr>
          <p:nvPr/>
        </p:nvCxnSpPr>
        <p:spPr>
          <a:xfrm flipV="1">
            <a:off x="2525598" y="3314817"/>
            <a:ext cx="233565"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1BC7FE7-EE56-868A-1B73-3C1A27AA1BE3}"/>
              </a:ext>
            </a:extLst>
          </p:cNvPr>
          <p:cNvCxnSpPr>
            <a:cxnSpLocks/>
          </p:cNvCxnSpPr>
          <p:nvPr/>
        </p:nvCxnSpPr>
        <p:spPr>
          <a:xfrm>
            <a:off x="4039323" y="3314817"/>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43087E7-4981-D25B-90AB-32BF04E5CB1E}"/>
              </a:ext>
            </a:extLst>
          </p:cNvPr>
          <p:cNvCxnSpPr>
            <a:cxnSpLocks/>
          </p:cNvCxnSpPr>
          <p:nvPr/>
        </p:nvCxnSpPr>
        <p:spPr>
          <a:xfrm>
            <a:off x="5553048" y="3314817"/>
            <a:ext cx="233565"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CD446F2-1552-59A4-E01D-1C624D2F0DCB}"/>
              </a:ext>
            </a:extLst>
          </p:cNvPr>
          <p:cNvCxnSpPr>
            <a:cxnSpLocks/>
          </p:cNvCxnSpPr>
          <p:nvPr/>
        </p:nvCxnSpPr>
        <p:spPr>
          <a:xfrm>
            <a:off x="7066773" y="3314818"/>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D69CB71-9FE6-A7AC-3F82-25935CCFE718}"/>
              </a:ext>
            </a:extLst>
          </p:cNvPr>
          <p:cNvCxnSpPr>
            <a:cxnSpLocks/>
          </p:cNvCxnSpPr>
          <p:nvPr/>
        </p:nvCxnSpPr>
        <p:spPr>
          <a:xfrm>
            <a:off x="8580498" y="3314818"/>
            <a:ext cx="233565"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5085DF1-C386-D556-FBB9-DFDED48FA575}"/>
              </a:ext>
            </a:extLst>
          </p:cNvPr>
          <p:cNvCxnSpPr>
            <a:cxnSpLocks/>
          </p:cNvCxnSpPr>
          <p:nvPr/>
        </p:nvCxnSpPr>
        <p:spPr>
          <a:xfrm>
            <a:off x="10094223" y="3314818"/>
            <a:ext cx="233568"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44" name="Rounded Rectangle 4">
            <a:extLst>
              <a:ext uri="{FF2B5EF4-FFF2-40B4-BE49-F238E27FC236}">
                <a16:creationId xmlns:a16="http://schemas.microsoft.com/office/drawing/2014/main" id="{69643F1C-FA60-A052-83ED-F0DB3CD054E9}"/>
              </a:ext>
            </a:extLst>
          </p:cNvPr>
          <p:cNvSpPr/>
          <p:nvPr/>
        </p:nvSpPr>
        <p:spPr>
          <a:xfrm>
            <a:off x="1291278" y="4445864"/>
            <a:ext cx="1280160"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rgbClr val="262726">
                    <a:hueOff val="0"/>
                    <a:satOff val="0"/>
                    <a:lumOff val="0"/>
                    <a:alphaOff val="0"/>
                  </a:srgbClr>
                </a:solidFill>
                <a:effectLst/>
                <a:uLnTx/>
                <a:uFillTx/>
                <a:latin typeface="+mj-lt"/>
                <a:ea typeface="ＭＳ Ｐゴシック"/>
                <a:cs typeface="+mn-cs"/>
              </a:rPr>
              <a:t>Wizard-based; dynamic,    response-driven questions; policy integration</a:t>
            </a:r>
          </a:p>
        </p:txBody>
      </p:sp>
      <p:sp>
        <p:nvSpPr>
          <p:cNvPr id="45" name="Rounded Rectangle 7">
            <a:extLst>
              <a:ext uri="{FF2B5EF4-FFF2-40B4-BE49-F238E27FC236}">
                <a16:creationId xmlns:a16="http://schemas.microsoft.com/office/drawing/2014/main" id="{14CDA5FF-989C-380A-6249-3B15B4FD56BF}"/>
              </a:ext>
            </a:extLst>
          </p:cNvPr>
          <p:cNvSpPr/>
          <p:nvPr/>
        </p:nvSpPr>
        <p:spPr>
          <a:xfrm>
            <a:off x="1291278" y="4197041"/>
            <a:ext cx="1280160" cy="288738"/>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New Claim Entry</a:t>
            </a:r>
          </a:p>
        </p:txBody>
      </p:sp>
      <p:sp>
        <p:nvSpPr>
          <p:cNvPr id="46" name="Rounded Rectangle 9">
            <a:extLst>
              <a:ext uri="{FF2B5EF4-FFF2-40B4-BE49-F238E27FC236}">
                <a16:creationId xmlns:a16="http://schemas.microsoft.com/office/drawing/2014/main" id="{14C14A72-EC5F-0335-9188-6EA231533813}"/>
              </a:ext>
            </a:extLst>
          </p:cNvPr>
          <p:cNvSpPr/>
          <p:nvPr/>
        </p:nvSpPr>
        <p:spPr>
          <a:xfrm>
            <a:off x="2847460" y="4445863"/>
            <a:ext cx="1499152"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rgbClr val="262726">
                    <a:hueOff val="0"/>
                    <a:satOff val="0"/>
                    <a:lumOff val="0"/>
                    <a:alphaOff val="0"/>
                  </a:srgbClr>
                </a:solidFill>
                <a:effectLst/>
                <a:uLnTx/>
                <a:uFillTx/>
                <a:latin typeface="+mj-lt"/>
                <a:ea typeface="ＭＳ Ｐゴシック"/>
                <a:cs typeface="+mn-cs"/>
              </a:rPr>
              <a:t>Rules-based segmentation and assignment to one or more claim professionals</a:t>
            </a:r>
          </a:p>
        </p:txBody>
      </p:sp>
      <p:sp>
        <p:nvSpPr>
          <p:cNvPr id="47" name="Rounded Rectangle 12">
            <a:extLst>
              <a:ext uri="{FF2B5EF4-FFF2-40B4-BE49-F238E27FC236}">
                <a16:creationId xmlns:a16="http://schemas.microsoft.com/office/drawing/2014/main" id="{DC8E6B92-FE5B-5F05-0D1C-C625A82C5524}"/>
              </a:ext>
            </a:extLst>
          </p:cNvPr>
          <p:cNvSpPr/>
          <p:nvPr/>
        </p:nvSpPr>
        <p:spPr>
          <a:xfrm>
            <a:off x="2847460" y="4197041"/>
            <a:ext cx="1499152" cy="288738"/>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Segment/ Assign</a:t>
            </a:r>
          </a:p>
        </p:txBody>
      </p:sp>
      <p:sp>
        <p:nvSpPr>
          <p:cNvPr id="48" name="Rounded Rectangle 14">
            <a:extLst>
              <a:ext uri="{FF2B5EF4-FFF2-40B4-BE49-F238E27FC236}">
                <a16:creationId xmlns:a16="http://schemas.microsoft.com/office/drawing/2014/main" id="{CD3D1A59-9B18-C046-C28E-EB0416F84047}"/>
              </a:ext>
            </a:extLst>
          </p:cNvPr>
          <p:cNvSpPr/>
          <p:nvPr/>
        </p:nvSpPr>
        <p:spPr>
          <a:xfrm>
            <a:off x="4622634" y="4445863"/>
            <a:ext cx="1499152"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rgbClr val="262726">
                    <a:hueOff val="0"/>
                    <a:satOff val="0"/>
                    <a:lumOff val="0"/>
                    <a:alphaOff val="0"/>
                  </a:srgbClr>
                </a:solidFill>
                <a:effectLst/>
                <a:uLnTx/>
                <a:uFillTx/>
                <a:latin typeface="+mj-lt"/>
                <a:ea typeface="ＭＳ Ｐゴシック"/>
                <a:cs typeface="+mn-cs"/>
              </a:rPr>
              <a:t>Best practices automatically encompassed in work plan and continuously monitored</a:t>
            </a:r>
          </a:p>
        </p:txBody>
      </p:sp>
      <p:sp>
        <p:nvSpPr>
          <p:cNvPr id="49" name="Rounded Rectangle 17">
            <a:extLst>
              <a:ext uri="{FF2B5EF4-FFF2-40B4-BE49-F238E27FC236}">
                <a16:creationId xmlns:a16="http://schemas.microsoft.com/office/drawing/2014/main" id="{D5BEEBDE-D01F-9C77-B2B7-EC6E08734EBE}"/>
              </a:ext>
            </a:extLst>
          </p:cNvPr>
          <p:cNvSpPr/>
          <p:nvPr/>
        </p:nvSpPr>
        <p:spPr>
          <a:xfrm>
            <a:off x="4622634" y="4197041"/>
            <a:ext cx="1499152" cy="28873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fontAlgn="base">
              <a:spcBef>
                <a:spcPct val="0"/>
              </a:spcBef>
            </a:pPr>
            <a:r>
              <a:rPr lang="en-US" sz="1100" b="1">
                <a:solidFill>
                  <a:schemeClr val="bg1"/>
                </a:solidFill>
                <a:latin typeface="+mj-lt"/>
                <a:ea typeface="ＭＳ Ｐゴシック"/>
              </a:rPr>
              <a:t>Investigate/Evaluate</a:t>
            </a:r>
            <a:endParaRPr lang="en-IN" sz="1100" b="1">
              <a:solidFill>
                <a:schemeClr val="bg1"/>
              </a:solidFill>
              <a:latin typeface="+mj-lt"/>
              <a:ea typeface="ＭＳ Ｐゴシック"/>
            </a:endParaRPr>
          </a:p>
        </p:txBody>
      </p:sp>
      <p:sp>
        <p:nvSpPr>
          <p:cNvPr id="50" name="Rounded Rectangle 19">
            <a:extLst>
              <a:ext uri="{FF2B5EF4-FFF2-40B4-BE49-F238E27FC236}">
                <a16:creationId xmlns:a16="http://schemas.microsoft.com/office/drawing/2014/main" id="{A6EF8403-9317-4F1E-41CA-4066370650CC}"/>
              </a:ext>
            </a:extLst>
          </p:cNvPr>
          <p:cNvSpPr/>
          <p:nvPr/>
        </p:nvSpPr>
        <p:spPr>
          <a:xfrm>
            <a:off x="6397808" y="4445864"/>
            <a:ext cx="1924623"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rPr>
              <a:t>Robust financial management; granular reserve, Services and payment tracking; subrogation</a:t>
            </a:r>
            <a:r>
              <a:rPr lang="en-US" sz="1100" dirty="0">
                <a:solidFill>
                  <a:srgbClr val="262726">
                    <a:hueOff val="0"/>
                    <a:satOff val="0"/>
                    <a:lumOff val="0"/>
                    <a:alphaOff val="0"/>
                  </a:srgbClr>
                </a:solidFill>
                <a:latin typeface="+mj-lt"/>
                <a:ea typeface="ＭＳ Ｐゴシック"/>
              </a:rPr>
              <a:t>.</a:t>
            </a:r>
            <a:endParaRPr kumimoji="0" lang="en-US" sz="1100" b="0" i="0" u="none" strike="noStrike" kern="1200" cap="none" spc="0" normalizeH="0" baseline="0" noProof="0" dirty="0">
              <a:ln>
                <a:noFill/>
              </a:ln>
              <a:solidFill>
                <a:srgbClr val="262726">
                  <a:hueOff val="0"/>
                  <a:satOff val="0"/>
                  <a:lumOff val="0"/>
                  <a:alphaOff val="0"/>
                </a:srgbClr>
              </a:solidFill>
              <a:effectLst/>
              <a:uLnTx/>
              <a:uFillTx/>
              <a:latin typeface="+mj-lt"/>
              <a:ea typeface="ＭＳ Ｐゴシック"/>
              <a:cs typeface="+mn-cs"/>
            </a:endParaRPr>
          </a:p>
        </p:txBody>
      </p:sp>
      <p:sp>
        <p:nvSpPr>
          <p:cNvPr id="51" name="Rounded Rectangle 22">
            <a:extLst>
              <a:ext uri="{FF2B5EF4-FFF2-40B4-BE49-F238E27FC236}">
                <a16:creationId xmlns:a16="http://schemas.microsoft.com/office/drawing/2014/main" id="{82F6CB31-2D01-3EF2-53A4-7E65A5E7BEF4}"/>
              </a:ext>
            </a:extLst>
          </p:cNvPr>
          <p:cNvSpPr/>
          <p:nvPr/>
        </p:nvSpPr>
        <p:spPr>
          <a:xfrm>
            <a:off x="6397808" y="4197041"/>
            <a:ext cx="1924623" cy="288738"/>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Reserves/Payments/Recoveries/</a:t>
            </a:r>
          </a:p>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dirty="0">
                <a:ln>
                  <a:noFill/>
                </a:ln>
                <a:solidFill>
                  <a:schemeClr val="bg1"/>
                </a:solidFill>
                <a:effectLst/>
                <a:uLnTx/>
                <a:uFillTx/>
                <a:latin typeface="+mj-lt"/>
                <a:ea typeface="ＭＳ Ｐゴシック"/>
                <a:cs typeface="+mn-cs"/>
              </a:rPr>
              <a:t>Services</a:t>
            </a:r>
          </a:p>
        </p:txBody>
      </p:sp>
      <p:sp>
        <p:nvSpPr>
          <p:cNvPr id="52" name="Rounded Rectangle 24">
            <a:extLst>
              <a:ext uri="{FF2B5EF4-FFF2-40B4-BE49-F238E27FC236}">
                <a16:creationId xmlns:a16="http://schemas.microsoft.com/office/drawing/2014/main" id="{97DEC591-0F7A-F359-4C06-169E591631EA}"/>
              </a:ext>
            </a:extLst>
          </p:cNvPr>
          <p:cNvSpPr/>
          <p:nvPr/>
        </p:nvSpPr>
        <p:spPr>
          <a:xfrm>
            <a:off x="8598453" y="4445864"/>
            <a:ext cx="1499152"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rgbClr val="262726">
                    <a:hueOff val="0"/>
                    <a:satOff val="0"/>
                    <a:lumOff val="0"/>
                    <a:alphaOff val="0"/>
                  </a:srgbClr>
                </a:solidFill>
                <a:effectLst/>
                <a:uLnTx/>
                <a:uFillTx/>
                <a:latin typeface="+mj-lt"/>
                <a:ea typeface="ＭＳ Ｐゴシック"/>
                <a:cs typeface="+mn-cs"/>
              </a:rPr>
              <a:t>Litigated matters on claim and negotiation details tracked</a:t>
            </a:r>
          </a:p>
        </p:txBody>
      </p:sp>
      <p:sp>
        <p:nvSpPr>
          <p:cNvPr id="53" name="Rounded Rectangle 27">
            <a:extLst>
              <a:ext uri="{FF2B5EF4-FFF2-40B4-BE49-F238E27FC236}">
                <a16:creationId xmlns:a16="http://schemas.microsoft.com/office/drawing/2014/main" id="{7F77AD4F-5E17-2F5F-EF21-9AB86C7CE7EB}"/>
              </a:ext>
            </a:extLst>
          </p:cNvPr>
          <p:cNvSpPr/>
          <p:nvPr/>
        </p:nvSpPr>
        <p:spPr>
          <a:xfrm>
            <a:off x="8598453" y="4197041"/>
            <a:ext cx="1499152" cy="28873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Litigation/Negotiation</a:t>
            </a:r>
          </a:p>
        </p:txBody>
      </p:sp>
      <p:sp>
        <p:nvSpPr>
          <p:cNvPr id="54" name="Rounded Rectangle 29">
            <a:extLst>
              <a:ext uri="{FF2B5EF4-FFF2-40B4-BE49-F238E27FC236}">
                <a16:creationId xmlns:a16="http://schemas.microsoft.com/office/drawing/2014/main" id="{9ED105BB-7518-5476-4D7E-D6ACDB7BDE44}"/>
              </a:ext>
            </a:extLst>
          </p:cNvPr>
          <p:cNvSpPr/>
          <p:nvPr/>
        </p:nvSpPr>
        <p:spPr>
          <a:xfrm>
            <a:off x="10373629" y="4445864"/>
            <a:ext cx="1280161" cy="981746"/>
          </a:xfrm>
          <a:prstGeom prst="rect">
            <a:avLst/>
          </a:prstGeom>
          <a:noFill/>
          <a:ln w="3175">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marR="0" lvl="1" algn="ctr" defTabSz="444500" rtl="0" eaLnBrk="1" fontAlgn="base" latinLnBrk="0" hangingPunct="1">
              <a:spcBef>
                <a:spcPct val="0"/>
              </a:spcBef>
              <a:buClrTx/>
              <a:buSzTx/>
              <a:tabLst/>
              <a:defRPr/>
            </a:pPr>
            <a:r>
              <a:rPr kumimoji="0" lang="en-US" sz="1100" b="0" i="0" u="none" strike="noStrike" kern="1200" cap="none" spc="0" normalizeH="0" baseline="0" noProof="0">
                <a:ln>
                  <a:noFill/>
                </a:ln>
                <a:solidFill>
                  <a:srgbClr val="262726">
                    <a:hueOff val="0"/>
                    <a:satOff val="0"/>
                    <a:lumOff val="0"/>
                    <a:alphaOff val="0"/>
                  </a:srgbClr>
                </a:solidFill>
                <a:effectLst/>
                <a:uLnTx/>
                <a:uFillTx/>
                <a:latin typeface="+mj-lt"/>
                <a:ea typeface="ＭＳ Ｐゴシック"/>
                <a:cs typeface="+mn-cs"/>
              </a:rPr>
              <a:t>Business rules ensure all appropriate steps taken before claim closure</a:t>
            </a:r>
          </a:p>
        </p:txBody>
      </p:sp>
      <p:sp>
        <p:nvSpPr>
          <p:cNvPr id="55" name="Rounded Rectangle 32">
            <a:extLst>
              <a:ext uri="{FF2B5EF4-FFF2-40B4-BE49-F238E27FC236}">
                <a16:creationId xmlns:a16="http://schemas.microsoft.com/office/drawing/2014/main" id="{62531AED-C902-4AD2-6B7A-058FAF5C35BD}"/>
              </a:ext>
            </a:extLst>
          </p:cNvPr>
          <p:cNvSpPr/>
          <p:nvPr/>
        </p:nvSpPr>
        <p:spPr>
          <a:xfrm>
            <a:off x="10373629" y="4197041"/>
            <a:ext cx="1280161" cy="28873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r>
              <a:rPr kumimoji="0" lang="en-US" sz="1100" b="1" i="0" u="none" strike="noStrike" kern="1200" cap="none" spc="0" normalizeH="0" baseline="0" noProof="0">
                <a:ln>
                  <a:noFill/>
                </a:ln>
                <a:solidFill>
                  <a:schemeClr val="bg1"/>
                </a:solidFill>
                <a:effectLst/>
                <a:uLnTx/>
                <a:uFillTx/>
                <a:latin typeface="+mj-lt"/>
                <a:ea typeface="ＭＳ Ｐゴシック"/>
                <a:cs typeface="+mn-cs"/>
              </a:rPr>
              <a:t>Close</a:t>
            </a:r>
          </a:p>
        </p:txBody>
      </p:sp>
      <p:cxnSp>
        <p:nvCxnSpPr>
          <p:cNvPr id="56" name="Straight Arrow Connector 55">
            <a:extLst>
              <a:ext uri="{FF2B5EF4-FFF2-40B4-BE49-F238E27FC236}">
                <a16:creationId xmlns:a16="http://schemas.microsoft.com/office/drawing/2014/main" id="{6245665A-D45A-83BA-FCD5-459EF9AD961D}"/>
              </a:ext>
            </a:extLst>
          </p:cNvPr>
          <p:cNvCxnSpPr>
            <a:cxnSpLocks/>
            <a:stCxn id="44" idx="3"/>
            <a:endCxn id="46" idx="1"/>
          </p:cNvCxnSpPr>
          <p:nvPr/>
        </p:nvCxnSpPr>
        <p:spPr>
          <a:xfrm flipV="1">
            <a:off x="2571438" y="4936736"/>
            <a:ext cx="276022"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4FC374B-6F68-FD6B-06DF-652F6ACC5F20}"/>
              </a:ext>
            </a:extLst>
          </p:cNvPr>
          <p:cNvCxnSpPr>
            <a:cxnSpLocks/>
            <a:stCxn id="46" idx="3"/>
            <a:endCxn id="48" idx="1"/>
          </p:cNvCxnSpPr>
          <p:nvPr/>
        </p:nvCxnSpPr>
        <p:spPr>
          <a:xfrm>
            <a:off x="4346612" y="4936736"/>
            <a:ext cx="276022"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E43353FE-2FE9-3943-C7E2-B9744809CB45}"/>
              </a:ext>
            </a:extLst>
          </p:cNvPr>
          <p:cNvCxnSpPr>
            <a:cxnSpLocks/>
            <a:stCxn id="48" idx="3"/>
            <a:endCxn id="50" idx="1"/>
          </p:cNvCxnSpPr>
          <p:nvPr/>
        </p:nvCxnSpPr>
        <p:spPr>
          <a:xfrm>
            <a:off x="6121786" y="4936736"/>
            <a:ext cx="276022" cy="1"/>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3A48B15-ED42-7CBC-8345-BBADEC29E3AD}"/>
              </a:ext>
            </a:extLst>
          </p:cNvPr>
          <p:cNvCxnSpPr>
            <a:cxnSpLocks/>
            <a:stCxn id="50" idx="3"/>
            <a:endCxn id="52" idx="1"/>
          </p:cNvCxnSpPr>
          <p:nvPr/>
        </p:nvCxnSpPr>
        <p:spPr>
          <a:xfrm>
            <a:off x="8322431" y="4936737"/>
            <a:ext cx="276022"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E170EE9-0C46-E347-089E-AEC3BD071F55}"/>
              </a:ext>
            </a:extLst>
          </p:cNvPr>
          <p:cNvCxnSpPr>
            <a:cxnSpLocks/>
            <a:stCxn id="52" idx="3"/>
            <a:endCxn id="54" idx="1"/>
          </p:cNvCxnSpPr>
          <p:nvPr/>
        </p:nvCxnSpPr>
        <p:spPr>
          <a:xfrm>
            <a:off x="10097605" y="4936737"/>
            <a:ext cx="276024" cy="0"/>
          </a:xfrm>
          <a:prstGeom prst="straightConnector1">
            <a:avLst/>
          </a:prstGeom>
          <a:ln w="317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61" name="Arrow: Pentagon 60">
            <a:extLst>
              <a:ext uri="{FF2B5EF4-FFF2-40B4-BE49-F238E27FC236}">
                <a16:creationId xmlns:a16="http://schemas.microsoft.com/office/drawing/2014/main" id="{C4736194-C037-6F52-33AD-2DB17C0508A3}"/>
              </a:ext>
            </a:extLst>
          </p:cNvPr>
          <p:cNvSpPr/>
          <p:nvPr/>
        </p:nvSpPr>
        <p:spPr>
          <a:xfrm>
            <a:off x="481647" y="1074163"/>
            <a:ext cx="576063" cy="1218830"/>
          </a:xfrm>
          <a:prstGeom prst="homePlate">
            <a:avLst>
              <a:gd name="adj" fmla="val 16763"/>
            </a:avLst>
          </a:prstGeom>
          <a:solidFill>
            <a:srgbClr val="C00000"/>
          </a:solidFill>
          <a:ln w="3175">
            <a:solidFill>
              <a:schemeClr val="bg1">
                <a:lumMod val="75000"/>
              </a:schemeClr>
            </a:solid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1600" b="1">
                <a:solidFill>
                  <a:schemeClr val="bg1"/>
                </a:solidFill>
                <a:latin typeface="+mj-lt"/>
              </a:rPr>
              <a:t>Policy</a:t>
            </a:r>
          </a:p>
        </p:txBody>
      </p:sp>
      <p:sp>
        <p:nvSpPr>
          <p:cNvPr id="62" name="Arrow: Pentagon 61">
            <a:extLst>
              <a:ext uri="{FF2B5EF4-FFF2-40B4-BE49-F238E27FC236}">
                <a16:creationId xmlns:a16="http://schemas.microsoft.com/office/drawing/2014/main" id="{8B1E5A02-AB2C-D5A5-4CEB-A39F2EE53D04}"/>
              </a:ext>
            </a:extLst>
          </p:cNvPr>
          <p:cNvSpPr/>
          <p:nvPr/>
        </p:nvSpPr>
        <p:spPr>
          <a:xfrm>
            <a:off x="435807" y="2471488"/>
            <a:ext cx="576063" cy="1511211"/>
          </a:xfrm>
          <a:prstGeom prst="homePlate">
            <a:avLst>
              <a:gd name="adj" fmla="val 16763"/>
            </a:avLst>
          </a:prstGeom>
          <a:solidFill>
            <a:srgbClr val="C00000"/>
          </a:solidFill>
          <a:ln w="3175">
            <a:solidFill>
              <a:schemeClr val="bg1">
                <a:lumMod val="75000"/>
              </a:schemeClr>
            </a:solid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1600" b="1">
                <a:solidFill>
                  <a:schemeClr val="bg1"/>
                </a:solidFill>
                <a:latin typeface="+mj-lt"/>
              </a:rPr>
              <a:t>Billing</a:t>
            </a:r>
          </a:p>
        </p:txBody>
      </p:sp>
      <p:sp>
        <p:nvSpPr>
          <p:cNvPr id="63" name="Arrow: Pentagon 62">
            <a:extLst>
              <a:ext uri="{FF2B5EF4-FFF2-40B4-BE49-F238E27FC236}">
                <a16:creationId xmlns:a16="http://schemas.microsoft.com/office/drawing/2014/main" id="{74C78BCD-82E1-5FDD-864D-9D9FE993F028}"/>
              </a:ext>
            </a:extLst>
          </p:cNvPr>
          <p:cNvSpPr/>
          <p:nvPr/>
        </p:nvSpPr>
        <p:spPr>
          <a:xfrm>
            <a:off x="481647" y="4157126"/>
            <a:ext cx="576063" cy="1270483"/>
          </a:xfrm>
          <a:prstGeom prst="homePlate">
            <a:avLst>
              <a:gd name="adj" fmla="val 16763"/>
            </a:avLst>
          </a:prstGeom>
          <a:solidFill>
            <a:srgbClr val="C00000"/>
          </a:solidFill>
          <a:ln w="3175">
            <a:solidFill>
              <a:schemeClr val="bg1">
                <a:lumMod val="75000"/>
              </a:schemeClr>
            </a:solid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1600" b="1">
                <a:solidFill>
                  <a:schemeClr val="bg1"/>
                </a:solidFill>
                <a:latin typeface="+mj-lt"/>
              </a:rPr>
              <a:t>Claims</a:t>
            </a:r>
          </a:p>
        </p:txBody>
      </p:sp>
      <p:sp>
        <p:nvSpPr>
          <p:cNvPr id="64" name="Rounded Rectangle 12">
            <a:extLst>
              <a:ext uri="{FF2B5EF4-FFF2-40B4-BE49-F238E27FC236}">
                <a16:creationId xmlns:a16="http://schemas.microsoft.com/office/drawing/2014/main" id="{B0EEC7ED-00BA-F64A-49D9-9BEE64DE01DF}"/>
              </a:ext>
            </a:extLst>
          </p:cNvPr>
          <p:cNvSpPr/>
          <p:nvPr/>
        </p:nvSpPr>
        <p:spPr>
          <a:xfrm>
            <a:off x="879966" y="5896995"/>
            <a:ext cx="242192" cy="153888"/>
          </a:xfrm>
          <a:prstGeom prst="rect">
            <a:avLst/>
          </a:prstGeom>
          <a:solidFill>
            <a:schemeClr val="tx2"/>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endParaRPr kumimoji="0" lang="en-US" sz="1100" b="1" i="0" u="none" strike="noStrike" kern="1200" cap="none" spc="0" normalizeH="0" baseline="0" noProof="0">
              <a:ln>
                <a:noFill/>
              </a:ln>
              <a:solidFill>
                <a:schemeClr val="bg1"/>
              </a:solidFill>
              <a:effectLst/>
              <a:uLnTx/>
              <a:uFillTx/>
              <a:latin typeface="+mj-lt"/>
              <a:ea typeface="ＭＳ Ｐゴシック"/>
              <a:cs typeface="+mn-cs"/>
            </a:endParaRPr>
          </a:p>
        </p:txBody>
      </p:sp>
      <p:sp>
        <p:nvSpPr>
          <p:cNvPr id="65" name="TextBox 226">
            <a:extLst>
              <a:ext uri="{FF2B5EF4-FFF2-40B4-BE49-F238E27FC236}">
                <a16:creationId xmlns:a16="http://schemas.microsoft.com/office/drawing/2014/main" id="{68561F89-40B6-1DB5-636C-4AB5598C7AD7}"/>
              </a:ext>
            </a:extLst>
          </p:cNvPr>
          <p:cNvSpPr txBox="1"/>
          <p:nvPr/>
        </p:nvSpPr>
        <p:spPr>
          <a:xfrm>
            <a:off x="1223648" y="5896995"/>
            <a:ext cx="370294" cy="153888"/>
          </a:xfrm>
          <a:prstGeom prst="rect">
            <a:avLst/>
          </a:prstGeom>
          <a:noFill/>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000" b="1"/>
              <a:t>Level 5</a:t>
            </a:r>
          </a:p>
        </p:txBody>
      </p:sp>
      <p:sp>
        <p:nvSpPr>
          <p:cNvPr id="66" name="Rounded Rectangle 12">
            <a:extLst>
              <a:ext uri="{FF2B5EF4-FFF2-40B4-BE49-F238E27FC236}">
                <a16:creationId xmlns:a16="http://schemas.microsoft.com/office/drawing/2014/main" id="{E545AA8F-0EFC-9209-09E4-D3F5ED034373}"/>
              </a:ext>
            </a:extLst>
          </p:cNvPr>
          <p:cNvSpPr/>
          <p:nvPr/>
        </p:nvSpPr>
        <p:spPr>
          <a:xfrm>
            <a:off x="1779852" y="5896995"/>
            <a:ext cx="242192" cy="153888"/>
          </a:xfrm>
          <a:prstGeom prst="rect">
            <a:avLst/>
          </a:prstGeom>
          <a:solidFill>
            <a:srgbClr val="002060"/>
          </a:solidFill>
          <a:ln w="3175">
            <a:no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endParaRPr kumimoji="0" lang="en-US" sz="1100" b="1" i="0" u="none" strike="noStrike" kern="1200" cap="none" spc="0" normalizeH="0" baseline="0" noProof="0">
              <a:ln>
                <a:noFill/>
              </a:ln>
              <a:solidFill>
                <a:schemeClr val="bg1"/>
              </a:solidFill>
              <a:effectLst/>
              <a:uLnTx/>
              <a:uFillTx/>
              <a:latin typeface="+mj-lt"/>
              <a:ea typeface="ＭＳ Ｐゴシック"/>
              <a:cs typeface="+mn-cs"/>
            </a:endParaRPr>
          </a:p>
        </p:txBody>
      </p:sp>
      <p:sp>
        <p:nvSpPr>
          <p:cNvPr id="67" name="TextBox 228">
            <a:extLst>
              <a:ext uri="{FF2B5EF4-FFF2-40B4-BE49-F238E27FC236}">
                <a16:creationId xmlns:a16="http://schemas.microsoft.com/office/drawing/2014/main" id="{BDB1288D-9A12-94F2-F331-4F9356826D86}"/>
              </a:ext>
            </a:extLst>
          </p:cNvPr>
          <p:cNvSpPr txBox="1"/>
          <p:nvPr/>
        </p:nvSpPr>
        <p:spPr>
          <a:xfrm>
            <a:off x="2123534" y="5896995"/>
            <a:ext cx="370294" cy="153888"/>
          </a:xfrm>
          <a:prstGeom prst="rect">
            <a:avLst/>
          </a:prstGeom>
          <a:noFill/>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000" b="1" dirty="0"/>
              <a:t>Level 4</a:t>
            </a:r>
          </a:p>
        </p:txBody>
      </p:sp>
      <p:sp>
        <p:nvSpPr>
          <p:cNvPr id="68" name="Rounded Rectangle 12">
            <a:extLst>
              <a:ext uri="{FF2B5EF4-FFF2-40B4-BE49-F238E27FC236}">
                <a16:creationId xmlns:a16="http://schemas.microsoft.com/office/drawing/2014/main" id="{FD50AA61-A9F5-C649-19B8-6AB3B8EF3104}"/>
              </a:ext>
            </a:extLst>
          </p:cNvPr>
          <p:cNvSpPr/>
          <p:nvPr/>
        </p:nvSpPr>
        <p:spPr>
          <a:xfrm>
            <a:off x="2683907" y="5896995"/>
            <a:ext cx="242192" cy="153888"/>
          </a:xfrm>
          <a:prstGeom prst="rect">
            <a:avLst/>
          </a:prstGeom>
          <a:solidFill>
            <a:srgbClr val="7030A0"/>
          </a:solidFill>
          <a:ln w="3175">
            <a:solidFill>
              <a:schemeClr val="tx2"/>
            </a:solidFill>
          </a:ln>
        </p:spPr>
        <p:style>
          <a:lnRef idx="0">
            <a:scrgbClr r="0" g="0" b="0"/>
          </a:lnRef>
          <a:fillRef idx="0">
            <a:scrgbClr r="0" g="0" b="0"/>
          </a:fillRef>
          <a:effectRef idx="0">
            <a:scrgbClr r="0" g="0" b="0"/>
          </a:effectRef>
          <a:fontRef idx="minor">
            <a:schemeClr val="lt1"/>
          </a:fontRef>
        </p:style>
        <p:txBody>
          <a:bodyPr spcFirstLastPara="0" vert="horz" wrap="none" lIns="45720" tIns="45720" rIns="45720" bIns="457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33400" rtl="0" eaLnBrk="1" fontAlgn="base" latinLnBrk="0" hangingPunct="1">
              <a:spcBef>
                <a:spcPct val="0"/>
              </a:spcBef>
              <a:buClrTx/>
              <a:buSzTx/>
              <a:buFontTx/>
              <a:buNone/>
              <a:tabLst/>
              <a:defRPr/>
            </a:pPr>
            <a:endParaRPr kumimoji="0" lang="en-US" sz="1100" b="1" i="0" u="none" strike="noStrike" kern="1200" cap="none" spc="0" normalizeH="0" baseline="0" noProof="0">
              <a:ln>
                <a:noFill/>
              </a:ln>
              <a:solidFill>
                <a:schemeClr val="bg1"/>
              </a:solidFill>
              <a:effectLst/>
              <a:uLnTx/>
              <a:uFillTx/>
              <a:latin typeface="+mj-lt"/>
              <a:ea typeface="ＭＳ Ｐゴシック"/>
              <a:cs typeface="+mn-cs"/>
            </a:endParaRPr>
          </a:p>
        </p:txBody>
      </p:sp>
      <p:sp>
        <p:nvSpPr>
          <p:cNvPr id="69" name="TextBox 226">
            <a:extLst>
              <a:ext uri="{FF2B5EF4-FFF2-40B4-BE49-F238E27FC236}">
                <a16:creationId xmlns:a16="http://schemas.microsoft.com/office/drawing/2014/main" id="{A526445C-35EC-A0DA-C1F9-B2D2035CED8B}"/>
              </a:ext>
            </a:extLst>
          </p:cNvPr>
          <p:cNvSpPr txBox="1"/>
          <p:nvPr/>
        </p:nvSpPr>
        <p:spPr>
          <a:xfrm>
            <a:off x="3027589" y="5896995"/>
            <a:ext cx="370294" cy="153888"/>
          </a:xfrm>
          <a:prstGeom prst="rect">
            <a:avLst/>
          </a:prstGeom>
          <a:noFill/>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000" b="1" dirty="0"/>
              <a:t>Level 3</a:t>
            </a:r>
          </a:p>
        </p:txBody>
      </p:sp>
      <p:sp>
        <p:nvSpPr>
          <p:cNvPr id="72" name="TextBox 71">
            <a:extLst>
              <a:ext uri="{FF2B5EF4-FFF2-40B4-BE49-F238E27FC236}">
                <a16:creationId xmlns:a16="http://schemas.microsoft.com/office/drawing/2014/main" id="{FF8D4632-1D40-2277-1E93-C00B66A39ED0}"/>
              </a:ext>
            </a:extLst>
          </p:cNvPr>
          <p:cNvSpPr txBox="1"/>
          <p:nvPr/>
        </p:nvSpPr>
        <p:spPr>
          <a:xfrm>
            <a:off x="10373628" y="1338650"/>
            <a:ext cx="1197886" cy="600164"/>
          </a:xfrm>
          <a:prstGeom prst="rect">
            <a:avLst/>
          </a:prstGeom>
          <a:noFill/>
        </p:spPr>
        <p:txBody>
          <a:bodyPr wrap="square">
            <a:spAutoFit/>
          </a:bodyPr>
          <a:lstStyle/>
          <a:p>
            <a:r>
              <a:rPr lang="en-US" sz="1100" dirty="0">
                <a:latin typeface="+mj-lt"/>
              </a:rPr>
              <a:t>Early termination of an in‑force policy with forms</a:t>
            </a:r>
          </a:p>
        </p:txBody>
      </p:sp>
    </p:spTree>
    <p:extLst>
      <p:ext uri="{BB962C8B-B14F-4D97-AF65-F5344CB8AC3E}">
        <p14:creationId xmlns:p14="http://schemas.microsoft.com/office/powerpoint/2010/main" val="254925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B575D-F3DC-3456-3F4C-7D60BB18C9AD}"/>
            </a:ext>
          </a:extLst>
        </p:cNvPr>
        <p:cNvGrpSpPr/>
        <p:nvPr/>
      </p:nvGrpSpPr>
      <p:grpSpPr>
        <a:xfrm>
          <a:off x="0" y="0"/>
          <a:ext cx="0" cy="0"/>
          <a:chOff x="0" y="0"/>
          <a:chExt cx="0" cy="0"/>
        </a:xfrm>
      </p:grpSpPr>
      <p:sp>
        <p:nvSpPr>
          <p:cNvPr id="31" name="Rectangle 30">
            <a:extLst>
              <a:ext uri="{FF2B5EF4-FFF2-40B4-BE49-F238E27FC236}">
                <a16:creationId xmlns:a16="http://schemas.microsoft.com/office/drawing/2014/main" id="{4B52A5D6-1688-85F8-F11B-3DDA91F427DE}"/>
              </a:ext>
            </a:extLst>
          </p:cNvPr>
          <p:cNvSpPr/>
          <p:nvPr/>
        </p:nvSpPr>
        <p:spPr>
          <a:xfrm rot="16200000">
            <a:off x="9744704" y="5014762"/>
            <a:ext cx="2113839" cy="36557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itle 5">
            <a:extLst>
              <a:ext uri="{FF2B5EF4-FFF2-40B4-BE49-F238E27FC236}">
                <a16:creationId xmlns:a16="http://schemas.microsoft.com/office/drawing/2014/main" id="{3E826523-9612-DBA9-13C0-0B66F071C301}"/>
              </a:ext>
            </a:extLst>
          </p:cNvPr>
          <p:cNvSpPr>
            <a:spLocks noGrp="1"/>
          </p:cNvSpPr>
          <p:nvPr>
            <p:ph type="title"/>
          </p:nvPr>
        </p:nvSpPr>
        <p:spPr>
          <a:xfrm>
            <a:off x="226745" y="258941"/>
            <a:ext cx="11738510" cy="648000"/>
          </a:xfrm>
        </p:spPr>
        <p:txBody>
          <a:bodyPr tIns="0" bIns="0" anchor="t" anchorCtr="0">
            <a:normAutofit/>
          </a:bodyPr>
          <a:lstStyle/>
          <a:p>
            <a:r>
              <a:rPr lang="en-US" dirty="0"/>
              <a:t>Guidewire Testing Assessment Framework</a:t>
            </a:r>
          </a:p>
        </p:txBody>
      </p:sp>
      <p:sp>
        <p:nvSpPr>
          <p:cNvPr id="57" name="TextBox 56">
            <a:extLst>
              <a:ext uri="{FF2B5EF4-FFF2-40B4-BE49-F238E27FC236}">
                <a16:creationId xmlns:a16="http://schemas.microsoft.com/office/drawing/2014/main" id="{B6CBC396-7875-6338-8F17-89A150B72545}"/>
              </a:ext>
            </a:extLst>
          </p:cNvPr>
          <p:cNvSpPr txBox="1"/>
          <p:nvPr/>
        </p:nvSpPr>
        <p:spPr>
          <a:xfrm rot="5400000">
            <a:off x="10149984" y="4977383"/>
            <a:ext cx="1268296" cy="430887"/>
          </a:xfrm>
          <a:prstGeom prst="rect">
            <a:avLst/>
          </a:prstGeom>
          <a:noFill/>
        </p:spPr>
        <p:txBody>
          <a:bodyPr wrap="none" rtlCol="0">
            <a:spAutoFit/>
          </a:bodyPr>
          <a:lstStyle/>
          <a:p>
            <a:pPr algn="ctr"/>
            <a:r>
              <a:rPr lang="en-US" sz="1100" b="1" dirty="0"/>
              <a:t>BEST PRACTICES &amp;</a:t>
            </a:r>
          </a:p>
          <a:p>
            <a:pPr algn="ctr"/>
            <a:r>
              <a:rPr lang="en-US" sz="1100" b="1" dirty="0"/>
              <a:t>LESSONS LEARNT</a:t>
            </a:r>
          </a:p>
        </p:txBody>
      </p:sp>
      <p:sp>
        <p:nvSpPr>
          <p:cNvPr id="52" name="Rectangle 51">
            <a:extLst>
              <a:ext uri="{FF2B5EF4-FFF2-40B4-BE49-F238E27FC236}">
                <a16:creationId xmlns:a16="http://schemas.microsoft.com/office/drawing/2014/main" id="{62EBE5B0-F864-799C-4E7E-9E7A36720862}"/>
              </a:ext>
            </a:extLst>
          </p:cNvPr>
          <p:cNvSpPr/>
          <p:nvPr/>
        </p:nvSpPr>
        <p:spPr>
          <a:xfrm rot="16200000">
            <a:off x="248911" y="5014762"/>
            <a:ext cx="2113839" cy="36557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9" name="TextBox 58">
            <a:extLst>
              <a:ext uri="{FF2B5EF4-FFF2-40B4-BE49-F238E27FC236}">
                <a16:creationId xmlns:a16="http://schemas.microsoft.com/office/drawing/2014/main" id="{508B2A46-CB46-1B55-AB04-19CBA369956E}"/>
              </a:ext>
            </a:extLst>
          </p:cNvPr>
          <p:cNvSpPr txBox="1"/>
          <p:nvPr/>
        </p:nvSpPr>
        <p:spPr>
          <a:xfrm rot="16200000">
            <a:off x="563245" y="5085775"/>
            <a:ext cx="1519968" cy="261610"/>
          </a:xfrm>
          <a:prstGeom prst="rect">
            <a:avLst/>
          </a:prstGeom>
          <a:noFill/>
        </p:spPr>
        <p:txBody>
          <a:bodyPr wrap="none" rtlCol="0">
            <a:spAutoFit/>
          </a:bodyPr>
          <a:lstStyle/>
          <a:p>
            <a:pPr algn="ctr"/>
            <a:r>
              <a:rPr lang="en-US" sz="1100" b="1" dirty="0"/>
              <a:t>GUIDEWIRE EXPERTISE</a:t>
            </a:r>
          </a:p>
        </p:txBody>
      </p:sp>
      <p:sp>
        <p:nvSpPr>
          <p:cNvPr id="51" name="Rectangle 50">
            <a:extLst>
              <a:ext uri="{FF2B5EF4-FFF2-40B4-BE49-F238E27FC236}">
                <a16:creationId xmlns:a16="http://schemas.microsoft.com/office/drawing/2014/main" id="{E0DA64BE-D7E3-5ABE-89CD-3219DD095830}"/>
              </a:ext>
            </a:extLst>
          </p:cNvPr>
          <p:cNvSpPr/>
          <p:nvPr/>
        </p:nvSpPr>
        <p:spPr>
          <a:xfrm rot="16200000">
            <a:off x="249557" y="2811144"/>
            <a:ext cx="2113839" cy="36557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0" name="TextBox 59">
            <a:extLst>
              <a:ext uri="{FF2B5EF4-FFF2-40B4-BE49-F238E27FC236}">
                <a16:creationId xmlns:a16="http://schemas.microsoft.com/office/drawing/2014/main" id="{5E09AD8E-8CCA-AD04-6629-88718FD651DE}"/>
              </a:ext>
            </a:extLst>
          </p:cNvPr>
          <p:cNvSpPr txBox="1"/>
          <p:nvPr/>
        </p:nvSpPr>
        <p:spPr>
          <a:xfrm rot="16200000">
            <a:off x="352697" y="2856140"/>
            <a:ext cx="1906267" cy="261610"/>
          </a:xfrm>
          <a:prstGeom prst="rect">
            <a:avLst/>
          </a:prstGeom>
          <a:noFill/>
        </p:spPr>
        <p:txBody>
          <a:bodyPr wrap="square" rtlCol="0">
            <a:spAutoFit/>
          </a:bodyPr>
          <a:lstStyle/>
          <a:p>
            <a:pPr algn="ctr"/>
            <a:r>
              <a:rPr lang="en-US" sz="1100" b="1" dirty="0"/>
              <a:t>DOMAIN EXPERTISE</a:t>
            </a:r>
          </a:p>
        </p:txBody>
      </p:sp>
      <p:sp>
        <p:nvSpPr>
          <p:cNvPr id="4" name="Rectangle 3">
            <a:extLst>
              <a:ext uri="{FF2B5EF4-FFF2-40B4-BE49-F238E27FC236}">
                <a16:creationId xmlns:a16="http://schemas.microsoft.com/office/drawing/2014/main" id="{9060DA33-337D-3AD8-42A4-72ED8C201BBA}"/>
              </a:ext>
            </a:extLst>
          </p:cNvPr>
          <p:cNvSpPr/>
          <p:nvPr/>
        </p:nvSpPr>
        <p:spPr>
          <a:xfrm>
            <a:off x="1671484" y="1937014"/>
            <a:ext cx="8760542" cy="36557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t>20 PROCESS AREAS</a:t>
            </a:r>
          </a:p>
        </p:txBody>
      </p:sp>
      <p:sp>
        <p:nvSpPr>
          <p:cNvPr id="6" name="Rectangle 5">
            <a:extLst>
              <a:ext uri="{FF2B5EF4-FFF2-40B4-BE49-F238E27FC236}">
                <a16:creationId xmlns:a16="http://schemas.microsoft.com/office/drawing/2014/main" id="{B1AED40B-5BBD-0899-FA6A-0205EA2B52D2}"/>
              </a:ext>
            </a:extLst>
          </p:cNvPr>
          <p:cNvSpPr/>
          <p:nvPr/>
        </p:nvSpPr>
        <p:spPr>
          <a:xfrm>
            <a:off x="1671484" y="5894594"/>
            <a:ext cx="8760542" cy="36557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t>4 MATURITY LEVELS</a:t>
            </a:r>
          </a:p>
        </p:txBody>
      </p:sp>
      <p:sp>
        <p:nvSpPr>
          <p:cNvPr id="8" name="TextBox 7">
            <a:extLst>
              <a:ext uri="{FF2B5EF4-FFF2-40B4-BE49-F238E27FC236}">
                <a16:creationId xmlns:a16="http://schemas.microsoft.com/office/drawing/2014/main" id="{12C7E860-C575-3F17-14F1-F8C939CAB52B}"/>
              </a:ext>
            </a:extLst>
          </p:cNvPr>
          <p:cNvSpPr txBox="1"/>
          <p:nvPr/>
        </p:nvSpPr>
        <p:spPr>
          <a:xfrm>
            <a:off x="226745" y="793990"/>
            <a:ext cx="11738510" cy="954107"/>
          </a:xfrm>
          <a:prstGeom prst="rect">
            <a:avLst/>
          </a:prstGeom>
          <a:noFill/>
        </p:spPr>
        <p:txBody>
          <a:bodyPr wrap="square">
            <a:spAutoFit/>
          </a:bodyPr>
          <a:lstStyle/>
          <a:p>
            <a:r>
              <a:rPr lang="en-US" sz="1400" dirty="0"/>
              <a:t>Our comprehensive </a:t>
            </a:r>
            <a:r>
              <a:rPr lang="en-US" sz="1400" b="1" dirty="0">
                <a:solidFill>
                  <a:srgbClr val="C00000"/>
                </a:solidFill>
              </a:rPr>
              <a:t>Guidewire Testing Maturity Assessment Framework </a:t>
            </a:r>
            <a:r>
              <a:rPr lang="en-US" sz="1400" dirty="0"/>
              <a:t>evaluates the end-to-end testing ecosystem across functional, integration, data, and rating validation to ensure quality, coverage, and release confidence. It identifies gaps in processes, tools, and governance, enabling a shift toward intelligent automation, traceability, and risk-based testing. The outcome is a </a:t>
            </a:r>
            <a:r>
              <a:rPr lang="en-US" sz="1400" b="1" dirty="0">
                <a:solidFill>
                  <a:srgbClr val="C00000"/>
                </a:solidFill>
              </a:rPr>
              <a:t>scalable, future-ready testing</a:t>
            </a:r>
            <a:r>
              <a:rPr lang="en-US" sz="1400" dirty="0">
                <a:solidFill>
                  <a:srgbClr val="C00000"/>
                </a:solidFill>
              </a:rPr>
              <a:t> </a:t>
            </a:r>
            <a:r>
              <a:rPr lang="en-US" sz="1400" dirty="0"/>
              <a:t>model that</a:t>
            </a:r>
            <a:r>
              <a:rPr lang="en-US" sz="1400" b="1" dirty="0"/>
              <a:t> </a:t>
            </a:r>
            <a:r>
              <a:rPr lang="en-US" sz="1400" b="1" dirty="0">
                <a:solidFill>
                  <a:srgbClr val="C00000"/>
                </a:solidFill>
              </a:rPr>
              <a:t>improves defect prevention, accelerates releases, and enhances business assurance</a:t>
            </a:r>
            <a:r>
              <a:rPr lang="en-US" sz="1400" dirty="0">
                <a:solidFill>
                  <a:srgbClr val="C00000"/>
                </a:solidFill>
              </a:rPr>
              <a:t>.</a:t>
            </a:r>
          </a:p>
        </p:txBody>
      </p:sp>
      <p:graphicFrame>
        <p:nvGraphicFramePr>
          <p:cNvPr id="23" name="Chart 22">
            <a:extLst>
              <a:ext uri="{FF2B5EF4-FFF2-40B4-BE49-F238E27FC236}">
                <a16:creationId xmlns:a16="http://schemas.microsoft.com/office/drawing/2014/main" id="{AF44744E-F147-4935-8CF8-C7D7DBF6043C}"/>
              </a:ext>
            </a:extLst>
          </p:cNvPr>
          <p:cNvGraphicFramePr>
            <a:graphicFrameLocks/>
          </p:cNvGraphicFramePr>
          <p:nvPr>
            <p:extLst>
              <p:ext uri="{D42A27DB-BD31-4B8C-83A1-F6EECF244321}">
                <p14:modId xmlns:p14="http://schemas.microsoft.com/office/powerpoint/2010/main" val="780862254"/>
              </p:ext>
            </p:extLst>
          </p:nvPr>
        </p:nvGraphicFramePr>
        <p:xfrm>
          <a:off x="1769806" y="2418037"/>
          <a:ext cx="8426246" cy="3080667"/>
        </p:xfrm>
        <a:graphic>
          <a:graphicData uri="http://schemas.openxmlformats.org/drawingml/2006/chart">
            <c:chart xmlns:c="http://schemas.openxmlformats.org/drawingml/2006/chart" xmlns:r="http://schemas.openxmlformats.org/officeDocument/2006/relationships" r:id="rId3"/>
          </a:graphicData>
        </a:graphic>
      </p:graphicFrame>
      <p:sp>
        <p:nvSpPr>
          <p:cNvPr id="27" name="Rectangle 26">
            <a:extLst>
              <a:ext uri="{FF2B5EF4-FFF2-40B4-BE49-F238E27FC236}">
                <a16:creationId xmlns:a16="http://schemas.microsoft.com/office/drawing/2014/main" id="{33802890-AC33-FCF9-AD22-EE7AEEA19C37}"/>
              </a:ext>
            </a:extLst>
          </p:cNvPr>
          <p:cNvSpPr/>
          <p:nvPr/>
        </p:nvSpPr>
        <p:spPr>
          <a:xfrm>
            <a:off x="1671484" y="5614152"/>
            <a:ext cx="1935187" cy="226994"/>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t>L1 - Initial</a:t>
            </a:r>
          </a:p>
        </p:txBody>
      </p:sp>
      <p:sp>
        <p:nvSpPr>
          <p:cNvPr id="28" name="Rectangle 27">
            <a:extLst>
              <a:ext uri="{FF2B5EF4-FFF2-40B4-BE49-F238E27FC236}">
                <a16:creationId xmlns:a16="http://schemas.microsoft.com/office/drawing/2014/main" id="{AA4BE61D-0DA7-8278-2359-F2EE72D33CF7}"/>
              </a:ext>
            </a:extLst>
          </p:cNvPr>
          <p:cNvSpPr/>
          <p:nvPr/>
        </p:nvSpPr>
        <p:spPr>
          <a:xfrm>
            <a:off x="3947917" y="5614152"/>
            <a:ext cx="1935187" cy="226994"/>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t>L2 - Managed</a:t>
            </a:r>
          </a:p>
        </p:txBody>
      </p:sp>
      <p:sp>
        <p:nvSpPr>
          <p:cNvPr id="29" name="Rectangle 28">
            <a:extLst>
              <a:ext uri="{FF2B5EF4-FFF2-40B4-BE49-F238E27FC236}">
                <a16:creationId xmlns:a16="http://schemas.microsoft.com/office/drawing/2014/main" id="{17C1E1ED-A8FA-63C2-3FAD-4DA45F4EB5CD}"/>
              </a:ext>
            </a:extLst>
          </p:cNvPr>
          <p:cNvSpPr/>
          <p:nvPr/>
        </p:nvSpPr>
        <p:spPr>
          <a:xfrm>
            <a:off x="6224350" y="5614152"/>
            <a:ext cx="1935187" cy="226994"/>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t>L3 - Defined</a:t>
            </a:r>
          </a:p>
        </p:txBody>
      </p:sp>
      <p:sp>
        <p:nvSpPr>
          <p:cNvPr id="30" name="Rectangle 29">
            <a:extLst>
              <a:ext uri="{FF2B5EF4-FFF2-40B4-BE49-F238E27FC236}">
                <a16:creationId xmlns:a16="http://schemas.microsoft.com/office/drawing/2014/main" id="{3691C900-258A-0F10-9587-41E50AF79D1B}"/>
              </a:ext>
            </a:extLst>
          </p:cNvPr>
          <p:cNvSpPr/>
          <p:nvPr/>
        </p:nvSpPr>
        <p:spPr>
          <a:xfrm>
            <a:off x="8500783" y="5621995"/>
            <a:ext cx="1935187" cy="226994"/>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t>L4 - Optimized</a:t>
            </a:r>
          </a:p>
        </p:txBody>
      </p:sp>
      <p:sp>
        <p:nvSpPr>
          <p:cNvPr id="32" name="Rectangle 31">
            <a:extLst>
              <a:ext uri="{FF2B5EF4-FFF2-40B4-BE49-F238E27FC236}">
                <a16:creationId xmlns:a16="http://schemas.microsoft.com/office/drawing/2014/main" id="{70FFA95B-841A-9C51-B1C4-AB26BC987AD6}"/>
              </a:ext>
            </a:extLst>
          </p:cNvPr>
          <p:cNvSpPr/>
          <p:nvPr/>
        </p:nvSpPr>
        <p:spPr>
          <a:xfrm rot="16200000">
            <a:off x="9745350" y="2811144"/>
            <a:ext cx="2113839" cy="36557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6" name="TextBox 55">
            <a:extLst>
              <a:ext uri="{FF2B5EF4-FFF2-40B4-BE49-F238E27FC236}">
                <a16:creationId xmlns:a16="http://schemas.microsoft.com/office/drawing/2014/main" id="{561C93C4-990E-5D05-341F-C010A019AE69}"/>
              </a:ext>
            </a:extLst>
          </p:cNvPr>
          <p:cNvSpPr txBox="1"/>
          <p:nvPr/>
        </p:nvSpPr>
        <p:spPr>
          <a:xfrm rot="5400000">
            <a:off x="10098546" y="2925552"/>
            <a:ext cx="1406154" cy="261610"/>
          </a:xfrm>
          <a:prstGeom prst="rect">
            <a:avLst/>
          </a:prstGeom>
          <a:noFill/>
        </p:spPr>
        <p:txBody>
          <a:bodyPr wrap="none" rtlCol="0">
            <a:spAutoFit/>
          </a:bodyPr>
          <a:lstStyle/>
          <a:p>
            <a:pPr algn="ctr"/>
            <a:r>
              <a:rPr lang="en-US" sz="1100" b="1" dirty="0"/>
              <a:t>TEST ACCELERATORS</a:t>
            </a:r>
          </a:p>
        </p:txBody>
      </p:sp>
      <p:sp>
        <p:nvSpPr>
          <p:cNvPr id="34" name="TextBox 33">
            <a:extLst>
              <a:ext uri="{FF2B5EF4-FFF2-40B4-BE49-F238E27FC236}">
                <a16:creationId xmlns:a16="http://schemas.microsoft.com/office/drawing/2014/main" id="{8C88D39C-DC1D-6C9A-1EAD-D535BDEA7AFC}"/>
              </a:ext>
            </a:extLst>
          </p:cNvPr>
          <p:cNvSpPr txBox="1"/>
          <p:nvPr/>
        </p:nvSpPr>
        <p:spPr>
          <a:xfrm>
            <a:off x="5789026" y="3605545"/>
            <a:ext cx="422787" cy="307777"/>
          </a:xfrm>
          <a:prstGeom prst="rect">
            <a:avLst/>
          </a:prstGeom>
          <a:noFill/>
        </p:spPr>
        <p:txBody>
          <a:bodyPr wrap="square">
            <a:spAutoFit/>
          </a:bodyPr>
          <a:lstStyle/>
          <a:p>
            <a:r>
              <a:rPr lang="en-US" sz="1400" dirty="0"/>
              <a:t>L1</a:t>
            </a:r>
          </a:p>
        </p:txBody>
      </p:sp>
      <p:sp>
        <p:nvSpPr>
          <p:cNvPr id="35" name="TextBox 34">
            <a:extLst>
              <a:ext uri="{FF2B5EF4-FFF2-40B4-BE49-F238E27FC236}">
                <a16:creationId xmlns:a16="http://schemas.microsoft.com/office/drawing/2014/main" id="{0491D05E-FD3C-3183-BC70-405194B9EE30}"/>
              </a:ext>
            </a:extLst>
          </p:cNvPr>
          <p:cNvSpPr txBox="1"/>
          <p:nvPr/>
        </p:nvSpPr>
        <p:spPr>
          <a:xfrm>
            <a:off x="5789026" y="3275111"/>
            <a:ext cx="422787" cy="307777"/>
          </a:xfrm>
          <a:prstGeom prst="rect">
            <a:avLst/>
          </a:prstGeom>
          <a:noFill/>
        </p:spPr>
        <p:txBody>
          <a:bodyPr wrap="square">
            <a:spAutoFit/>
          </a:bodyPr>
          <a:lstStyle/>
          <a:p>
            <a:r>
              <a:rPr lang="en-US" sz="1400" dirty="0"/>
              <a:t>L2</a:t>
            </a:r>
          </a:p>
        </p:txBody>
      </p:sp>
      <p:sp>
        <p:nvSpPr>
          <p:cNvPr id="36" name="TextBox 35">
            <a:extLst>
              <a:ext uri="{FF2B5EF4-FFF2-40B4-BE49-F238E27FC236}">
                <a16:creationId xmlns:a16="http://schemas.microsoft.com/office/drawing/2014/main" id="{8636ABD6-23F3-E50C-3FF6-795185BAC07C}"/>
              </a:ext>
            </a:extLst>
          </p:cNvPr>
          <p:cNvSpPr txBox="1"/>
          <p:nvPr/>
        </p:nvSpPr>
        <p:spPr>
          <a:xfrm>
            <a:off x="5789026" y="2962362"/>
            <a:ext cx="422787" cy="307777"/>
          </a:xfrm>
          <a:prstGeom prst="rect">
            <a:avLst/>
          </a:prstGeom>
          <a:noFill/>
        </p:spPr>
        <p:txBody>
          <a:bodyPr wrap="square">
            <a:spAutoFit/>
          </a:bodyPr>
          <a:lstStyle/>
          <a:p>
            <a:r>
              <a:rPr lang="en-US" sz="1400" dirty="0"/>
              <a:t>L3</a:t>
            </a:r>
          </a:p>
        </p:txBody>
      </p:sp>
      <p:sp>
        <p:nvSpPr>
          <p:cNvPr id="37" name="TextBox 36">
            <a:extLst>
              <a:ext uri="{FF2B5EF4-FFF2-40B4-BE49-F238E27FC236}">
                <a16:creationId xmlns:a16="http://schemas.microsoft.com/office/drawing/2014/main" id="{73C81822-B449-93DF-12BC-6A3395440CC9}"/>
              </a:ext>
            </a:extLst>
          </p:cNvPr>
          <p:cNvSpPr txBox="1"/>
          <p:nvPr/>
        </p:nvSpPr>
        <p:spPr>
          <a:xfrm>
            <a:off x="5789026" y="2649613"/>
            <a:ext cx="422787" cy="307777"/>
          </a:xfrm>
          <a:prstGeom prst="rect">
            <a:avLst/>
          </a:prstGeom>
          <a:noFill/>
        </p:spPr>
        <p:txBody>
          <a:bodyPr wrap="square">
            <a:spAutoFit/>
          </a:bodyPr>
          <a:lstStyle/>
          <a:p>
            <a:r>
              <a:rPr lang="en-US" sz="1400" dirty="0"/>
              <a:t>L4</a:t>
            </a:r>
          </a:p>
        </p:txBody>
      </p:sp>
    </p:spTree>
    <p:extLst>
      <p:ext uri="{BB962C8B-B14F-4D97-AF65-F5344CB8AC3E}">
        <p14:creationId xmlns:p14="http://schemas.microsoft.com/office/powerpoint/2010/main" val="217524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B4ED8-3441-5C94-E8FD-B9DF2D6C0F79}"/>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047DA58-16B0-421C-FC7C-3321E013274D}"/>
              </a:ext>
            </a:extLst>
          </p:cNvPr>
          <p:cNvGraphicFramePr>
            <a:graphicFrameLocks noGrp="1"/>
          </p:cNvGraphicFramePr>
          <p:nvPr>
            <p:extLst>
              <p:ext uri="{D42A27DB-BD31-4B8C-83A1-F6EECF244321}">
                <p14:modId xmlns:p14="http://schemas.microsoft.com/office/powerpoint/2010/main" val="3378201275"/>
              </p:ext>
            </p:extLst>
          </p:nvPr>
        </p:nvGraphicFramePr>
        <p:xfrm>
          <a:off x="349707" y="589040"/>
          <a:ext cx="11492586" cy="5797550"/>
        </p:xfrm>
        <a:graphic>
          <a:graphicData uri="http://schemas.openxmlformats.org/drawingml/2006/table">
            <a:tbl>
              <a:tblPr firstRow="1">
                <a:tableStyleId>{5C22544A-7EE6-4342-B048-85BDC9FD1C3A}</a:tableStyleId>
              </a:tblPr>
              <a:tblGrid>
                <a:gridCol w="474017">
                  <a:extLst>
                    <a:ext uri="{9D8B030D-6E8A-4147-A177-3AD203B41FA5}">
                      <a16:colId xmlns:a16="http://schemas.microsoft.com/office/drawing/2014/main" val="3230312529"/>
                    </a:ext>
                  </a:extLst>
                </a:gridCol>
                <a:gridCol w="4115824">
                  <a:extLst>
                    <a:ext uri="{9D8B030D-6E8A-4147-A177-3AD203B41FA5}">
                      <a16:colId xmlns:a16="http://schemas.microsoft.com/office/drawing/2014/main" val="4242022831"/>
                    </a:ext>
                  </a:extLst>
                </a:gridCol>
                <a:gridCol w="1112306">
                  <a:extLst>
                    <a:ext uri="{9D8B030D-6E8A-4147-A177-3AD203B41FA5}">
                      <a16:colId xmlns:a16="http://schemas.microsoft.com/office/drawing/2014/main" val="3573639132"/>
                    </a:ext>
                  </a:extLst>
                </a:gridCol>
                <a:gridCol w="1093313">
                  <a:extLst>
                    <a:ext uri="{9D8B030D-6E8A-4147-A177-3AD203B41FA5}">
                      <a16:colId xmlns:a16="http://schemas.microsoft.com/office/drawing/2014/main" val="3141881764"/>
                    </a:ext>
                  </a:extLst>
                </a:gridCol>
                <a:gridCol w="1193533">
                  <a:extLst>
                    <a:ext uri="{9D8B030D-6E8A-4147-A177-3AD203B41FA5}">
                      <a16:colId xmlns:a16="http://schemas.microsoft.com/office/drawing/2014/main" val="4251925164"/>
                    </a:ext>
                  </a:extLst>
                </a:gridCol>
                <a:gridCol w="1049153">
                  <a:extLst>
                    <a:ext uri="{9D8B030D-6E8A-4147-A177-3AD203B41FA5}">
                      <a16:colId xmlns:a16="http://schemas.microsoft.com/office/drawing/2014/main" val="1037620644"/>
                    </a:ext>
                  </a:extLst>
                </a:gridCol>
                <a:gridCol w="1431392">
                  <a:extLst>
                    <a:ext uri="{9D8B030D-6E8A-4147-A177-3AD203B41FA5}">
                      <a16:colId xmlns:a16="http://schemas.microsoft.com/office/drawing/2014/main" val="3478700276"/>
                    </a:ext>
                  </a:extLst>
                </a:gridCol>
                <a:gridCol w="1023048">
                  <a:extLst>
                    <a:ext uri="{9D8B030D-6E8A-4147-A177-3AD203B41FA5}">
                      <a16:colId xmlns:a16="http://schemas.microsoft.com/office/drawing/2014/main" val="4111026973"/>
                    </a:ext>
                  </a:extLst>
                </a:gridCol>
              </a:tblGrid>
              <a:tr h="252144">
                <a:tc>
                  <a:txBody>
                    <a:bodyPr/>
                    <a:lstStyle/>
                    <a:p>
                      <a:pPr algn="r"/>
                      <a:endParaRPr lang="en-IN" sz="1100" dirty="0">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r"/>
                      <a:r>
                        <a:rPr lang="en-US" sz="1100" dirty="0">
                          <a:latin typeface="+mj-lt"/>
                          <a:ea typeface="Calibri" panose="020F0502020204030204" pitchFamily="34" charset="0"/>
                          <a:cs typeface="Calibri" panose="020F0502020204030204" pitchFamily="34" charset="0"/>
                        </a:rPr>
                        <a:t>GW Scenarios →</a:t>
                      </a:r>
                      <a:endParaRPr lang="en-IN" sz="1100" dirty="0">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Transition to</a:t>
                      </a:r>
                      <a:b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b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Guidewire Cloud</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GW Upgrade &amp;</a:t>
                      </a:r>
                      <a:b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b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Support</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Database Upgrade &amp; Migration</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Maintenance</a:t>
                      </a:r>
                      <a:b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b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Release</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New Implementation &amp; Optimization</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Guidewire</a:t>
                      </a:r>
                      <a:b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br>
                      <a:r>
                        <a:rPr kumimoji="0" lang="en-US" sz="1100" b="1" i="0" u="none" strike="noStrike" kern="1200" cap="none" spc="0" normalizeH="0" baseline="0" noProof="0" dirty="0">
                          <a:ln>
                            <a:noFill/>
                          </a:ln>
                          <a:solidFill>
                            <a:prstClr val="white"/>
                          </a:solidFill>
                          <a:effectLst/>
                          <a:uLnTx/>
                          <a:uFillTx/>
                          <a:latin typeface="+mj-lt"/>
                          <a:ea typeface="Calibri" panose="020F0502020204030204" pitchFamily="34" charset="0"/>
                          <a:cs typeface="Calibri" panose="020F0502020204030204" pitchFamily="34" charset="0"/>
                        </a:rPr>
                        <a:t>Digital</a:t>
                      </a:r>
                      <a:endParaRPr kumimoji="0" lang="en-IN" sz="1100" b="0" i="0" u="none" strike="noStrike" kern="1200" cap="none" spc="0" normalizeH="0" baseline="0" noProof="0" dirty="0">
                        <a:ln>
                          <a:noFill/>
                        </a:ln>
                        <a:solidFill>
                          <a:prstClr val="black"/>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276636511"/>
                  </a:ext>
                </a:extLst>
              </a:tr>
              <a:tr h="252144">
                <a:tc>
                  <a:txBody>
                    <a:bodyPr/>
                    <a:lstStyle/>
                    <a:p>
                      <a:pPr algn="ctr"/>
                      <a:r>
                        <a:rPr lang="en-US" sz="1100" b="1" dirty="0">
                          <a:solidFill>
                            <a:schemeClr val="bg1"/>
                          </a:solidFill>
                          <a:latin typeface="+mj-lt"/>
                          <a:ea typeface="Calibri" panose="020F0502020204030204" pitchFamily="34" charset="0"/>
                          <a:cs typeface="Calibri" panose="020F0502020204030204" pitchFamily="34" charset="0"/>
                        </a:rPr>
                        <a:t>S. No.</a:t>
                      </a:r>
                      <a:endParaRPr lang="en-IN" sz="1100" b="1" dirty="0">
                        <a:solidFill>
                          <a:schemeClr val="bg1"/>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a:txBody>
                    <a:bodyPr/>
                    <a:lstStyle/>
                    <a:p>
                      <a:pPr algn="l"/>
                      <a:r>
                        <a:rPr lang="en-US" sz="1100" b="1" dirty="0">
                          <a:solidFill>
                            <a:schemeClr val="bg1"/>
                          </a:solidFill>
                          <a:latin typeface="+mj-lt"/>
                          <a:ea typeface="Calibri" panose="020F0502020204030204" pitchFamily="34" charset="0"/>
                          <a:cs typeface="Calibri" panose="020F0502020204030204" pitchFamily="34" charset="0"/>
                        </a:rPr>
                        <a:t>QA Services ↓</a:t>
                      </a:r>
                      <a:endParaRPr lang="en-IN" sz="1100" b="1" dirty="0">
                        <a:solidFill>
                          <a:schemeClr val="bg1"/>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tx1">
                        <a:lumMod val="75000"/>
                        <a:lumOff val="25000"/>
                      </a:schemeClr>
                    </a:solidFill>
                  </a:tcPr>
                </a:tc>
                <a:tc vMerge="1">
                  <a:txBody>
                    <a:bodyPr/>
                    <a:lstStyle/>
                    <a:p>
                      <a:endParaRPr lang="en-IN" dirty="0"/>
                    </a:p>
                  </a:txBody>
                  <a:tcPr/>
                </a:tc>
                <a:tc vMerge="1">
                  <a:txBody>
                    <a:bodyPr/>
                    <a:lstStyle/>
                    <a:p>
                      <a:endParaRPr lang="en-IN" dirty="0"/>
                    </a:p>
                  </a:txBody>
                  <a:tcPr/>
                </a:tc>
                <a:tc vMerge="1">
                  <a:txBody>
                    <a:bodyPr/>
                    <a:lstStyle/>
                    <a:p>
                      <a:endParaRPr lang="en-IN" dirty="0"/>
                    </a:p>
                  </a:txBody>
                  <a:tcPr/>
                </a:tc>
                <a:tc vMerge="1">
                  <a:txBody>
                    <a:bodyPr/>
                    <a:lstStyle/>
                    <a:p>
                      <a:endParaRPr lang="en-IN" dirty="0"/>
                    </a:p>
                  </a:txBody>
                  <a:tcPr/>
                </a:tc>
                <a:tc vMerge="1">
                  <a:txBody>
                    <a:bodyPr/>
                    <a:lstStyle/>
                    <a:p>
                      <a:endParaRPr lang="en-IN" dirty="0"/>
                    </a:p>
                  </a:txBody>
                  <a:tcPr/>
                </a:tc>
                <a:tc vMerge="1">
                  <a:txBody>
                    <a:bodyPr/>
                    <a:lstStyle/>
                    <a:p>
                      <a:endParaRPr lang="en-IN" dirty="0"/>
                    </a:p>
                  </a:txBody>
                  <a:tcPr/>
                </a:tc>
                <a:extLst>
                  <a:ext uri="{0D108BD9-81ED-4DB2-BD59-A6C34878D82A}">
                    <a16:rowId xmlns:a16="http://schemas.microsoft.com/office/drawing/2014/main" val="4157868674"/>
                  </a:ext>
                </a:extLst>
              </a:tr>
              <a:tr h="266976">
                <a:tc gridSpan="2">
                  <a:txBody>
                    <a:bodyPr/>
                    <a:lstStyle/>
                    <a:p>
                      <a:pPr algn="l"/>
                      <a:r>
                        <a:rPr lang="en-IN" sz="1200" b="1" dirty="0">
                          <a:solidFill>
                            <a:schemeClr val="bg1"/>
                          </a:solidFill>
                          <a:latin typeface="+mj-lt"/>
                          <a:ea typeface="Calibri" panose="020F0502020204030204" pitchFamily="34" charset="0"/>
                          <a:cs typeface="Calibri" panose="020F0502020204030204" pitchFamily="34" charset="0"/>
                        </a:rPr>
                        <a:t>QA Advisory &amp; Governance</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endParaRPr lang="en-IN" sz="1100" b="0" dirty="0">
                        <a:solidFill>
                          <a:schemeClr val="tx1">
                            <a:lumMod val="50000"/>
                          </a:schemeClr>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4984564"/>
                  </a:ext>
                </a:extLst>
              </a:tr>
              <a:tr h="252144">
                <a:tc>
                  <a:txBody>
                    <a:bodyPr/>
                    <a:lstStyle/>
                    <a:p>
                      <a:pPr algn="ctr"/>
                      <a:r>
                        <a:rPr lang="en-US" sz="1100" b="0" dirty="0">
                          <a:solidFill>
                            <a:schemeClr val="tx1">
                              <a:lumMod val="50000"/>
                            </a:schemeClr>
                          </a:solidFill>
                          <a:latin typeface="+mj-lt"/>
                          <a:ea typeface="Calibri" panose="020F0502020204030204" pitchFamily="34" charset="0"/>
                          <a:cs typeface="Calibri" panose="020F0502020204030204" pitchFamily="34" charset="0"/>
                        </a:rPr>
                        <a:t>1</a:t>
                      </a:r>
                      <a:endParaRPr lang="en-IN" sz="1100" b="0" dirty="0">
                        <a:solidFill>
                          <a:schemeClr val="tx1">
                            <a:lumMod val="50000"/>
                          </a:schemeClr>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100" b="0" dirty="0">
                          <a:solidFill>
                            <a:schemeClr val="tx1">
                              <a:lumMod val="50000"/>
                            </a:schemeClr>
                          </a:solidFill>
                          <a:latin typeface="+mj-lt"/>
                          <a:ea typeface="Calibri" panose="020F0502020204030204" pitchFamily="34" charset="0"/>
                          <a:cs typeface="Calibri" panose="020F0502020204030204" pitchFamily="34" charset="0"/>
                        </a:rPr>
                        <a:t>QA Advisory, Consulting &amp; Strategy</a:t>
                      </a:r>
                      <a:endParaRPr lang="en-IN" sz="1100" b="0" dirty="0">
                        <a:solidFill>
                          <a:schemeClr val="tx1">
                            <a:lumMod val="50000"/>
                          </a:schemeClr>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2869148"/>
                  </a:ext>
                </a:extLst>
              </a:tr>
              <a:tr h="26697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mj-lt"/>
                          <a:ea typeface="Calibri" panose="020F0502020204030204" pitchFamily="34" charset="0"/>
                          <a:cs typeface="Calibri" panose="020F0502020204030204" pitchFamily="34" charset="0"/>
                        </a:rPr>
                        <a:t>Core Testing Services</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4044899"/>
                  </a:ext>
                </a:extLst>
              </a:tr>
              <a:tr h="4152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2</a:t>
                      </a:r>
                      <a:endPar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t">
                        <a:buNone/>
                      </a:pPr>
                      <a:r>
                        <a:rPr lang="en-US" sz="1100" u="none" strike="noStrike" dirty="0">
                          <a:effectLst/>
                        </a:rPr>
                        <a:t>Functional Testing (GW), Rate Testing, End to End Testing [Involving 3</a:t>
                      </a:r>
                      <a:r>
                        <a:rPr lang="en-US" sz="1100" u="none" strike="noStrike" baseline="30000" dirty="0">
                          <a:effectLst/>
                        </a:rPr>
                        <a:t>rd</a:t>
                      </a:r>
                      <a:r>
                        <a:rPr lang="en-US" sz="1100" u="none" strike="noStrike" dirty="0">
                          <a:effectLst/>
                        </a:rPr>
                        <a:t> Party Apps – Business Process Level] </a:t>
                      </a:r>
                      <a:endParaRPr lang="en-US" sz="1100" b="0" i="0" u="none" strike="noStrike" dirty="0">
                        <a:solidFill>
                          <a:srgbClr val="000000"/>
                        </a:solidFill>
                        <a:effectLst/>
                        <a:latin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9523357"/>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3</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u="none" strike="noStrike" dirty="0">
                          <a:effectLst/>
                        </a:rPr>
                        <a:t>Business Acceptance Testing</a:t>
                      </a:r>
                      <a:endParaRPr lang="en-US" sz="1100"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8711576"/>
                  </a:ext>
                </a:extLst>
              </a:tr>
              <a:tr h="266976">
                <a:tc gridSpan="2">
                  <a:txBody>
                    <a:bodyPr/>
                    <a:lstStyle/>
                    <a:p>
                      <a:pPr algn="l"/>
                      <a:r>
                        <a:rPr lang="en-IN" sz="1200" b="1" dirty="0">
                          <a:solidFill>
                            <a:schemeClr val="bg1"/>
                          </a:solidFill>
                          <a:latin typeface="+mj-lt"/>
                          <a:ea typeface="Calibri" panose="020F0502020204030204" pitchFamily="34" charset="0"/>
                          <a:cs typeface="Calibri" panose="020F0502020204030204" pitchFamily="34" charset="0"/>
                        </a:rPr>
                        <a:t>Automation Testing</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endParaRPr lang="en-IN" sz="1100" b="0" dirty="0">
                        <a:solidFill>
                          <a:schemeClr val="tx1">
                            <a:lumMod val="50000"/>
                          </a:schemeClr>
                        </a:solidFill>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7598533"/>
                  </a:ext>
                </a:extLst>
              </a:tr>
              <a:tr h="252144">
                <a:tc>
                  <a:txBody>
                    <a:bodyPr/>
                    <a:lstStyle/>
                    <a:p>
                      <a:pPr algn="ctr"/>
                      <a:r>
                        <a:rPr lang="en-IN" sz="1100" b="0" dirty="0">
                          <a:solidFill>
                            <a:schemeClr val="tx1">
                              <a:lumMod val="50000"/>
                            </a:schemeClr>
                          </a:solidFill>
                          <a:latin typeface="+mj-lt"/>
                          <a:ea typeface="Calibri" panose="020F0502020204030204" pitchFamily="34" charset="0"/>
                          <a:cs typeface="Calibri" panose="020F0502020204030204" pitchFamily="34" charset="0"/>
                        </a:rPr>
                        <a:t>4</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t">
                        <a:buNone/>
                      </a:pPr>
                      <a:r>
                        <a:rPr lang="en-US" sz="1100" u="none" strike="noStrike" dirty="0">
                          <a:effectLst/>
                        </a:rPr>
                        <a:t>Selenium &amp; UFT, Guidewire framework, Continuous Testing </a:t>
                      </a:r>
                      <a:endParaRPr lang="en-US" sz="1100" b="0" i="0" u="none" strike="noStrike" dirty="0">
                        <a:solidFill>
                          <a:srgbClr val="000000"/>
                        </a:solidFill>
                        <a:effectLst/>
                        <a:latin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3370146"/>
                  </a:ext>
                </a:extLst>
              </a:tr>
              <a:tr h="266976">
                <a:tc gridSpan="2">
                  <a:txBody>
                    <a:bodyPr/>
                    <a:lstStyle/>
                    <a:p>
                      <a:pPr algn="l"/>
                      <a:r>
                        <a:rPr lang="en-IN" sz="1200" b="1" dirty="0">
                          <a:solidFill>
                            <a:schemeClr val="bg1"/>
                          </a:solidFill>
                          <a:latin typeface="+mj-lt"/>
                          <a:ea typeface="Calibri" panose="020F0502020204030204" pitchFamily="34" charset="0"/>
                          <a:cs typeface="Calibri" panose="020F0502020204030204" pitchFamily="34" charset="0"/>
                        </a:rPr>
                        <a:t>API &amp; Integration Testing</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endParaRPr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rtl="0" fontAlgn="ctr">
                        <a:buNone/>
                      </a:pPr>
                      <a:r>
                        <a:rPr lang="en-US" sz="1400" b="0" u="none" strike="noStrike" dirty="0">
                          <a:effectLst/>
                          <a:latin typeface="+mj-lt"/>
                        </a:rPr>
                        <a:t> </a:t>
                      </a:r>
                      <a:endParaRPr lang="en-US" sz="1400" b="0" i="0" u="none" strike="noStrike" dirty="0">
                        <a:solidFill>
                          <a:srgbClr val="C00000"/>
                        </a:solidFill>
                        <a:effectLst/>
                        <a:latin typeface="+mj-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8940727"/>
                  </a:ext>
                </a:extLst>
              </a:tr>
              <a:tr h="252144">
                <a:tc>
                  <a:txBody>
                    <a:bodyPr/>
                    <a:lstStyle/>
                    <a:p>
                      <a:pPr algn="ctr"/>
                      <a:r>
                        <a:rPr lang="en-IN" sz="1100" b="0" dirty="0">
                          <a:solidFill>
                            <a:schemeClr val="tx1">
                              <a:lumMod val="50000"/>
                            </a:schemeClr>
                          </a:solidFill>
                          <a:latin typeface="+mj-lt"/>
                          <a:ea typeface="Calibri" panose="020F0502020204030204" pitchFamily="34" charset="0"/>
                          <a:cs typeface="Calibri" panose="020F0502020204030204" pitchFamily="34" charset="0"/>
                        </a:rPr>
                        <a:t>5</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API &amp; Microservices Testing  </a:t>
                      </a:r>
                      <a:endParaRPr lang="en-US" sz="1100"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589801360"/>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6</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Service Virtualization</a:t>
                      </a:r>
                      <a:endParaRPr lang="en-US" sz="1100"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6617264"/>
                  </a:ext>
                </a:extLst>
              </a:tr>
              <a:tr h="26697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Multi-Channel &amp; User Experience Testing</a:t>
                      </a:r>
                      <a:endParaRPr lang="en-US" sz="1200" b="1" i="0" u="none" strike="noStrike" dirty="0">
                        <a:solidFill>
                          <a:schemeClr val="bg1"/>
                        </a:solidFill>
                        <a:effectLst/>
                        <a:latin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0733991"/>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7</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u="none" strike="noStrike" dirty="0">
                          <a:effectLst/>
                        </a:rPr>
                        <a:t>Multi Channel Testing, Cross Browser Testing</a:t>
                      </a:r>
                      <a:endParaRPr lang="en-US" sz="1100"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n-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n-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8931124"/>
                  </a:ext>
                </a:extLst>
              </a:tr>
              <a:tr h="26697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Data &amp; Migration Testing Services</a:t>
                      </a:r>
                      <a:endParaRPr lang="en-US" sz="1200" b="1" i="0" u="none" strike="noStrike" dirty="0">
                        <a:solidFill>
                          <a:schemeClr val="bg1"/>
                        </a:solidFill>
                        <a:effectLst/>
                        <a:latin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endParaRPr dirty="0"/>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43494362"/>
                  </a:ext>
                </a:extLst>
              </a:tr>
              <a:tr h="3324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8</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Data Centric Testing [ETL/Data Migration], </a:t>
                      </a:r>
                      <a:br>
                        <a:rPr lang="en-US" sz="1100" u="none" strike="noStrike" dirty="0">
                          <a:effectLst/>
                        </a:rPr>
                      </a:br>
                      <a:r>
                        <a:rPr lang="en-US" sz="1100" u="none" strike="noStrike" dirty="0">
                          <a:effectLst/>
                        </a:rPr>
                        <a:t>Time Travel Testing</a:t>
                      </a:r>
                      <a:endParaRPr lang="en-US" sz="1100"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6353330"/>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9</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Test Data Management</a:t>
                      </a:r>
                      <a:endParaRPr lang="en-US" sz="1100"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1307085"/>
                  </a:ext>
                </a:extLst>
              </a:tr>
              <a:tr h="26697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Non-Functional Testing (NFT)</a:t>
                      </a:r>
                      <a:endParaRPr lang="en-US" sz="1200" b="1" i="0" u="none" strike="noStrike" dirty="0">
                        <a:solidFill>
                          <a:schemeClr val="bg1"/>
                        </a:solidFill>
                        <a:effectLst/>
                        <a:latin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0000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endParaRP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0351318"/>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10</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Performance Testing </a:t>
                      </a:r>
                      <a:endParaRPr lang="en-US" sz="1100"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IN" sz="1400" b="0" kern="1200" dirty="0">
                        <a:solidFill>
                          <a:schemeClr val="accent1"/>
                        </a:solidFill>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9606332"/>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11</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Security Testing</a:t>
                      </a:r>
                      <a:endParaRPr lang="en-US" sz="1100"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sym typeface="Wingdings" panose="05000000000000000000" pitchFamily="2" charset="2"/>
                        </a:rPr>
                        <a:t></a:t>
                      </a:r>
                      <a:endParaRPr kumimoji="0" lang="en-IN" sz="1400" b="0" i="0" u="none" strike="noStrike" kern="1200" cap="none" spc="0" normalizeH="0" baseline="0" noProof="0" dirty="0">
                        <a:ln>
                          <a:noFill/>
                        </a:ln>
                        <a:solidFill>
                          <a:schemeClr val="accent1"/>
                        </a:solidFill>
                        <a:effectLst/>
                        <a:uLnTx/>
                        <a:uFillTx/>
                        <a:latin typeface="+mj-lt"/>
                        <a:ea typeface="Calibri" panose="020F0502020204030204" pitchFamily="34" charset="0"/>
                        <a:cs typeface="Calibri" panose="020F0502020204030204" pitchFamily="34" charset="0"/>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0849268"/>
                  </a:ext>
                </a:extLst>
              </a:tr>
              <a:tr h="252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tx1">
                              <a:lumMod val="50000"/>
                            </a:schemeClr>
                          </a:solidFill>
                          <a:effectLst/>
                          <a:uLnTx/>
                          <a:uFillTx/>
                          <a:latin typeface="+mj-lt"/>
                          <a:ea typeface="Calibri" panose="020F0502020204030204" pitchFamily="34" charset="0"/>
                          <a:cs typeface="Calibri" panose="020F0502020204030204" pitchFamily="34" charset="0"/>
                        </a:rPr>
                        <a:t>12</a:t>
                      </a:r>
                    </a:p>
                  </a:txBody>
                  <a:tcPr marL="45720" marR="4572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lang="en-US" sz="1100" u="none" strike="noStrike" dirty="0">
                          <a:effectLst/>
                        </a:rPr>
                        <a:t>Usability and Accessibility Testing</a:t>
                      </a:r>
                      <a:endParaRPr lang="en-US" sz="1100" dirty="0"/>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0" u="none" strike="noStrike" dirty="0">
                          <a:effectLst/>
                          <a:latin typeface="+mj-lt"/>
                        </a:rPr>
                        <a:t> </a:t>
                      </a:r>
                      <a:endParaRPr lang="en-US" sz="1400" b="0" dirty="0">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buNone/>
                      </a:pPr>
                      <a:r>
                        <a:rPr lang="en-US" sz="1400" b="0" u="none" strike="noStrike" dirty="0">
                          <a:effectLst/>
                          <a:latin typeface="+mj-lt"/>
                        </a:rPr>
                        <a:t> </a:t>
                      </a:r>
                      <a:endParaRPr lang="en-US" sz="1400" b="0" i="0" u="none" strike="noStrike" dirty="0">
                        <a:solidFill>
                          <a:srgbClr val="0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buNone/>
                      </a:pPr>
                      <a:r>
                        <a:rPr lang="en-US" sz="1400" b="0" u="none" strike="noStrike" dirty="0">
                          <a:effectLst/>
                          <a:latin typeface="+mj-lt"/>
                        </a:rPr>
                        <a:t> </a:t>
                      </a:r>
                      <a:r>
                        <a:rPr lang="en-IN" sz="1400" b="0" kern="1200" dirty="0">
                          <a:solidFill>
                            <a:schemeClr val="accent1"/>
                          </a:solidFill>
                          <a:latin typeface="+mj-lt"/>
                          <a:ea typeface="Calibri" panose="020F0502020204030204" pitchFamily="34" charset="0"/>
                          <a:cs typeface="Calibri" panose="020F0502020204030204" pitchFamily="34" charset="0"/>
                          <a:sym typeface="Wingdings" panose="05000000000000000000" pitchFamily="2" charset="2"/>
                        </a:rPr>
                        <a:t></a:t>
                      </a:r>
                      <a:endParaRPr lang="en-US" sz="1400" b="0" i="0" u="none" strike="noStrike" dirty="0">
                        <a:solidFill>
                          <a:srgbClr val="C00000"/>
                        </a:solidFill>
                        <a:effectLst/>
                        <a:latin typeface="+mj-lt"/>
                      </a:endParaRPr>
                    </a:p>
                  </a:txBody>
                  <a:tcPr marL="6350" marR="6350" marT="635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04199222"/>
                  </a:ext>
                </a:extLst>
              </a:tr>
            </a:tbl>
          </a:graphicData>
        </a:graphic>
      </p:graphicFrame>
      <p:sp>
        <p:nvSpPr>
          <p:cNvPr id="4" name="Title 3">
            <a:extLst>
              <a:ext uri="{FF2B5EF4-FFF2-40B4-BE49-F238E27FC236}">
                <a16:creationId xmlns:a16="http://schemas.microsoft.com/office/drawing/2014/main" id="{8A0AA740-C14E-83D5-4D3F-4A70D4C1B078}"/>
              </a:ext>
            </a:extLst>
          </p:cNvPr>
          <p:cNvSpPr>
            <a:spLocks noGrp="1"/>
          </p:cNvSpPr>
          <p:nvPr>
            <p:ph type="title"/>
          </p:nvPr>
        </p:nvSpPr>
        <p:spPr>
          <a:xfrm>
            <a:off x="320210" y="265041"/>
            <a:ext cx="11738509" cy="647998"/>
          </a:xfrm>
        </p:spPr>
        <p:txBody>
          <a:bodyPr tIns="0" bIns="0" anchor="t" anchorCtr="0">
            <a:normAutofit/>
          </a:bodyPr>
          <a:lstStyle/>
          <a:p>
            <a:r>
              <a:rPr lang="en-US" dirty="0"/>
              <a:t>QA Enablement Across the Guidewire Lifecycle</a:t>
            </a:r>
            <a:endParaRPr lang="en-IN" dirty="0"/>
          </a:p>
        </p:txBody>
      </p:sp>
    </p:spTree>
    <p:extLst>
      <p:ext uri="{BB962C8B-B14F-4D97-AF65-F5344CB8AC3E}">
        <p14:creationId xmlns:p14="http://schemas.microsoft.com/office/powerpoint/2010/main" val="260153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DA7B5-308C-B135-1C35-E8B66AF86A68}"/>
            </a:ext>
          </a:extLst>
        </p:cNvPr>
        <p:cNvGrpSpPr/>
        <p:nvPr/>
      </p:nvGrpSpPr>
      <p:grpSpPr>
        <a:xfrm>
          <a:off x="0" y="0"/>
          <a:ext cx="0" cy="0"/>
          <a:chOff x="0" y="0"/>
          <a:chExt cx="0" cy="0"/>
        </a:xfrm>
      </p:grpSpPr>
      <p:sp>
        <p:nvSpPr>
          <p:cNvPr id="70" name="TextBox 69">
            <a:extLst>
              <a:ext uri="{FF2B5EF4-FFF2-40B4-BE49-F238E27FC236}">
                <a16:creationId xmlns:a16="http://schemas.microsoft.com/office/drawing/2014/main" id="{A037FF88-1DF0-8A8C-4319-757881A45050}"/>
              </a:ext>
            </a:extLst>
          </p:cNvPr>
          <p:cNvSpPr txBox="1"/>
          <p:nvPr/>
        </p:nvSpPr>
        <p:spPr>
          <a:xfrm>
            <a:off x="1008069" y="6133676"/>
            <a:ext cx="5113579" cy="153888"/>
          </a:xfrm>
          <a:prstGeom prst="rect">
            <a:avLst/>
          </a:prstGeom>
          <a:noFill/>
        </p:spPr>
        <p:txBody>
          <a:bodyPr wrap="none" lIns="0" tIns="0" rIns="0" bIns="0" rtlCol="0">
            <a:spAutoFit/>
          </a:bodyPr>
          <a:lstStyle/>
          <a:p>
            <a:r>
              <a:rPr lang="en-US" sz="1000" b="1" dirty="0">
                <a:latin typeface="+mj-lt"/>
              </a:rPr>
              <a:t>2230 Reusable Test Scripts available across P&amp;C Lines of Business, covering major functionalities</a:t>
            </a:r>
          </a:p>
        </p:txBody>
      </p:sp>
      <p:sp>
        <p:nvSpPr>
          <p:cNvPr id="71" name="Title 5">
            <a:extLst>
              <a:ext uri="{FF2B5EF4-FFF2-40B4-BE49-F238E27FC236}">
                <a16:creationId xmlns:a16="http://schemas.microsoft.com/office/drawing/2014/main" id="{DF714ECE-E579-1CFB-6E65-843F96196F5F}"/>
              </a:ext>
            </a:extLst>
          </p:cNvPr>
          <p:cNvSpPr txBox="1">
            <a:spLocks/>
          </p:cNvSpPr>
          <p:nvPr/>
        </p:nvSpPr>
        <p:spPr>
          <a:xfrm>
            <a:off x="351182" y="246436"/>
            <a:ext cx="11738510" cy="648000"/>
          </a:xfrm>
          <a:prstGeom prst="rect">
            <a:avLst/>
          </a:prstGeom>
        </p:spPr>
        <p:txBody>
          <a:bodyPr tIns="0" bIns="0" anchor="t" anchorCtr="0">
            <a:normAutofit/>
          </a:bodyPr>
          <a:lstStyle>
            <a:lvl1pPr defTabSz="914363">
              <a:lnSpc>
                <a:spcPct val="90000"/>
              </a:lnSpc>
              <a:spcBef>
                <a:spcPct val="0"/>
              </a:spcBef>
              <a:buNone/>
              <a:defRPr lang="en-IN" sz="2400" b="1" dirty="0">
                <a:solidFill>
                  <a:schemeClr val="tx1">
                    <a:lumMod val="50000"/>
                  </a:schemeClr>
                </a:solidFill>
                <a:latin typeface="+mj-lt"/>
                <a:ea typeface="+mj-ea"/>
                <a:cs typeface="+mj-cs"/>
              </a:defRPr>
            </a:lvl1pPr>
          </a:lstStyle>
          <a:p>
            <a:r>
              <a:rPr lang="en-US" dirty="0"/>
              <a:t>Test Design</a:t>
            </a:r>
          </a:p>
        </p:txBody>
      </p:sp>
      <p:graphicFrame>
        <p:nvGraphicFramePr>
          <p:cNvPr id="11" name="Chart 10">
            <a:extLst>
              <a:ext uri="{FF2B5EF4-FFF2-40B4-BE49-F238E27FC236}">
                <a16:creationId xmlns:a16="http://schemas.microsoft.com/office/drawing/2014/main" id="{258F889A-C85B-456C-3F7B-F38A24FFF4A2}"/>
              </a:ext>
            </a:extLst>
          </p:cNvPr>
          <p:cNvGraphicFramePr>
            <a:graphicFrameLocks/>
          </p:cNvGraphicFramePr>
          <p:nvPr>
            <p:extLst>
              <p:ext uri="{D42A27DB-BD31-4B8C-83A1-F6EECF244321}">
                <p14:modId xmlns:p14="http://schemas.microsoft.com/office/powerpoint/2010/main" val="2982307295"/>
              </p:ext>
            </p:extLst>
          </p:nvPr>
        </p:nvGraphicFramePr>
        <p:xfrm>
          <a:off x="500743" y="685800"/>
          <a:ext cx="10853057"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E79383D7-792E-3728-95A7-3D363088CE7C}"/>
              </a:ext>
            </a:extLst>
          </p:cNvPr>
          <p:cNvGraphicFramePr>
            <a:graphicFrameLocks/>
          </p:cNvGraphicFramePr>
          <p:nvPr>
            <p:extLst>
              <p:ext uri="{D42A27DB-BD31-4B8C-83A1-F6EECF244321}">
                <p14:modId xmlns:p14="http://schemas.microsoft.com/office/powerpoint/2010/main" val="2735755709"/>
              </p:ext>
            </p:extLst>
          </p:nvPr>
        </p:nvGraphicFramePr>
        <p:xfrm>
          <a:off x="456746" y="3679371"/>
          <a:ext cx="10897054" cy="23004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1184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DAE3F-036A-EB2A-BD26-61BC64EC55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5A1268-9ECE-18D0-DB32-3CF8BCF2B685}"/>
              </a:ext>
            </a:extLst>
          </p:cNvPr>
          <p:cNvSpPr>
            <a:spLocks noGrp="1"/>
          </p:cNvSpPr>
          <p:nvPr>
            <p:ph type="title"/>
          </p:nvPr>
        </p:nvSpPr>
        <p:spPr>
          <a:xfrm>
            <a:off x="227067" y="235854"/>
            <a:ext cx="11738510" cy="648000"/>
          </a:xfrm>
        </p:spPr>
        <p:txBody>
          <a:bodyPr/>
          <a:lstStyle/>
          <a:p>
            <a:r>
              <a:rPr lang="en-US" dirty="0"/>
              <a:t>Augmenting GW testing lifecycle using Lynx</a:t>
            </a:r>
          </a:p>
        </p:txBody>
      </p:sp>
      <p:sp>
        <p:nvSpPr>
          <p:cNvPr id="4" name="Rectangle 3">
            <a:extLst>
              <a:ext uri="{FF2B5EF4-FFF2-40B4-BE49-F238E27FC236}">
                <a16:creationId xmlns:a16="http://schemas.microsoft.com/office/drawing/2014/main" id="{8414260A-1C0B-002A-3B81-BA22091911CF}"/>
              </a:ext>
            </a:extLst>
          </p:cNvPr>
          <p:cNvSpPr/>
          <p:nvPr/>
        </p:nvSpPr>
        <p:spPr>
          <a:xfrm>
            <a:off x="8105" y="776144"/>
            <a:ext cx="3241803" cy="5630778"/>
          </a:xfrm>
          <a:prstGeom prst="rect">
            <a:avLst/>
          </a:prstGeom>
          <a:solidFill>
            <a:srgbClr val="C00000">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C4983687-6C3C-3E63-2C89-8348D08057A4}"/>
              </a:ext>
            </a:extLst>
          </p:cNvPr>
          <p:cNvSpPr txBox="1"/>
          <p:nvPr/>
        </p:nvSpPr>
        <p:spPr>
          <a:xfrm>
            <a:off x="206960" y="2374642"/>
            <a:ext cx="2035629"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prstClr val="white"/>
                </a:solidFill>
                <a:effectLst/>
                <a:uLnTx/>
                <a:uFillTx/>
                <a:latin typeface="Aptos Display" panose="02110004020202020204"/>
                <a:ea typeface="+mn-ea"/>
                <a:cs typeface="+mn-cs"/>
              </a:rPr>
              <a:t>AI-driven Approach to Quality across Lifecycle</a:t>
            </a:r>
          </a:p>
        </p:txBody>
      </p:sp>
      <p:sp>
        <p:nvSpPr>
          <p:cNvPr id="12" name="TextBox 11">
            <a:extLst>
              <a:ext uri="{FF2B5EF4-FFF2-40B4-BE49-F238E27FC236}">
                <a16:creationId xmlns:a16="http://schemas.microsoft.com/office/drawing/2014/main" id="{2CBFD24E-0548-1BF7-A045-0156BA99436B}"/>
              </a:ext>
            </a:extLst>
          </p:cNvPr>
          <p:cNvSpPr txBox="1"/>
          <p:nvPr/>
        </p:nvSpPr>
        <p:spPr>
          <a:xfrm rot="1380291">
            <a:off x="4878172" y="5111865"/>
            <a:ext cx="1789905" cy="605966"/>
          </a:xfrm>
          <a:prstGeom prst="rect">
            <a:avLst/>
          </a:prstGeom>
          <a:noFill/>
        </p:spPr>
        <p:txBody>
          <a:bodyPr wrap="none" rtlCol="0">
            <a:prstTxWarp prst="textArchDown">
              <a:avLst>
                <a:gd name="adj" fmla="val 2719387"/>
              </a:avLst>
            </a:prstTxWarp>
            <a:spAutoFit/>
          </a:bodyPr>
          <a:lstStyle/>
          <a:p>
            <a:pPr algn="ctr" defTabSz="1218987">
              <a:defRPr/>
            </a:pPr>
            <a:r>
              <a:rPr lang="en-IN" sz="1400" b="1" kern="0" dirty="0">
                <a:solidFill>
                  <a:prstClr val="black">
                    <a:lumMod val="75000"/>
                    <a:lumOff val="25000"/>
                  </a:prstClr>
                </a:solidFill>
                <a:ea typeface="Open Sans" panose="020B0606030504020204" pitchFamily="34" charset="0"/>
                <a:cs typeface="Open Sans" panose="020B0606030504020204" pitchFamily="34" charset="0"/>
              </a:rPr>
              <a:t>Defect Prediction</a:t>
            </a:r>
          </a:p>
          <a:p>
            <a:pPr algn="ctr" defTabSz="1218987">
              <a:defRPr/>
            </a:pPr>
            <a:r>
              <a:rPr lang="en-IN" sz="1400" b="1" kern="0" dirty="0">
                <a:solidFill>
                  <a:prstClr val="black">
                    <a:lumMod val="75000"/>
                    <a:lumOff val="25000"/>
                  </a:prstClr>
                </a:solidFill>
                <a:ea typeface="Open Sans" panose="020B0606030504020204" pitchFamily="34" charset="0"/>
                <a:cs typeface="Open Sans" panose="020B0606030504020204" pitchFamily="34" charset="0"/>
              </a:rPr>
              <a:t> &amp; Prevention</a:t>
            </a:r>
          </a:p>
        </p:txBody>
      </p:sp>
      <p:sp>
        <p:nvSpPr>
          <p:cNvPr id="13" name="Freeform 6">
            <a:extLst>
              <a:ext uri="{FF2B5EF4-FFF2-40B4-BE49-F238E27FC236}">
                <a16:creationId xmlns:a16="http://schemas.microsoft.com/office/drawing/2014/main" id="{360DFEA6-64A1-256A-E916-5A7DF77C52F2}"/>
              </a:ext>
            </a:extLst>
          </p:cNvPr>
          <p:cNvSpPr>
            <a:spLocks/>
          </p:cNvSpPr>
          <p:nvPr/>
        </p:nvSpPr>
        <p:spPr bwMode="auto">
          <a:xfrm>
            <a:off x="6605855" y="1477662"/>
            <a:ext cx="1394775" cy="1150803"/>
          </a:xfrm>
          <a:custGeom>
            <a:avLst/>
            <a:gdLst>
              <a:gd name="T0" fmla="*/ 116 w 1922"/>
              <a:gd name="T1" fmla="*/ 0 h 1642"/>
              <a:gd name="T2" fmla="*/ 169 w 1922"/>
              <a:gd name="T3" fmla="*/ 4 h 1642"/>
              <a:gd name="T4" fmla="*/ 266 w 1922"/>
              <a:gd name="T5" fmla="*/ 13 h 1642"/>
              <a:gd name="T6" fmla="*/ 399 w 1922"/>
              <a:gd name="T7" fmla="*/ 33 h 1642"/>
              <a:gd name="T8" fmla="*/ 563 w 1922"/>
              <a:gd name="T9" fmla="*/ 68 h 1642"/>
              <a:gd name="T10" fmla="*/ 745 w 1922"/>
              <a:gd name="T11" fmla="*/ 119 h 1642"/>
              <a:gd name="T12" fmla="*/ 942 w 1922"/>
              <a:gd name="T13" fmla="*/ 190 h 1642"/>
              <a:gd name="T14" fmla="*/ 1164 w 1922"/>
              <a:gd name="T15" fmla="*/ 294 h 1642"/>
              <a:gd name="T16" fmla="*/ 1373 w 1922"/>
              <a:gd name="T17" fmla="*/ 405 h 1642"/>
              <a:gd name="T18" fmla="*/ 1541 w 1922"/>
              <a:gd name="T19" fmla="*/ 505 h 1642"/>
              <a:gd name="T20" fmla="*/ 1672 w 1922"/>
              <a:gd name="T21" fmla="*/ 592 h 1642"/>
              <a:gd name="T22" fmla="*/ 1767 w 1922"/>
              <a:gd name="T23" fmla="*/ 664 h 1642"/>
              <a:gd name="T24" fmla="*/ 1833 w 1922"/>
              <a:gd name="T25" fmla="*/ 716 h 1642"/>
              <a:gd name="T26" fmla="*/ 1869 w 1922"/>
              <a:gd name="T27" fmla="*/ 751 h 1642"/>
              <a:gd name="T28" fmla="*/ 1880 w 1922"/>
              <a:gd name="T29" fmla="*/ 762 h 1642"/>
              <a:gd name="T30" fmla="*/ 1915 w 1922"/>
              <a:gd name="T31" fmla="*/ 809 h 1642"/>
              <a:gd name="T32" fmla="*/ 1920 w 1922"/>
              <a:gd name="T33" fmla="*/ 849 h 1642"/>
              <a:gd name="T34" fmla="*/ 1898 w 1922"/>
              <a:gd name="T35" fmla="*/ 882 h 1642"/>
              <a:gd name="T36" fmla="*/ 1131 w 1922"/>
              <a:gd name="T37" fmla="*/ 1620 h 1642"/>
              <a:gd name="T38" fmla="*/ 1102 w 1922"/>
              <a:gd name="T39" fmla="*/ 1638 h 1642"/>
              <a:gd name="T40" fmla="*/ 1067 w 1922"/>
              <a:gd name="T41" fmla="*/ 1640 h 1642"/>
              <a:gd name="T42" fmla="*/ 1026 w 1922"/>
              <a:gd name="T43" fmla="*/ 1613 h 1642"/>
              <a:gd name="T44" fmla="*/ 947 w 1922"/>
              <a:gd name="T45" fmla="*/ 1543 h 1642"/>
              <a:gd name="T46" fmla="*/ 891 w 1922"/>
              <a:gd name="T47" fmla="*/ 1500 h 1642"/>
              <a:gd name="T48" fmla="*/ 854 w 1922"/>
              <a:gd name="T49" fmla="*/ 1476 h 1642"/>
              <a:gd name="T50" fmla="*/ 843 w 1922"/>
              <a:gd name="T51" fmla="*/ 1469 h 1642"/>
              <a:gd name="T52" fmla="*/ 794 w 1922"/>
              <a:gd name="T53" fmla="*/ 1449 h 1642"/>
              <a:gd name="T54" fmla="*/ 727 w 1922"/>
              <a:gd name="T55" fmla="*/ 1443 h 1642"/>
              <a:gd name="T56" fmla="*/ 658 w 1922"/>
              <a:gd name="T57" fmla="*/ 1465 h 1642"/>
              <a:gd name="T58" fmla="*/ 499 w 1922"/>
              <a:gd name="T59" fmla="*/ 1560 h 1642"/>
              <a:gd name="T60" fmla="*/ 461 w 1922"/>
              <a:gd name="T61" fmla="*/ 1553 h 1642"/>
              <a:gd name="T62" fmla="*/ 439 w 1922"/>
              <a:gd name="T63" fmla="*/ 1514 h 1642"/>
              <a:gd name="T64" fmla="*/ 392 w 1922"/>
              <a:gd name="T65" fmla="*/ 1290 h 1642"/>
              <a:gd name="T66" fmla="*/ 350 w 1922"/>
              <a:gd name="T67" fmla="*/ 1247 h 1642"/>
              <a:gd name="T68" fmla="*/ 291 w 1922"/>
              <a:gd name="T69" fmla="*/ 1221 h 1642"/>
              <a:gd name="T70" fmla="*/ 224 w 1922"/>
              <a:gd name="T71" fmla="*/ 1206 h 1642"/>
              <a:gd name="T72" fmla="*/ 149 w 1922"/>
              <a:gd name="T73" fmla="*/ 1197 h 1642"/>
              <a:gd name="T74" fmla="*/ 78 w 1922"/>
              <a:gd name="T75" fmla="*/ 1192 h 1642"/>
              <a:gd name="T76" fmla="*/ 33 w 1922"/>
              <a:gd name="T77" fmla="*/ 1175 h 1642"/>
              <a:gd name="T78" fmla="*/ 5 w 1922"/>
              <a:gd name="T79" fmla="*/ 1141 h 1642"/>
              <a:gd name="T80" fmla="*/ 0 w 1922"/>
              <a:gd name="T81" fmla="*/ 70 h 1642"/>
              <a:gd name="T82" fmla="*/ 7 w 1922"/>
              <a:gd name="T83" fmla="*/ 35 h 1642"/>
              <a:gd name="T84" fmla="*/ 31 w 1922"/>
              <a:gd name="T85" fmla="*/ 11 h 1642"/>
              <a:gd name="T86" fmla="*/ 76 w 1922"/>
              <a:gd name="T87" fmla="*/ 0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2" h="1642">
                <a:moveTo>
                  <a:pt x="109" y="0"/>
                </a:moveTo>
                <a:lnTo>
                  <a:pt x="116" y="0"/>
                </a:lnTo>
                <a:lnTo>
                  <a:pt x="136" y="0"/>
                </a:lnTo>
                <a:lnTo>
                  <a:pt x="169" y="4"/>
                </a:lnTo>
                <a:lnTo>
                  <a:pt x="213" y="8"/>
                </a:lnTo>
                <a:lnTo>
                  <a:pt x="266" y="13"/>
                </a:lnTo>
                <a:lnTo>
                  <a:pt x="330" y="22"/>
                </a:lnTo>
                <a:lnTo>
                  <a:pt x="399" y="33"/>
                </a:lnTo>
                <a:lnTo>
                  <a:pt x="477" y="48"/>
                </a:lnTo>
                <a:lnTo>
                  <a:pt x="563" y="68"/>
                </a:lnTo>
                <a:lnTo>
                  <a:pt x="652" y="90"/>
                </a:lnTo>
                <a:lnTo>
                  <a:pt x="745" y="119"/>
                </a:lnTo>
                <a:lnTo>
                  <a:pt x="843" y="152"/>
                </a:lnTo>
                <a:lnTo>
                  <a:pt x="942" y="190"/>
                </a:lnTo>
                <a:lnTo>
                  <a:pt x="1042" y="235"/>
                </a:lnTo>
                <a:lnTo>
                  <a:pt x="1164" y="294"/>
                </a:lnTo>
                <a:lnTo>
                  <a:pt x="1273" y="350"/>
                </a:lnTo>
                <a:lnTo>
                  <a:pt x="1373" y="405"/>
                </a:lnTo>
                <a:lnTo>
                  <a:pt x="1461" y="456"/>
                </a:lnTo>
                <a:lnTo>
                  <a:pt x="1541" y="505"/>
                </a:lnTo>
                <a:lnTo>
                  <a:pt x="1610" y="551"/>
                </a:lnTo>
                <a:lnTo>
                  <a:pt x="1672" y="592"/>
                </a:lnTo>
                <a:lnTo>
                  <a:pt x="1723" y="629"/>
                </a:lnTo>
                <a:lnTo>
                  <a:pt x="1767" y="664"/>
                </a:lnTo>
                <a:lnTo>
                  <a:pt x="1803" y="693"/>
                </a:lnTo>
                <a:lnTo>
                  <a:pt x="1833" y="716"/>
                </a:lnTo>
                <a:lnTo>
                  <a:pt x="1854" y="736"/>
                </a:lnTo>
                <a:lnTo>
                  <a:pt x="1869" y="751"/>
                </a:lnTo>
                <a:lnTo>
                  <a:pt x="1878" y="760"/>
                </a:lnTo>
                <a:lnTo>
                  <a:pt x="1880" y="762"/>
                </a:lnTo>
                <a:lnTo>
                  <a:pt x="1902" y="787"/>
                </a:lnTo>
                <a:lnTo>
                  <a:pt x="1915" y="809"/>
                </a:lnTo>
                <a:lnTo>
                  <a:pt x="1922" y="831"/>
                </a:lnTo>
                <a:lnTo>
                  <a:pt x="1920" y="849"/>
                </a:lnTo>
                <a:lnTo>
                  <a:pt x="1913" y="866"/>
                </a:lnTo>
                <a:lnTo>
                  <a:pt x="1898" y="882"/>
                </a:lnTo>
                <a:lnTo>
                  <a:pt x="1146" y="1607"/>
                </a:lnTo>
                <a:lnTo>
                  <a:pt x="1131" y="1620"/>
                </a:lnTo>
                <a:lnTo>
                  <a:pt x="1117" y="1631"/>
                </a:lnTo>
                <a:lnTo>
                  <a:pt x="1102" y="1638"/>
                </a:lnTo>
                <a:lnTo>
                  <a:pt x="1086" y="1642"/>
                </a:lnTo>
                <a:lnTo>
                  <a:pt x="1067" y="1640"/>
                </a:lnTo>
                <a:lnTo>
                  <a:pt x="1047" y="1631"/>
                </a:lnTo>
                <a:lnTo>
                  <a:pt x="1026" y="1613"/>
                </a:lnTo>
                <a:lnTo>
                  <a:pt x="984" y="1574"/>
                </a:lnTo>
                <a:lnTo>
                  <a:pt x="947" y="1543"/>
                </a:lnTo>
                <a:lnTo>
                  <a:pt x="916" y="1518"/>
                </a:lnTo>
                <a:lnTo>
                  <a:pt x="891" y="1500"/>
                </a:lnTo>
                <a:lnTo>
                  <a:pt x="869" y="1485"/>
                </a:lnTo>
                <a:lnTo>
                  <a:pt x="854" y="1476"/>
                </a:lnTo>
                <a:lnTo>
                  <a:pt x="845" y="1471"/>
                </a:lnTo>
                <a:lnTo>
                  <a:pt x="843" y="1469"/>
                </a:lnTo>
                <a:lnTo>
                  <a:pt x="821" y="1458"/>
                </a:lnTo>
                <a:lnTo>
                  <a:pt x="794" y="1449"/>
                </a:lnTo>
                <a:lnTo>
                  <a:pt x="761" y="1443"/>
                </a:lnTo>
                <a:lnTo>
                  <a:pt x="727" y="1443"/>
                </a:lnTo>
                <a:lnTo>
                  <a:pt x="692" y="1451"/>
                </a:lnTo>
                <a:lnTo>
                  <a:pt x="658" y="1465"/>
                </a:lnTo>
                <a:lnTo>
                  <a:pt x="521" y="1551"/>
                </a:lnTo>
                <a:lnTo>
                  <a:pt x="499" y="1560"/>
                </a:lnTo>
                <a:lnTo>
                  <a:pt x="479" y="1562"/>
                </a:lnTo>
                <a:lnTo>
                  <a:pt x="461" y="1553"/>
                </a:lnTo>
                <a:lnTo>
                  <a:pt x="448" y="1538"/>
                </a:lnTo>
                <a:lnTo>
                  <a:pt x="439" y="1514"/>
                </a:lnTo>
                <a:lnTo>
                  <a:pt x="404" y="1319"/>
                </a:lnTo>
                <a:lnTo>
                  <a:pt x="392" y="1290"/>
                </a:lnTo>
                <a:lnTo>
                  <a:pt x="373" y="1267"/>
                </a:lnTo>
                <a:lnTo>
                  <a:pt x="350" y="1247"/>
                </a:lnTo>
                <a:lnTo>
                  <a:pt x="322" y="1232"/>
                </a:lnTo>
                <a:lnTo>
                  <a:pt x="291" y="1221"/>
                </a:lnTo>
                <a:lnTo>
                  <a:pt x="259" y="1212"/>
                </a:lnTo>
                <a:lnTo>
                  <a:pt x="224" y="1206"/>
                </a:lnTo>
                <a:lnTo>
                  <a:pt x="187" y="1201"/>
                </a:lnTo>
                <a:lnTo>
                  <a:pt x="149" y="1197"/>
                </a:lnTo>
                <a:lnTo>
                  <a:pt x="113" y="1194"/>
                </a:lnTo>
                <a:lnTo>
                  <a:pt x="78" y="1192"/>
                </a:lnTo>
                <a:lnTo>
                  <a:pt x="53" y="1186"/>
                </a:lnTo>
                <a:lnTo>
                  <a:pt x="33" y="1175"/>
                </a:lnTo>
                <a:lnTo>
                  <a:pt x="16" y="1161"/>
                </a:lnTo>
                <a:lnTo>
                  <a:pt x="5" y="1141"/>
                </a:lnTo>
                <a:lnTo>
                  <a:pt x="0" y="1117"/>
                </a:lnTo>
                <a:lnTo>
                  <a:pt x="0" y="70"/>
                </a:lnTo>
                <a:lnTo>
                  <a:pt x="2" y="51"/>
                </a:lnTo>
                <a:lnTo>
                  <a:pt x="7" y="35"/>
                </a:lnTo>
                <a:lnTo>
                  <a:pt x="16" y="22"/>
                </a:lnTo>
                <a:lnTo>
                  <a:pt x="31" y="11"/>
                </a:lnTo>
                <a:lnTo>
                  <a:pt x="51" y="4"/>
                </a:lnTo>
                <a:lnTo>
                  <a:pt x="76" y="0"/>
                </a:lnTo>
                <a:lnTo>
                  <a:pt x="109" y="0"/>
                </a:lnTo>
                <a:close/>
              </a:path>
            </a:pathLst>
          </a:custGeom>
          <a:solidFill>
            <a:srgbClr val="C00000"/>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14" name="Freeform 7">
            <a:extLst>
              <a:ext uri="{FF2B5EF4-FFF2-40B4-BE49-F238E27FC236}">
                <a16:creationId xmlns:a16="http://schemas.microsoft.com/office/drawing/2014/main" id="{4354B6F2-F665-BC32-8ADB-1F3D386D93EF}"/>
              </a:ext>
            </a:extLst>
          </p:cNvPr>
          <p:cNvSpPr>
            <a:spLocks/>
          </p:cNvSpPr>
          <p:nvPr/>
        </p:nvSpPr>
        <p:spPr bwMode="auto">
          <a:xfrm>
            <a:off x="7530384" y="2161696"/>
            <a:ext cx="1162555" cy="1358256"/>
          </a:xfrm>
          <a:custGeom>
            <a:avLst/>
            <a:gdLst>
              <a:gd name="T0" fmla="*/ 820 w 1603"/>
              <a:gd name="T1" fmla="*/ 2 h 1936"/>
              <a:gd name="T2" fmla="*/ 862 w 1603"/>
              <a:gd name="T3" fmla="*/ 25 h 1936"/>
              <a:gd name="T4" fmla="*/ 889 w 1603"/>
              <a:gd name="T5" fmla="*/ 53 h 1936"/>
              <a:gd name="T6" fmla="*/ 913 w 1603"/>
              <a:gd name="T7" fmla="*/ 80 h 1936"/>
              <a:gd name="T8" fmla="*/ 957 w 1603"/>
              <a:gd name="T9" fmla="*/ 131 h 1936"/>
              <a:gd name="T10" fmla="*/ 1015 w 1603"/>
              <a:gd name="T11" fmla="*/ 206 h 1936"/>
              <a:gd name="T12" fmla="*/ 1086 w 1603"/>
              <a:gd name="T13" fmla="*/ 304 h 1936"/>
              <a:gd name="T14" fmla="*/ 1163 w 1603"/>
              <a:gd name="T15" fmla="*/ 421 h 1936"/>
              <a:gd name="T16" fmla="*/ 1239 w 1603"/>
              <a:gd name="T17" fmla="*/ 556 h 1936"/>
              <a:gd name="T18" fmla="*/ 1314 w 1603"/>
              <a:gd name="T19" fmla="*/ 707 h 1936"/>
              <a:gd name="T20" fmla="*/ 1381 w 1603"/>
              <a:gd name="T21" fmla="*/ 873 h 1936"/>
              <a:gd name="T22" fmla="*/ 1460 w 1603"/>
              <a:gd name="T23" fmla="*/ 1104 h 1936"/>
              <a:gd name="T24" fmla="*/ 1516 w 1603"/>
              <a:gd name="T25" fmla="*/ 1302 h 1936"/>
              <a:gd name="T26" fmla="*/ 1556 w 1603"/>
              <a:gd name="T27" fmla="*/ 1468 h 1936"/>
              <a:gd name="T28" fmla="*/ 1582 w 1603"/>
              <a:gd name="T29" fmla="*/ 1603 h 1936"/>
              <a:gd name="T30" fmla="*/ 1596 w 1603"/>
              <a:gd name="T31" fmla="*/ 1707 h 1936"/>
              <a:gd name="T32" fmla="*/ 1602 w 1603"/>
              <a:gd name="T33" fmla="*/ 1780 h 1936"/>
              <a:gd name="T34" fmla="*/ 1603 w 1603"/>
              <a:gd name="T35" fmla="*/ 1824 h 1936"/>
              <a:gd name="T36" fmla="*/ 1603 w 1603"/>
              <a:gd name="T37" fmla="*/ 1838 h 1936"/>
              <a:gd name="T38" fmla="*/ 1594 w 1603"/>
              <a:gd name="T39" fmla="*/ 1896 h 1936"/>
              <a:gd name="T40" fmla="*/ 1571 w 1603"/>
              <a:gd name="T41" fmla="*/ 1927 h 1936"/>
              <a:gd name="T42" fmla="*/ 1532 w 1603"/>
              <a:gd name="T43" fmla="*/ 1936 h 1936"/>
              <a:gd name="T44" fmla="*/ 469 w 1603"/>
              <a:gd name="T45" fmla="*/ 1918 h 1936"/>
              <a:gd name="T46" fmla="*/ 434 w 1603"/>
              <a:gd name="T47" fmla="*/ 1911 h 1936"/>
              <a:gd name="T48" fmla="*/ 410 w 1603"/>
              <a:gd name="T49" fmla="*/ 1887 h 1936"/>
              <a:gd name="T50" fmla="*/ 397 w 1603"/>
              <a:gd name="T51" fmla="*/ 1838 h 1936"/>
              <a:gd name="T52" fmla="*/ 390 w 1603"/>
              <a:gd name="T53" fmla="*/ 1722 h 1936"/>
              <a:gd name="T54" fmla="*/ 379 w 1603"/>
              <a:gd name="T55" fmla="*/ 1649 h 1936"/>
              <a:gd name="T56" fmla="*/ 370 w 1603"/>
              <a:gd name="T57" fmla="*/ 1612 h 1936"/>
              <a:gd name="T58" fmla="*/ 363 w 1603"/>
              <a:gd name="T59" fmla="*/ 1585 h 1936"/>
              <a:gd name="T60" fmla="*/ 330 w 1603"/>
              <a:gd name="T61" fmla="*/ 1532 h 1936"/>
              <a:gd name="T62" fmla="*/ 275 w 1603"/>
              <a:gd name="T63" fmla="*/ 1488 h 1936"/>
              <a:gd name="T64" fmla="*/ 84 w 1603"/>
              <a:gd name="T65" fmla="*/ 1439 h 1936"/>
              <a:gd name="T66" fmla="*/ 46 w 1603"/>
              <a:gd name="T67" fmla="*/ 1417 h 1936"/>
              <a:gd name="T68" fmla="*/ 40 w 1603"/>
              <a:gd name="T69" fmla="*/ 1377 h 1936"/>
              <a:gd name="T70" fmla="*/ 164 w 1603"/>
              <a:gd name="T71" fmla="*/ 1193 h 1936"/>
              <a:gd name="T72" fmla="*/ 179 w 1603"/>
              <a:gd name="T73" fmla="*/ 1120 h 1936"/>
              <a:gd name="T74" fmla="*/ 155 w 1603"/>
              <a:gd name="T75" fmla="*/ 1047 h 1936"/>
              <a:gd name="T76" fmla="*/ 108 w 1603"/>
              <a:gd name="T77" fmla="*/ 975 h 1936"/>
              <a:gd name="T78" fmla="*/ 51 w 1603"/>
              <a:gd name="T79" fmla="*/ 905 h 1936"/>
              <a:gd name="T80" fmla="*/ 9 w 1603"/>
              <a:gd name="T81" fmla="*/ 851 h 1936"/>
              <a:gd name="T82" fmla="*/ 0 w 1603"/>
              <a:gd name="T83" fmla="*/ 807 h 1936"/>
              <a:gd name="T84" fmla="*/ 20 w 1603"/>
              <a:gd name="T85" fmla="*/ 765 h 1936"/>
              <a:gd name="T86" fmla="*/ 773 w 1603"/>
              <a:gd name="T87" fmla="*/ 9 h 1936"/>
              <a:gd name="T88" fmla="*/ 804 w 1603"/>
              <a:gd name="T89" fmla="*/ 0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3" h="1936">
                <a:moveTo>
                  <a:pt x="804" y="0"/>
                </a:moveTo>
                <a:lnTo>
                  <a:pt x="820" y="2"/>
                </a:lnTo>
                <a:lnTo>
                  <a:pt x="840" y="11"/>
                </a:lnTo>
                <a:lnTo>
                  <a:pt x="862" y="25"/>
                </a:lnTo>
                <a:lnTo>
                  <a:pt x="886" y="49"/>
                </a:lnTo>
                <a:lnTo>
                  <a:pt x="889" y="53"/>
                </a:lnTo>
                <a:lnTo>
                  <a:pt x="898" y="64"/>
                </a:lnTo>
                <a:lnTo>
                  <a:pt x="913" y="80"/>
                </a:lnTo>
                <a:lnTo>
                  <a:pt x="933" y="102"/>
                </a:lnTo>
                <a:lnTo>
                  <a:pt x="957" y="131"/>
                </a:lnTo>
                <a:lnTo>
                  <a:pt x="984" y="166"/>
                </a:lnTo>
                <a:lnTo>
                  <a:pt x="1015" y="206"/>
                </a:lnTo>
                <a:lnTo>
                  <a:pt x="1050" y="253"/>
                </a:lnTo>
                <a:lnTo>
                  <a:pt x="1086" y="304"/>
                </a:lnTo>
                <a:lnTo>
                  <a:pt x="1123" y="359"/>
                </a:lnTo>
                <a:lnTo>
                  <a:pt x="1163" y="421"/>
                </a:lnTo>
                <a:lnTo>
                  <a:pt x="1201" y="486"/>
                </a:lnTo>
                <a:lnTo>
                  <a:pt x="1239" y="556"/>
                </a:lnTo>
                <a:lnTo>
                  <a:pt x="1277" y="628"/>
                </a:lnTo>
                <a:lnTo>
                  <a:pt x="1314" y="707"/>
                </a:lnTo>
                <a:lnTo>
                  <a:pt x="1348" y="789"/>
                </a:lnTo>
                <a:lnTo>
                  <a:pt x="1381" y="873"/>
                </a:lnTo>
                <a:lnTo>
                  <a:pt x="1423" y="993"/>
                </a:lnTo>
                <a:lnTo>
                  <a:pt x="1460" y="1104"/>
                </a:lnTo>
                <a:lnTo>
                  <a:pt x="1491" y="1208"/>
                </a:lnTo>
                <a:lnTo>
                  <a:pt x="1516" y="1302"/>
                </a:lnTo>
                <a:lnTo>
                  <a:pt x="1538" y="1390"/>
                </a:lnTo>
                <a:lnTo>
                  <a:pt x="1556" y="1468"/>
                </a:lnTo>
                <a:lnTo>
                  <a:pt x="1571" y="1539"/>
                </a:lnTo>
                <a:lnTo>
                  <a:pt x="1582" y="1603"/>
                </a:lnTo>
                <a:lnTo>
                  <a:pt x="1591" y="1660"/>
                </a:lnTo>
                <a:lnTo>
                  <a:pt x="1596" y="1707"/>
                </a:lnTo>
                <a:lnTo>
                  <a:pt x="1600" y="1747"/>
                </a:lnTo>
                <a:lnTo>
                  <a:pt x="1602" y="1780"/>
                </a:lnTo>
                <a:lnTo>
                  <a:pt x="1603" y="1805"/>
                </a:lnTo>
                <a:lnTo>
                  <a:pt x="1603" y="1824"/>
                </a:lnTo>
                <a:lnTo>
                  <a:pt x="1603" y="1834"/>
                </a:lnTo>
                <a:lnTo>
                  <a:pt x="1603" y="1838"/>
                </a:lnTo>
                <a:lnTo>
                  <a:pt x="1602" y="1871"/>
                </a:lnTo>
                <a:lnTo>
                  <a:pt x="1594" y="1896"/>
                </a:lnTo>
                <a:lnTo>
                  <a:pt x="1585" y="1915"/>
                </a:lnTo>
                <a:lnTo>
                  <a:pt x="1571" y="1927"/>
                </a:lnTo>
                <a:lnTo>
                  <a:pt x="1552" y="1935"/>
                </a:lnTo>
                <a:lnTo>
                  <a:pt x="1532" y="1936"/>
                </a:lnTo>
                <a:lnTo>
                  <a:pt x="487" y="1920"/>
                </a:lnTo>
                <a:lnTo>
                  <a:pt x="469" y="1918"/>
                </a:lnTo>
                <a:lnTo>
                  <a:pt x="450" y="1916"/>
                </a:lnTo>
                <a:lnTo>
                  <a:pt x="434" y="1911"/>
                </a:lnTo>
                <a:lnTo>
                  <a:pt x="421" y="1902"/>
                </a:lnTo>
                <a:lnTo>
                  <a:pt x="410" y="1887"/>
                </a:lnTo>
                <a:lnTo>
                  <a:pt x="401" y="1867"/>
                </a:lnTo>
                <a:lnTo>
                  <a:pt x="397" y="1838"/>
                </a:lnTo>
                <a:lnTo>
                  <a:pt x="396" y="1774"/>
                </a:lnTo>
                <a:lnTo>
                  <a:pt x="390" y="1722"/>
                </a:lnTo>
                <a:lnTo>
                  <a:pt x="385" y="1680"/>
                </a:lnTo>
                <a:lnTo>
                  <a:pt x="379" y="1649"/>
                </a:lnTo>
                <a:lnTo>
                  <a:pt x="374" y="1625"/>
                </a:lnTo>
                <a:lnTo>
                  <a:pt x="370" y="1612"/>
                </a:lnTo>
                <a:lnTo>
                  <a:pt x="370" y="1609"/>
                </a:lnTo>
                <a:lnTo>
                  <a:pt x="363" y="1585"/>
                </a:lnTo>
                <a:lnTo>
                  <a:pt x="348" y="1559"/>
                </a:lnTo>
                <a:lnTo>
                  <a:pt x="330" y="1532"/>
                </a:lnTo>
                <a:lnTo>
                  <a:pt x="306" y="1508"/>
                </a:lnTo>
                <a:lnTo>
                  <a:pt x="275" y="1488"/>
                </a:lnTo>
                <a:lnTo>
                  <a:pt x="241" y="1476"/>
                </a:lnTo>
                <a:lnTo>
                  <a:pt x="84" y="1439"/>
                </a:lnTo>
                <a:lnTo>
                  <a:pt x="62" y="1430"/>
                </a:lnTo>
                <a:lnTo>
                  <a:pt x="46" y="1417"/>
                </a:lnTo>
                <a:lnTo>
                  <a:pt x="40" y="1399"/>
                </a:lnTo>
                <a:lnTo>
                  <a:pt x="40" y="1377"/>
                </a:lnTo>
                <a:lnTo>
                  <a:pt x="51" y="1355"/>
                </a:lnTo>
                <a:lnTo>
                  <a:pt x="164" y="1193"/>
                </a:lnTo>
                <a:lnTo>
                  <a:pt x="177" y="1157"/>
                </a:lnTo>
                <a:lnTo>
                  <a:pt x="179" y="1120"/>
                </a:lnTo>
                <a:lnTo>
                  <a:pt x="172" y="1084"/>
                </a:lnTo>
                <a:lnTo>
                  <a:pt x="155" y="1047"/>
                </a:lnTo>
                <a:lnTo>
                  <a:pt x="135" y="1011"/>
                </a:lnTo>
                <a:lnTo>
                  <a:pt x="108" y="975"/>
                </a:lnTo>
                <a:lnTo>
                  <a:pt x="80" y="940"/>
                </a:lnTo>
                <a:lnTo>
                  <a:pt x="51" y="905"/>
                </a:lnTo>
                <a:lnTo>
                  <a:pt x="22" y="871"/>
                </a:lnTo>
                <a:lnTo>
                  <a:pt x="9" y="851"/>
                </a:lnTo>
                <a:lnTo>
                  <a:pt x="0" y="829"/>
                </a:lnTo>
                <a:lnTo>
                  <a:pt x="0" y="807"/>
                </a:lnTo>
                <a:lnTo>
                  <a:pt x="6" y="785"/>
                </a:lnTo>
                <a:lnTo>
                  <a:pt x="20" y="765"/>
                </a:lnTo>
                <a:lnTo>
                  <a:pt x="758" y="22"/>
                </a:lnTo>
                <a:lnTo>
                  <a:pt x="773" y="9"/>
                </a:lnTo>
                <a:lnTo>
                  <a:pt x="787" y="2"/>
                </a:lnTo>
                <a:lnTo>
                  <a:pt x="804" y="0"/>
                </a:lnTo>
                <a:close/>
              </a:path>
            </a:pathLst>
          </a:custGeom>
          <a:solidFill>
            <a:srgbClr val="3F3F3F"/>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15" name="Freeform 8">
            <a:extLst>
              <a:ext uri="{FF2B5EF4-FFF2-40B4-BE49-F238E27FC236}">
                <a16:creationId xmlns:a16="http://schemas.microsoft.com/office/drawing/2014/main" id="{031A5C9D-2CAC-6AF8-2424-CF6C3E1EF4DF}"/>
              </a:ext>
            </a:extLst>
          </p:cNvPr>
          <p:cNvSpPr>
            <a:spLocks/>
          </p:cNvSpPr>
          <p:nvPr/>
        </p:nvSpPr>
        <p:spPr bwMode="auto">
          <a:xfrm>
            <a:off x="7511515" y="3648909"/>
            <a:ext cx="1190130" cy="1348442"/>
          </a:xfrm>
          <a:custGeom>
            <a:avLst/>
            <a:gdLst>
              <a:gd name="T0" fmla="*/ 1587 w 1639"/>
              <a:gd name="T1" fmla="*/ 2 h 1924"/>
              <a:gd name="T2" fmla="*/ 1616 w 1639"/>
              <a:gd name="T3" fmla="*/ 17 h 1924"/>
              <a:gd name="T4" fmla="*/ 1634 w 1639"/>
              <a:gd name="T5" fmla="*/ 51 h 1924"/>
              <a:gd name="T6" fmla="*/ 1639 w 1639"/>
              <a:gd name="T7" fmla="*/ 110 h 1924"/>
              <a:gd name="T8" fmla="*/ 1638 w 1639"/>
              <a:gd name="T9" fmla="*/ 137 h 1924"/>
              <a:gd name="T10" fmla="*/ 1632 w 1639"/>
              <a:gd name="T11" fmla="*/ 214 h 1924"/>
              <a:gd name="T12" fmla="*/ 1618 w 1639"/>
              <a:gd name="T13" fmla="*/ 328 h 1924"/>
              <a:gd name="T14" fmla="*/ 1592 w 1639"/>
              <a:gd name="T15" fmla="*/ 478 h 1924"/>
              <a:gd name="T16" fmla="*/ 1550 w 1639"/>
              <a:gd name="T17" fmla="*/ 653 h 1924"/>
              <a:gd name="T18" fmla="*/ 1490 w 1639"/>
              <a:gd name="T19" fmla="*/ 844 h 1924"/>
              <a:gd name="T20" fmla="*/ 1408 w 1639"/>
              <a:gd name="T21" fmla="*/ 1044 h 1924"/>
              <a:gd name="T22" fmla="*/ 1291 w 1639"/>
              <a:gd name="T23" fmla="*/ 1276 h 1924"/>
              <a:gd name="T24" fmla="*/ 1188 w 1639"/>
              <a:gd name="T25" fmla="*/ 1463 h 1924"/>
              <a:gd name="T26" fmla="*/ 1093 w 1639"/>
              <a:gd name="T27" fmla="*/ 1613 h 1924"/>
              <a:gd name="T28" fmla="*/ 1015 w 1639"/>
              <a:gd name="T29" fmla="*/ 1726 h 1924"/>
              <a:gd name="T30" fmla="*/ 953 w 1639"/>
              <a:gd name="T31" fmla="*/ 1806 h 1924"/>
              <a:gd name="T32" fmla="*/ 909 w 1639"/>
              <a:gd name="T33" fmla="*/ 1857 h 1924"/>
              <a:gd name="T34" fmla="*/ 885 w 1639"/>
              <a:gd name="T35" fmla="*/ 1881 h 1924"/>
              <a:gd name="T36" fmla="*/ 858 w 1639"/>
              <a:gd name="T37" fmla="*/ 1904 h 1924"/>
              <a:gd name="T38" fmla="*/ 814 w 1639"/>
              <a:gd name="T39" fmla="*/ 1924 h 1924"/>
              <a:gd name="T40" fmla="*/ 780 w 1639"/>
              <a:gd name="T41" fmla="*/ 1915 h 1924"/>
              <a:gd name="T42" fmla="*/ 34 w 1639"/>
              <a:gd name="T43" fmla="*/ 1150 h 1924"/>
              <a:gd name="T44" fmla="*/ 11 w 1639"/>
              <a:gd name="T45" fmla="*/ 1123 h 1924"/>
              <a:gd name="T46" fmla="*/ 0 w 1639"/>
              <a:gd name="T47" fmla="*/ 1092 h 1924"/>
              <a:gd name="T48" fmla="*/ 13 w 1639"/>
              <a:gd name="T49" fmla="*/ 1053 h 1924"/>
              <a:gd name="T50" fmla="*/ 67 w 1639"/>
              <a:gd name="T51" fmla="*/ 990 h 1924"/>
              <a:gd name="T52" fmla="*/ 124 w 1639"/>
              <a:gd name="T53" fmla="*/ 921 h 1924"/>
              <a:gd name="T54" fmla="*/ 156 w 1639"/>
              <a:gd name="T55" fmla="*/ 875 h 1924"/>
              <a:gd name="T56" fmla="*/ 171 w 1639"/>
              <a:gd name="T57" fmla="*/ 851 h 1924"/>
              <a:gd name="T58" fmla="*/ 184 w 1639"/>
              <a:gd name="T59" fmla="*/ 826 h 1924"/>
              <a:gd name="T60" fmla="*/ 198 w 1639"/>
              <a:gd name="T61" fmla="*/ 767 h 1924"/>
              <a:gd name="T62" fmla="*/ 191 w 1639"/>
              <a:gd name="T63" fmla="*/ 698 h 1924"/>
              <a:gd name="T64" fmla="*/ 89 w 1639"/>
              <a:gd name="T65" fmla="*/ 527 h 1924"/>
              <a:gd name="T66" fmla="*/ 80 w 1639"/>
              <a:gd name="T67" fmla="*/ 483 h 1924"/>
              <a:gd name="T68" fmla="*/ 104 w 1639"/>
              <a:gd name="T69" fmla="*/ 452 h 1924"/>
              <a:gd name="T70" fmla="*/ 320 w 1639"/>
              <a:gd name="T71" fmla="*/ 409 h 1924"/>
              <a:gd name="T72" fmla="*/ 373 w 1639"/>
              <a:gd name="T73" fmla="*/ 378 h 1924"/>
              <a:gd name="T74" fmla="*/ 408 w 1639"/>
              <a:gd name="T75" fmla="*/ 327 h 1924"/>
              <a:gd name="T76" fmla="*/ 428 w 1639"/>
              <a:gd name="T77" fmla="*/ 263 h 1924"/>
              <a:gd name="T78" fmla="*/ 439 w 1639"/>
              <a:gd name="T79" fmla="*/ 192 h 1924"/>
              <a:gd name="T80" fmla="*/ 444 w 1639"/>
              <a:gd name="T81" fmla="*/ 117 h 1924"/>
              <a:gd name="T82" fmla="*/ 453 w 1639"/>
              <a:gd name="T83" fmla="*/ 57 h 1924"/>
              <a:gd name="T84" fmla="*/ 477 w 1639"/>
              <a:gd name="T85" fmla="*/ 19 h 1924"/>
              <a:gd name="T86" fmla="*/ 523 w 1639"/>
              <a:gd name="T87" fmla="*/ 4 h 1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39" h="1924">
                <a:moveTo>
                  <a:pt x="1570" y="0"/>
                </a:moveTo>
                <a:lnTo>
                  <a:pt x="1587" y="2"/>
                </a:lnTo>
                <a:lnTo>
                  <a:pt x="1603" y="8"/>
                </a:lnTo>
                <a:lnTo>
                  <a:pt x="1616" y="17"/>
                </a:lnTo>
                <a:lnTo>
                  <a:pt x="1627" y="31"/>
                </a:lnTo>
                <a:lnTo>
                  <a:pt x="1634" y="51"/>
                </a:lnTo>
                <a:lnTo>
                  <a:pt x="1639" y="77"/>
                </a:lnTo>
                <a:lnTo>
                  <a:pt x="1639" y="110"/>
                </a:lnTo>
                <a:lnTo>
                  <a:pt x="1639" y="117"/>
                </a:lnTo>
                <a:lnTo>
                  <a:pt x="1638" y="137"/>
                </a:lnTo>
                <a:lnTo>
                  <a:pt x="1636" y="170"/>
                </a:lnTo>
                <a:lnTo>
                  <a:pt x="1632" y="214"/>
                </a:lnTo>
                <a:lnTo>
                  <a:pt x="1627" y="266"/>
                </a:lnTo>
                <a:lnTo>
                  <a:pt x="1618" y="328"/>
                </a:lnTo>
                <a:lnTo>
                  <a:pt x="1607" y="399"/>
                </a:lnTo>
                <a:lnTo>
                  <a:pt x="1592" y="478"/>
                </a:lnTo>
                <a:lnTo>
                  <a:pt x="1574" y="563"/>
                </a:lnTo>
                <a:lnTo>
                  <a:pt x="1550" y="653"/>
                </a:lnTo>
                <a:lnTo>
                  <a:pt x="1523" y="747"/>
                </a:lnTo>
                <a:lnTo>
                  <a:pt x="1490" y="844"/>
                </a:lnTo>
                <a:lnTo>
                  <a:pt x="1452" y="942"/>
                </a:lnTo>
                <a:lnTo>
                  <a:pt x="1408" y="1044"/>
                </a:lnTo>
                <a:lnTo>
                  <a:pt x="1348" y="1165"/>
                </a:lnTo>
                <a:lnTo>
                  <a:pt x="1291" y="1276"/>
                </a:lnTo>
                <a:lnTo>
                  <a:pt x="1239" y="1374"/>
                </a:lnTo>
                <a:lnTo>
                  <a:pt x="1188" y="1463"/>
                </a:lnTo>
                <a:lnTo>
                  <a:pt x="1138" y="1544"/>
                </a:lnTo>
                <a:lnTo>
                  <a:pt x="1093" y="1613"/>
                </a:lnTo>
                <a:lnTo>
                  <a:pt x="1053" y="1675"/>
                </a:lnTo>
                <a:lnTo>
                  <a:pt x="1015" y="1726"/>
                </a:lnTo>
                <a:lnTo>
                  <a:pt x="982" y="1769"/>
                </a:lnTo>
                <a:lnTo>
                  <a:pt x="953" y="1806"/>
                </a:lnTo>
                <a:lnTo>
                  <a:pt x="927" y="1835"/>
                </a:lnTo>
                <a:lnTo>
                  <a:pt x="909" y="1857"/>
                </a:lnTo>
                <a:lnTo>
                  <a:pt x="894" y="1871"/>
                </a:lnTo>
                <a:lnTo>
                  <a:pt x="885" y="1881"/>
                </a:lnTo>
                <a:lnTo>
                  <a:pt x="883" y="1884"/>
                </a:lnTo>
                <a:lnTo>
                  <a:pt x="858" y="1904"/>
                </a:lnTo>
                <a:lnTo>
                  <a:pt x="834" y="1919"/>
                </a:lnTo>
                <a:lnTo>
                  <a:pt x="814" y="1924"/>
                </a:lnTo>
                <a:lnTo>
                  <a:pt x="796" y="1923"/>
                </a:lnTo>
                <a:lnTo>
                  <a:pt x="780" y="1915"/>
                </a:lnTo>
                <a:lnTo>
                  <a:pt x="763" y="1902"/>
                </a:lnTo>
                <a:lnTo>
                  <a:pt x="34" y="1150"/>
                </a:lnTo>
                <a:lnTo>
                  <a:pt x="22" y="1137"/>
                </a:lnTo>
                <a:lnTo>
                  <a:pt x="11" y="1123"/>
                </a:lnTo>
                <a:lnTo>
                  <a:pt x="3" y="1108"/>
                </a:lnTo>
                <a:lnTo>
                  <a:pt x="0" y="1092"/>
                </a:lnTo>
                <a:lnTo>
                  <a:pt x="3" y="1074"/>
                </a:lnTo>
                <a:lnTo>
                  <a:pt x="13" y="1053"/>
                </a:lnTo>
                <a:lnTo>
                  <a:pt x="29" y="1032"/>
                </a:lnTo>
                <a:lnTo>
                  <a:pt x="67" y="990"/>
                </a:lnTo>
                <a:lnTo>
                  <a:pt x="98" y="953"/>
                </a:lnTo>
                <a:lnTo>
                  <a:pt x="124" y="921"/>
                </a:lnTo>
                <a:lnTo>
                  <a:pt x="142" y="895"/>
                </a:lnTo>
                <a:lnTo>
                  <a:pt x="156" y="875"/>
                </a:lnTo>
                <a:lnTo>
                  <a:pt x="166" y="860"/>
                </a:lnTo>
                <a:lnTo>
                  <a:pt x="171" y="851"/>
                </a:lnTo>
                <a:lnTo>
                  <a:pt x="173" y="848"/>
                </a:lnTo>
                <a:lnTo>
                  <a:pt x="184" y="826"/>
                </a:lnTo>
                <a:lnTo>
                  <a:pt x="193" y="798"/>
                </a:lnTo>
                <a:lnTo>
                  <a:pt x="198" y="767"/>
                </a:lnTo>
                <a:lnTo>
                  <a:pt x="198" y="733"/>
                </a:lnTo>
                <a:lnTo>
                  <a:pt x="191" y="698"/>
                </a:lnTo>
                <a:lnTo>
                  <a:pt x="175" y="664"/>
                </a:lnTo>
                <a:lnTo>
                  <a:pt x="89" y="527"/>
                </a:lnTo>
                <a:lnTo>
                  <a:pt x="80" y="505"/>
                </a:lnTo>
                <a:lnTo>
                  <a:pt x="80" y="483"/>
                </a:lnTo>
                <a:lnTo>
                  <a:pt x="87" y="467"/>
                </a:lnTo>
                <a:lnTo>
                  <a:pt x="104" y="452"/>
                </a:lnTo>
                <a:lnTo>
                  <a:pt x="125" y="445"/>
                </a:lnTo>
                <a:lnTo>
                  <a:pt x="320" y="409"/>
                </a:lnTo>
                <a:lnTo>
                  <a:pt x="350" y="396"/>
                </a:lnTo>
                <a:lnTo>
                  <a:pt x="373" y="378"/>
                </a:lnTo>
                <a:lnTo>
                  <a:pt x="393" y="354"/>
                </a:lnTo>
                <a:lnTo>
                  <a:pt x="408" y="327"/>
                </a:lnTo>
                <a:lnTo>
                  <a:pt x="419" y="296"/>
                </a:lnTo>
                <a:lnTo>
                  <a:pt x="428" y="263"/>
                </a:lnTo>
                <a:lnTo>
                  <a:pt x="433" y="228"/>
                </a:lnTo>
                <a:lnTo>
                  <a:pt x="439" y="192"/>
                </a:lnTo>
                <a:lnTo>
                  <a:pt x="442" y="154"/>
                </a:lnTo>
                <a:lnTo>
                  <a:pt x="444" y="117"/>
                </a:lnTo>
                <a:lnTo>
                  <a:pt x="448" y="81"/>
                </a:lnTo>
                <a:lnTo>
                  <a:pt x="453" y="57"/>
                </a:lnTo>
                <a:lnTo>
                  <a:pt x="463" y="37"/>
                </a:lnTo>
                <a:lnTo>
                  <a:pt x="477" y="19"/>
                </a:lnTo>
                <a:lnTo>
                  <a:pt x="497" y="8"/>
                </a:lnTo>
                <a:lnTo>
                  <a:pt x="523" y="4"/>
                </a:lnTo>
                <a:lnTo>
                  <a:pt x="1570" y="0"/>
                </a:lnTo>
                <a:close/>
              </a:path>
            </a:pathLst>
          </a:custGeom>
          <a:solidFill>
            <a:srgbClr val="C00000"/>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17" name="Freeform 9">
            <a:extLst>
              <a:ext uri="{FF2B5EF4-FFF2-40B4-BE49-F238E27FC236}">
                <a16:creationId xmlns:a16="http://schemas.microsoft.com/office/drawing/2014/main" id="{8034C3AA-F97C-8F59-0046-CB71F16A6E8B}"/>
              </a:ext>
            </a:extLst>
          </p:cNvPr>
          <p:cNvSpPr>
            <a:spLocks/>
          </p:cNvSpPr>
          <p:nvPr/>
        </p:nvSpPr>
        <p:spPr bwMode="auto">
          <a:xfrm>
            <a:off x="6605855" y="4540395"/>
            <a:ext cx="1400581" cy="1129778"/>
          </a:xfrm>
          <a:custGeom>
            <a:avLst/>
            <a:gdLst>
              <a:gd name="T0" fmla="*/ 1137 w 1929"/>
              <a:gd name="T1" fmla="*/ 6 h 1612"/>
              <a:gd name="T2" fmla="*/ 1907 w 1929"/>
              <a:gd name="T3" fmla="*/ 753 h 1612"/>
              <a:gd name="T4" fmla="*/ 1926 w 1929"/>
              <a:gd name="T5" fmla="*/ 780 h 1612"/>
              <a:gd name="T6" fmla="*/ 1927 w 1929"/>
              <a:gd name="T7" fmla="*/ 814 h 1612"/>
              <a:gd name="T8" fmla="*/ 1904 w 1929"/>
              <a:gd name="T9" fmla="*/ 855 h 1612"/>
              <a:gd name="T10" fmla="*/ 1876 w 1929"/>
              <a:gd name="T11" fmla="*/ 882 h 1612"/>
              <a:gd name="T12" fmla="*/ 1851 w 1929"/>
              <a:gd name="T13" fmla="*/ 906 h 1612"/>
              <a:gd name="T14" fmla="*/ 1798 w 1929"/>
              <a:gd name="T15" fmla="*/ 951 h 1612"/>
              <a:gd name="T16" fmla="*/ 1723 w 1929"/>
              <a:gd name="T17" fmla="*/ 1011 h 1612"/>
              <a:gd name="T18" fmla="*/ 1629 w 1929"/>
              <a:gd name="T19" fmla="*/ 1082 h 1612"/>
              <a:gd name="T20" fmla="*/ 1512 w 1929"/>
              <a:gd name="T21" fmla="*/ 1159 h 1612"/>
              <a:gd name="T22" fmla="*/ 1377 w 1929"/>
              <a:gd name="T23" fmla="*/ 1237 h 1612"/>
              <a:gd name="T24" fmla="*/ 1226 w 1929"/>
              <a:gd name="T25" fmla="*/ 1314 h 1612"/>
              <a:gd name="T26" fmla="*/ 1060 w 1929"/>
              <a:gd name="T27" fmla="*/ 1383 h 1612"/>
              <a:gd name="T28" fmla="*/ 831 w 1929"/>
              <a:gd name="T29" fmla="*/ 1461 h 1612"/>
              <a:gd name="T30" fmla="*/ 632 w 1929"/>
              <a:gd name="T31" fmla="*/ 1521 h 1612"/>
              <a:gd name="T32" fmla="*/ 466 w 1929"/>
              <a:gd name="T33" fmla="*/ 1561 h 1612"/>
              <a:gd name="T34" fmla="*/ 333 w 1929"/>
              <a:gd name="T35" fmla="*/ 1589 h 1612"/>
              <a:gd name="T36" fmla="*/ 229 w 1929"/>
              <a:gd name="T37" fmla="*/ 1603 h 1612"/>
              <a:gd name="T38" fmla="*/ 155 w 1929"/>
              <a:gd name="T39" fmla="*/ 1611 h 1612"/>
              <a:gd name="T40" fmla="*/ 113 w 1929"/>
              <a:gd name="T41" fmla="*/ 1612 h 1612"/>
              <a:gd name="T42" fmla="*/ 98 w 1929"/>
              <a:gd name="T43" fmla="*/ 1612 h 1612"/>
              <a:gd name="T44" fmla="*/ 38 w 1929"/>
              <a:gd name="T45" fmla="*/ 1605 h 1612"/>
              <a:gd name="T46" fmla="*/ 7 w 1929"/>
              <a:gd name="T47" fmla="*/ 1580 h 1612"/>
              <a:gd name="T48" fmla="*/ 0 w 1929"/>
              <a:gd name="T49" fmla="*/ 1543 h 1612"/>
              <a:gd name="T50" fmla="*/ 7 w 1929"/>
              <a:gd name="T51" fmla="*/ 477 h 1612"/>
              <a:gd name="T52" fmla="*/ 14 w 1929"/>
              <a:gd name="T53" fmla="*/ 445 h 1612"/>
              <a:gd name="T54" fmla="*/ 38 w 1929"/>
              <a:gd name="T55" fmla="*/ 419 h 1612"/>
              <a:gd name="T56" fmla="*/ 87 w 1929"/>
              <a:gd name="T57" fmla="*/ 408 h 1612"/>
              <a:gd name="T58" fmla="*/ 202 w 1929"/>
              <a:gd name="T59" fmla="*/ 399 h 1612"/>
              <a:gd name="T60" fmla="*/ 277 w 1929"/>
              <a:gd name="T61" fmla="*/ 386 h 1612"/>
              <a:gd name="T62" fmla="*/ 313 w 1929"/>
              <a:gd name="T63" fmla="*/ 377 h 1612"/>
              <a:gd name="T64" fmla="*/ 341 w 1929"/>
              <a:gd name="T65" fmla="*/ 368 h 1612"/>
              <a:gd name="T66" fmla="*/ 392 w 1929"/>
              <a:gd name="T67" fmla="*/ 337 h 1612"/>
              <a:gd name="T68" fmla="*/ 435 w 1929"/>
              <a:gd name="T69" fmla="*/ 282 h 1612"/>
              <a:gd name="T70" fmla="*/ 483 w 1929"/>
              <a:gd name="T71" fmla="*/ 89 h 1612"/>
              <a:gd name="T72" fmla="*/ 506 w 1929"/>
              <a:gd name="T73" fmla="*/ 51 h 1612"/>
              <a:gd name="T74" fmla="*/ 545 w 1929"/>
              <a:gd name="T75" fmla="*/ 46 h 1612"/>
              <a:gd name="T76" fmla="*/ 730 w 1929"/>
              <a:gd name="T77" fmla="*/ 168 h 1612"/>
              <a:gd name="T78" fmla="*/ 803 w 1929"/>
              <a:gd name="T79" fmla="*/ 182 h 1612"/>
              <a:gd name="T80" fmla="*/ 876 w 1929"/>
              <a:gd name="T81" fmla="*/ 159 h 1612"/>
              <a:gd name="T82" fmla="*/ 947 w 1929"/>
              <a:gd name="T83" fmla="*/ 109 h 1612"/>
              <a:gd name="T84" fmla="*/ 1016 w 1929"/>
              <a:gd name="T85" fmla="*/ 51 h 1612"/>
              <a:gd name="T86" fmla="*/ 1071 w 1929"/>
              <a:gd name="T87" fmla="*/ 9 h 1612"/>
              <a:gd name="T88" fmla="*/ 1115 w 1929"/>
              <a:gd name="T89"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9" h="1612">
                <a:moveTo>
                  <a:pt x="1115" y="0"/>
                </a:moveTo>
                <a:lnTo>
                  <a:pt x="1137" y="6"/>
                </a:lnTo>
                <a:lnTo>
                  <a:pt x="1157" y="20"/>
                </a:lnTo>
                <a:lnTo>
                  <a:pt x="1907" y="753"/>
                </a:lnTo>
                <a:lnTo>
                  <a:pt x="1918" y="765"/>
                </a:lnTo>
                <a:lnTo>
                  <a:pt x="1926" y="780"/>
                </a:lnTo>
                <a:lnTo>
                  <a:pt x="1929" y="796"/>
                </a:lnTo>
                <a:lnTo>
                  <a:pt x="1927" y="814"/>
                </a:lnTo>
                <a:lnTo>
                  <a:pt x="1918" y="833"/>
                </a:lnTo>
                <a:lnTo>
                  <a:pt x="1904" y="855"/>
                </a:lnTo>
                <a:lnTo>
                  <a:pt x="1880" y="878"/>
                </a:lnTo>
                <a:lnTo>
                  <a:pt x="1876" y="882"/>
                </a:lnTo>
                <a:lnTo>
                  <a:pt x="1867" y="891"/>
                </a:lnTo>
                <a:lnTo>
                  <a:pt x="1851" y="906"/>
                </a:lnTo>
                <a:lnTo>
                  <a:pt x="1827" y="926"/>
                </a:lnTo>
                <a:lnTo>
                  <a:pt x="1798" y="951"/>
                </a:lnTo>
                <a:lnTo>
                  <a:pt x="1763" y="978"/>
                </a:lnTo>
                <a:lnTo>
                  <a:pt x="1723" y="1011"/>
                </a:lnTo>
                <a:lnTo>
                  <a:pt x="1678" y="1046"/>
                </a:lnTo>
                <a:lnTo>
                  <a:pt x="1629" y="1082"/>
                </a:lnTo>
                <a:lnTo>
                  <a:pt x="1572" y="1119"/>
                </a:lnTo>
                <a:lnTo>
                  <a:pt x="1512" y="1159"/>
                </a:lnTo>
                <a:lnTo>
                  <a:pt x="1446" y="1199"/>
                </a:lnTo>
                <a:lnTo>
                  <a:pt x="1377" y="1237"/>
                </a:lnTo>
                <a:lnTo>
                  <a:pt x="1304" y="1275"/>
                </a:lnTo>
                <a:lnTo>
                  <a:pt x="1226" y="1314"/>
                </a:lnTo>
                <a:lnTo>
                  <a:pt x="1146" y="1348"/>
                </a:lnTo>
                <a:lnTo>
                  <a:pt x="1060" y="1383"/>
                </a:lnTo>
                <a:lnTo>
                  <a:pt x="942" y="1425"/>
                </a:lnTo>
                <a:lnTo>
                  <a:pt x="831" y="1461"/>
                </a:lnTo>
                <a:lnTo>
                  <a:pt x="727" y="1494"/>
                </a:lnTo>
                <a:lnTo>
                  <a:pt x="632" y="1521"/>
                </a:lnTo>
                <a:lnTo>
                  <a:pt x="546" y="1543"/>
                </a:lnTo>
                <a:lnTo>
                  <a:pt x="466" y="1561"/>
                </a:lnTo>
                <a:lnTo>
                  <a:pt x="395" y="1576"/>
                </a:lnTo>
                <a:lnTo>
                  <a:pt x="333" y="1589"/>
                </a:lnTo>
                <a:lnTo>
                  <a:pt x="277" y="1598"/>
                </a:lnTo>
                <a:lnTo>
                  <a:pt x="229" y="1603"/>
                </a:lnTo>
                <a:lnTo>
                  <a:pt x="189" y="1609"/>
                </a:lnTo>
                <a:lnTo>
                  <a:pt x="155" y="1611"/>
                </a:lnTo>
                <a:lnTo>
                  <a:pt x="129" y="1612"/>
                </a:lnTo>
                <a:lnTo>
                  <a:pt x="113" y="1612"/>
                </a:lnTo>
                <a:lnTo>
                  <a:pt x="102" y="1612"/>
                </a:lnTo>
                <a:lnTo>
                  <a:pt x="98" y="1612"/>
                </a:lnTo>
                <a:lnTo>
                  <a:pt x="64" y="1611"/>
                </a:lnTo>
                <a:lnTo>
                  <a:pt x="38" y="1605"/>
                </a:lnTo>
                <a:lnTo>
                  <a:pt x="20" y="1594"/>
                </a:lnTo>
                <a:lnTo>
                  <a:pt x="7" y="1580"/>
                </a:lnTo>
                <a:lnTo>
                  <a:pt x="2" y="1563"/>
                </a:lnTo>
                <a:lnTo>
                  <a:pt x="0" y="1543"/>
                </a:lnTo>
                <a:lnTo>
                  <a:pt x="7" y="496"/>
                </a:lnTo>
                <a:lnTo>
                  <a:pt x="7" y="477"/>
                </a:lnTo>
                <a:lnTo>
                  <a:pt x="9" y="461"/>
                </a:lnTo>
                <a:lnTo>
                  <a:pt x="14" y="445"/>
                </a:lnTo>
                <a:lnTo>
                  <a:pt x="24" y="430"/>
                </a:lnTo>
                <a:lnTo>
                  <a:pt x="38" y="419"/>
                </a:lnTo>
                <a:lnTo>
                  <a:pt x="58" y="412"/>
                </a:lnTo>
                <a:lnTo>
                  <a:pt x="87" y="408"/>
                </a:lnTo>
                <a:lnTo>
                  <a:pt x="151" y="403"/>
                </a:lnTo>
                <a:lnTo>
                  <a:pt x="202" y="399"/>
                </a:lnTo>
                <a:lnTo>
                  <a:pt x="246" y="392"/>
                </a:lnTo>
                <a:lnTo>
                  <a:pt x="277" y="386"/>
                </a:lnTo>
                <a:lnTo>
                  <a:pt x="299" y="381"/>
                </a:lnTo>
                <a:lnTo>
                  <a:pt x="313" y="377"/>
                </a:lnTo>
                <a:lnTo>
                  <a:pt x="317" y="377"/>
                </a:lnTo>
                <a:lnTo>
                  <a:pt x="341" y="368"/>
                </a:lnTo>
                <a:lnTo>
                  <a:pt x="366" y="355"/>
                </a:lnTo>
                <a:lnTo>
                  <a:pt x="392" y="337"/>
                </a:lnTo>
                <a:lnTo>
                  <a:pt x="415" y="312"/>
                </a:lnTo>
                <a:lnTo>
                  <a:pt x="435" y="282"/>
                </a:lnTo>
                <a:lnTo>
                  <a:pt x="448" y="246"/>
                </a:lnTo>
                <a:lnTo>
                  <a:pt x="483" y="89"/>
                </a:lnTo>
                <a:lnTo>
                  <a:pt x="492" y="68"/>
                </a:lnTo>
                <a:lnTo>
                  <a:pt x="506" y="51"/>
                </a:lnTo>
                <a:lnTo>
                  <a:pt x="525" y="46"/>
                </a:lnTo>
                <a:lnTo>
                  <a:pt x="545" y="46"/>
                </a:lnTo>
                <a:lnTo>
                  <a:pt x="566" y="57"/>
                </a:lnTo>
                <a:lnTo>
                  <a:pt x="730" y="168"/>
                </a:lnTo>
                <a:lnTo>
                  <a:pt x="767" y="180"/>
                </a:lnTo>
                <a:lnTo>
                  <a:pt x="803" y="182"/>
                </a:lnTo>
                <a:lnTo>
                  <a:pt x="840" y="173"/>
                </a:lnTo>
                <a:lnTo>
                  <a:pt x="876" y="159"/>
                </a:lnTo>
                <a:lnTo>
                  <a:pt x="913" y="137"/>
                </a:lnTo>
                <a:lnTo>
                  <a:pt x="947" y="109"/>
                </a:lnTo>
                <a:lnTo>
                  <a:pt x="984" y="82"/>
                </a:lnTo>
                <a:lnTo>
                  <a:pt x="1016" y="51"/>
                </a:lnTo>
                <a:lnTo>
                  <a:pt x="1051" y="24"/>
                </a:lnTo>
                <a:lnTo>
                  <a:pt x="1071" y="9"/>
                </a:lnTo>
                <a:lnTo>
                  <a:pt x="1093" y="2"/>
                </a:lnTo>
                <a:lnTo>
                  <a:pt x="1115" y="0"/>
                </a:lnTo>
                <a:close/>
              </a:path>
            </a:pathLst>
          </a:custGeom>
          <a:solidFill>
            <a:srgbClr val="3F3F3F"/>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23" name="Freeform 10">
            <a:extLst>
              <a:ext uri="{FF2B5EF4-FFF2-40B4-BE49-F238E27FC236}">
                <a16:creationId xmlns:a16="http://schemas.microsoft.com/office/drawing/2014/main" id="{35967A61-8AD6-3881-ECDA-ABF16AE50EAE}"/>
              </a:ext>
            </a:extLst>
          </p:cNvPr>
          <p:cNvSpPr>
            <a:spLocks/>
          </p:cNvSpPr>
          <p:nvPr/>
        </p:nvSpPr>
        <p:spPr bwMode="auto">
          <a:xfrm>
            <a:off x="5070297" y="4537592"/>
            <a:ext cx="1400581" cy="1142393"/>
          </a:xfrm>
          <a:custGeom>
            <a:avLst/>
            <a:gdLst>
              <a:gd name="T0" fmla="*/ 843 w 1929"/>
              <a:gd name="T1" fmla="*/ 2 h 1631"/>
              <a:gd name="T2" fmla="*/ 885 w 1929"/>
              <a:gd name="T3" fmla="*/ 30 h 1631"/>
              <a:gd name="T4" fmla="*/ 965 w 1929"/>
              <a:gd name="T5" fmla="*/ 97 h 1631"/>
              <a:gd name="T6" fmla="*/ 1024 w 1929"/>
              <a:gd name="T7" fmla="*/ 141 h 1631"/>
              <a:gd name="T8" fmla="*/ 1058 w 1929"/>
              <a:gd name="T9" fmla="*/ 164 h 1631"/>
              <a:gd name="T10" fmla="*/ 1071 w 1929"/>
              <a:gd name="T11" fmla="*/ 170 h 1631"/>
              <a:gd name="T12" fmla="*/ 1120 w 1929"/>
              <a:gd name="T13" fmla="*/ 190 h 1631"/>
              <a:gd name="T14" fmla="*/ 1186 w 1929"/>
              <a:gd name="T15" fmla="*/ 195 h 1631"/>
              <a:gd name="T16" fmla="*/ 1255 w 1929"/>
              <a:gd name="T17" fmla="*/ 172 h 1631"/>
              <a:gd name="T18" fmla="*/ 1413 w 1929"/>
              <a:gd name="T19" fmla="*/ 75 h 1631"/>
              <a:gd name="T20" fmla="*/ 1452 w 1929"/>
              <a:gd name="T21" fmla="*/ 82 h 1631"/>
              <a:gd name="T22" fmla="*/ 1474 w 1929"/>
              <a:gd name="T23" fmla="*/ 121 h 1631"/>
              <a:gd name="T24" fmla="*/ 1525 w 1929"/>
              <a:gd name="T25" fmla="*/ 345 h 1631"/>
              <a:gd name="T26" fmla="*/ 1566 w 1929"/>
              <a:gd name="T27" fmla="*/ 387 h 1631"/>
              <a:gd name="T28" fmla="*/ 1625 w 1929"/>
              <a:gd name="T29" fmla="*/ 412 h 1631"/>
              <a:gd name="T30" fmla="*/ 1694 w 1929"/>
              <a:gd name="T31" fmla="*/ 427 h 1631"/>
              <a:gd name="T32" fmla="*/ 1767 w 1929"/>
              <a:gd name="T33" fmla="*/ 434 h 1631"/>
              <a:gd name="T34" fmla="*/ 1840 w 1929"/>
              <a:gd name="T35" fmla="*/ 440 h 1631"/>
              <a:gd name="T36" fmla="*/ 1885 w 1929"/>
              <a:gd name="T37" fmla="*/ 454 h 1631"/>
              <a:gd name="T38" fmla="*/ 1913 w 1929"/>
              <a:gd name="T39" fmla="*/ 489 h 1631"/>
              <a:gd name="T40" fmla="*/ 1929 w 1929"/>
              <a:gd name="T41" fmla="*/ 1560 h 1631"/>
              <a:gd name="T42" fmla="*/ 1924 w 1929"/>
              <a:gd name="T43" fmla="*/ 1595 h 1631"/>
              <a:gd name="T44" fmla="*/ 1900 w 1929"/>
              <a:gd name="T45" fmla="*/ 1618 h 1631"/>
              <a:gd name="T46" fmla="*/ 1854 w 1929"/>
              <a:gd name="T47" fmla="*/ 1631 h 1631"/>
              <a:gd name="T48" fmla="*/ 1814 w 1929"/>
              <a:gd name="T49" fmla="*/ 1631 h 1631"/>
              <a:gd name="T50" fmla="*/ 1761 w 1929"/>
              <a:gd name="T51" fmla="*/ 1627 h 1631"/>
              <a:gd name="T52" fmla="*/ 1665 w 1929"/>
              <a:gd name="T53" fmla="*/ 1620 h 1631"/>
              <a:gd name="T54" fmla="*/ 1530 w 1929"/>
              <a:gd name="T55" fmla="*/ 1602 h 1631"/>
              <a:gd name="T56" fmla="*/ 1368 w 1929"/>
              <a:gd name="T57" fmla="*/ 1569 h 1631"/>
              <a:gd name="T58" fmla="*/ 1184 w 1929"/>
              <a:gd name="T59" fmla="*/ 1520 h 1631"/>
              <a:gd name="T60" fmla="*/ 987 w 1929"/>
              <a:gd name="T61" fmla="*/ 1451 h 1631"/>
              <a:gd name="T62" fmla="*/ 763 w 1929"/>
              <a:gd name="T63" fmla="*/ 1350 h 1631"/>
              <a:gd name="T64" fmla="*/ 554 w 1929"/>
              <a:gd name="T65" fmla="*/ 1241 h 1631"/>
              <a:gd name="T66" fmla="*/ 384 w 1929"/>
              <a:gd name="T67" fmla="*/ 1143 h 1631"/>
              <a:gd name="T68" fmla="*/ 253 w 1929"/>
              <a:gd name="T69" fmla="*/ 1057 h 1631"/>
              <a:gd name="T70" fmla="*/ 155 w 1929"/>
              <a:gd name="T71" fmla="*/ 988 h 1631"/>
              <a:gd name="T72" fmla="*/ 89 w 1929"/>
              <a:gd name="T73" fmla="*/ 935 h 1631"/>
              <a:gd name="T74" fmla="*/ 53 w 1929"/>
              <a:gd name="T75" fmla="*/ 902 h 1631"/>
              <a:gd name="T76" fmla="*/ 42 w 1929"/>
              <a:gd name="T77" fmla="*/ 890 h 1631"/>
              <a:gd name="T78" fmla="*/ 5 w 1929"/>
              <a:gd name="T79" fmla="*/ 842 h 1631"/>
              <a:gd name="T80" fmla="*/ 2 w 1929"/>
              <a:gd name="T81" fmla="*/ 804 h 1631"/>
              <a:gd name="T82" fmla="*/ 22 w 1929"/>
              <a:gd name="T83" fmla="*/ 771 h 1631"/>
              <a:gd name="T84" fmla="*/ 779 w 1929"/>
              <a:gd name="T85" fmla="*/ 22 h 1631"/>
              <a:gd name="T86" fmla="*/ 809 w 1929"/>
              <a:gd name="T87" fmla="*/ 4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9" h="1631">
                <a:moveTo>
                  <a:pt x="825" y="0"/>
                </a:moveTo>
                <a:lnTo>
                  <a:pt x="843" y="2"/>
                </a:lnTo>
                <a:lnTo>
                  <a:pt x="863" y="11"/>
                </a:lnTo>
                <a:lnTo>
                  <a:pt x="885" y="30"/>
                </a:lnTo>
                <a:lnTo>
                  <a:pt x="927" y="66"/>
                </a:lnTo>
                <a:lnTo>
                  <a:pt x="965" y="97"/>
                </a:lnTo>
                <a:lnTo>
                  <a:pt x="996" y="123"/>
                </a:lnTo>
                <a:lnTo>
                  <a:pt x="1024" y="141"/>
                </a:lnTo>
                <a:lnTo>
                  <a:pt x="1044" y="155"/>
                </a:lnTo>
                <a:lnTo>
                  <a:pt x="1058" y="164"/>
                </a:lnTo>
                <a:lnTo>
                  <a:pt x="1067" y="168"/>
                </a:lnTo>
                <a:lnTo>
                  <a:pt x="1071" y="170"/>
                </a:lnTo>
                <a:lnTo>
                  <a:pt x="1093" y="181"/>
                </a:lnTo>
                <a:lnTo>
                  <a:pt x="1120" y="190"/>
                </a:lnTo>
                <a:lnTo>
                  <a:pt x="1151" y="195"/>
                </a:lnTo>
                <a:lnTo>
                  <a:pt x="1186" y="195"/>
                </a:lnTo>
                <a:lnTo>
                  <a:pt x="1220" y="188"/>
                </a:lnTo>
                <a:lnTo>
                  <a:pt x="1255" y="172"/>
                </a:lnTo>
                <a:lnTo>
                  <a:pt x="1392" y="84"/>
                </a:lnTo>
                <a:lnTo>
                  <a:pt x="1413" y="75"/>
                </a:lnTo>
                <a:lnTo>
                  <a:pt x="1433" y="75"/>
                </a:lnTo>
                <a:lnTo>
                  <a:pt x="1452" y="82"/>
                </a:lnTo>
                <a:lnTo>
                  <a:pt x="1464" y="97"/>
                </a:lnTo>
                <a:lnTo>
                  <a:pt x="1474" y="121"/>
                </a:lnTo>
                <a:lnTo>
                  <a:pt x="1510" y="316"/>
                </a:lnTo>
                <a:lnTo>
                  <a:pt x="1525" y="345"/>
                </a:lnTo>
                <a:lnTo>
                  <a:pt x="1543" y="368"/>
                </a:lnTo>
                <a:lnTo>
                  <a:pt x="1566" y="387"/>
                </a:lnTo>
                <a:lnTo>
                  <a:pt x="1594" y="401"/>
                </a:lnTo>
                <a:lnTo>
                  <a:pt x="1625" y="412"/>
                </a:lnTo>
                <a:lnTo>
                  <a:pt x="1658" y="421"/>
                </a:lnTo>
                <a:lnTo>
                  <a:pt x="1694" y="427"/>
                </a:lnTo>
                <a:lnTo>
                  <a:pt x="1730" y="430"/>
                </a:lnTo>
                <a:lnTo>
                  <a:pt x="1767" y="434"/>
                </a:lnTo>
                <a:lnTo>
                  <a:pt x="1803" y="436"/>
                </a:lnTo>
                <a:lnTo>
                  <a:pt x="1840" y="440"/>
                </a:lnTo>
                <a:lnTo>
                  <a:pt x="1863" y="443"/>
                </a:lnTo>
                <a:lnTo>
                  <a:pt x="1885" y="454"/>
                </a:lnTo>
                <a:lnTo>
                  <a:pt x="1902" y="469"/>
                </a:lnTo>
                <a:lnTo>
                  <a:pt x="1913" y="489"/>
                </a:lnTo>
                <a:lnTo>
                  <a:pt x="1916" y="512"/>
                </a:lnTo>
                <a:lnTo>
                  <a:pt x="1929" y="1560"/>
                </a:lnTo>
                <a:lnTo>
                  <a:pt x="1929" y="1578"/>
                </a:lnTo>
                <a:lnTo>
                  <a:pt x="1924" y="1595"/>
                </a:lnTo>
                <a:lnTo>
                  <a:pt x="1914" y="1607"/>
                </a:lnTo>
                <a:lnTo>
                  <a:pt x="1900" y="1618"/>
                </a:lnTo>
                <a:lnTo>
                  <a:pt x="1880" y="1626"/>
                </a:lnTo>
                <a:lnTo>
                  <a:pt x="1854" y="1631"/>
                </a:lnTo>
                <a:lnTo>
                  <a:pt x="1822" y="1631"/>
                </a:lnTo>
                <a:lnTo>
                  <a:pt x="1814" y="1631"/>
                </a:lnTo>
                <a:lnTo>
                  <a:pt x="1794" y="1629"/>
                </a:lnTo>
                <a:lnTo>
                  <a:pt x="1761" y="1627"/>
                </a:lnTo>
                <a:lnTo>
                  <a:pt x="1718" y="1626"/>
                </a:lnTo>
                <a:lnTo>
                  <a:pt x="1665" y="1620"/>
                </a:lnTo>
                <a:lnTo>
                  <a:pt x="1601" y="1611"/>
                </a:lnTo>
                <a:lnTo>
                  <a:pt x="1530" y="1602"/>
                </a:lnTo>
                <a:lnTo>
                  <a:pt x="1452" y="1587"/>
                </a:lnTo>
                <a:lnTo>
                  <a:pt x="1368" y="1569"/>
                </a:lnTo>
                <a:lnTo>
                  <a:pt x="1279" y="1547"/>
                </a:lnTo>
                <a:lnTo>
                  <a:pt x="1184" y="1520"/>
                </a:lnTo>
                <a:lnTo>
                  <a:pt x="1086" y="1489"/>
                </a:lnTo>
                <a:lnTo>
                  <a:pt x="987" y="1451"/>
                </a:lnTo>
                <a:lnTo>
                  <a:pt x="885" y="1407"/>
                </a:lnTo>
                <a:lnTo>
                  <a:pt x="763" y="1350"/>
                </a:lnTo>
                <a:lnTo>
                  <a:pt x="654" y="1294"/>
                </a:lnTo>
                <a:lnTo>
                  <a:pt x="554" y="1241"/>
                </a:lnTo>
                <a:lnTo>
                  <a:pt x="464" y="1190"/>
                </a:lnTo>
                <a:lnTo>
                  <a:pt x="384" y="1143"/>
                </a:lnTo>
                <a:lnTo>
                  <a:pt x="313" y="1099"/>
                </a:lnTo>
                <a:lnTo>
                  <a:pt x="253" y="1057"/>
                </a:lnTo>
                <a:lnTo>
                  <a:pt x="200" y="1021"/>
                </a:lnTo>
                <a:lnTo>
                  <a:pt x="155" y="988"/>
                </a:lnTo>
                <a:lnTo>
                  <a:pt x="118" y="959"/>
                </a:lnTo>
                <a:lnTo>
                  <a:pt x="89" y="935"/>
                </a:lnTo>
                <a:lnTo>
                  <a:pt x="67" y="915"/>
                </a:lnTo>
                <a:lnTo>
                  <a:pt x="53" y="902"/>
                </a:lnTo>
                <a:lnTo>
                  <a:pt x="43" y="893"/>
                </a:lnTo>
                <a:lnTo>
                  <a:pt x="42" y="890"/>
                </a:lnTo>
                <a:lnTo>
                  <a:pt x="20" y="864"/>
                </a:lnTo>
                <a:lnTo>
                  <a:pt x="5" y="842"/>
                </a:lnTo>
                <a:lnTo>
                  <a:pt x="0" y="822"/>
                </a:lnTo>
                <a:lnTo>
                  <a:pt x="2" y="804"/>
                </a:lnTo>
                <a:lnTo>
                  <a:pt x="9" y="787"/>
                </a:lnTo>
                <a:lnTo>
                  <a:pt x="22" y="771"/>
                </a:lnTo>
                <a:lnTo>
                  <a:pt x="767" y="35"/>
                </a:lnTo>
                <a:lnTo>
                  <a:pt x="779" y="22"/>
                </a:lnTo>
                <a:lnTo>
                  <a:pt x="794" y="11"/>
                </a:lnTo>
                <a:lnTo>
                  <a:pt x="809" y="4"/>
                </a:lnTo>
                <a:lnTo>
                  <a:pt x="825" y="0"/>
                </a:lnTo>
                <a:close/>
              </a:path>
            </a:pathLst>
          </a:custGeom>
          <a:solidFill>
            <a:srgbClr val="C00000"/>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25" name="Freeform 11">
            <a:extLst>
              <a:ext uri="{FF2B5EF4-FFF2-40B4-BE49-F238E27FC236}">
                <a16:creationId xmlns:a16="http://schemas.microsoft.com/office/drawing/2014/main" id="{F5E0C5D8-1584-CC94-405F-4CD1CB21400F}"/>
              </a:ext>
            </a:extLst>
          </p:cNvPr>
          <p:cNvSpPr>
            <a:spLocks/>
          </p:cNvSpPr>
          <p:nvPr/>
        </p:nvSpPr>
        <p:spPr bwMode="auto">
          <a:xfrm>
            <a:off x="4359122" y="3655916"/>
            <a:ext cx="1171263" cy="1352650"/>
          </a:xfrm>
          <a:custGeom>
            <a:avLst/>
            <a:gdLst>
              <a:gd name="T0" fmla="*/ 1116 w 1614"/>
              <a:gd name="T1" fmla="*/ 6 h 1930"/>
              <a:gd name="T2" fmla="*/ 1153 w 1614"/>
              <a:gd name="T3" fmla="*/ 10 h 1930"/>
              <a:gd name="T4" fmla="*/ 1182 w 1614"/>
              <a:gd name="T5" fmla="*/ 22 h 1930"/>
              <a:gd name="T6" fmla="*/ 1202 w 1614"/>
              <a:gd name="T7" fmla="*/ 59 h 1930"/>
              <a:gd name="T8" fmla="*/ 1209 w 1614"/>
              <a:gd name="T9" fmla="*/ 150 h 1930"/>
              <a:gd name="T10" fmla="*/ 1220 w 1614"/>
              <a:gd name="T11" fmla="*/ 245 h 1930"/>
              <a:gd name="T12" fmla="*/ 1231 w 1614"/>
              <a:gd name="T13" fmla="*/ 299 h 1930"/>
              <a:gd name="T14" fmla="*/ 1237 w 1614"/>
              <a:gd name="T15" fmla="*/ 316 h 1930"/>
              <a:gd name="T16" fmla="*/ 1257 w 1614"/>
              <a:gd name="T17" fmla="*/ 365 h 1930"/>
              <a:gd name="T18" fmla="*/ 1300 w 1614"/>
              <a:gd name="T19" fmla="*/ 416 h 1930"/>
              <a:gd name="T20" fmla="*/ 1366 w 1614"/>
              <a:gd name="T21" fmla="*/ 449 h 1930"/>
              <a:gd name="T22" fmla="*/ 1546 w 1614"/>
              <a:gd name="T23" fmla="*/ 490 h 1930"/>
              <a:gd name="T24" fmla="*/ 1568 w 1614"/>
              <a:gd name="T25" fmla="*/ 523 h 1930"/>
              <a:gd name="T26" fmla="*/ 1557 w 1614"/>
              <a:gd name="T27" fmla="*/ 565 h 1930"/>
              <a:gd name="T28" fmla="*/ 1433 w 1614"/>
              <a:gd name="T29" fmla="*/ 767 h 1930"/>
              <a:gd name="T30" fmla="*/ 1439 w 1614"/>
              <a:gd name="T31" fmla="*/ 840 h 1930"/>
              <a:gd name="T32" fmla="*/ 1477 w 1614"/>
              <a:gd name="T33" fmla="*/ 911 h 1930"/>
              <a:gd name="T34" fmla="*/ 1532 w 1614"/>
              <a:gd name="T35" fmla="*/ 982 h 1930"/>
              <a:gd name="T36" fmla="*/ 1590 w 1614"/>
              <a:gd name="T37" fmla="*/ 1050 h 1930"/>
              <a:gd name="T38" fmla="*/ 1612 w 1614"/>
              <a:gd name="T39" fmla="*/ 1092 h 1930"/>
              <a:gd name="T40" fmla="*/ 1606 w 1614"/>
              <a:gd name="T41" fmla="*/ 1137 h 1930"/>
              <a:gd name="T42" fmla="*/ 861 w 1614"/>
              <a:gd name="T43" fmla="*/ 1906 h 1930"/>
              <a:gd name="T44" fmla="*/ 834 w 1614"/>
              <a:gd name="T45" fmla="*/ 1926 h 1930"/>
              <a:gd name="T46" fmla="*/ 799 w 1614"/>
              <a:gd name="T47" fmla="*/ 1928 h 1930"/>
              <a:gd name="T48" fmla="*/ 759 w 1614"/>
              <a:gd name="T49" fmla="*/ 1902 h 1930"/>
              <a:gd name="T50" fmla="*/ 732 w 1614"/>
              <a:gd name="T51" fmla="*/ 1877 h 1930"/>
              <a:gd name="T52" fmla="*/ 706 w 1614"/>
              <a:gd name="T53" fmla="*/ 1850 h 1930"/>
              <a:gd name="T54" fmla="*/ 663 w 1614"/>
              <a:gd name="T55" fmla="*/ 1799 h 1930"/>
              <a:gd name="T56" fmla="*/ 603 w 1614"/>
              <a:gd name="T57" fmla="*/ 1724 h 1930"/>
              <a:gd name="T58" fmla="*/ 532 w 1614"/>
              <a:gd name="T59" fmla="*/ 1627 h 1930"/>
              <a:gd name="T60" fmla="*/ 455 w 1614"/>
              <a:gd name="T61" fmla="*/ 1513 h 1930"/>
              <a:gd name="T62" fmla="*/ 377 w 1614"/>
              <a:gd name="T63" fmla="*/ 1378 h 1930"/>
              <a:gd name="T64" fmla="*/ 300 w 1614"/>
              <a:gd name="T65" fmla="*/ 1227 h 1930"/>
              <a:gd name="T66" fmla="*/ 231 w 1614"/>
              <a:gd name="T67" fmla="*/ 1061 h 1930"/>
              <a:gd name="T68" fmla="*/ 151 w 1614"/>
              <a:gd name="T69" fmla="*/ 831 h 1930"/>
              <a:gd name="T70" fmla="*/ 92 w 1614"/>
              <a:gd name="T71" fmla="*/ 633 h 1930"/>
              <a:gd name="T72" fmla="*/ 51 w 1614"/>
              <a:gd name="T73" fmla="*/ 467 h 1930"/>
              <a:gd name="T74" fmla="*/ 25 w 1614"/>
              <a:gd name="T75" fmla="*/ 332 h 1930"/>
              <a:gd name="T76" fmla="*/ 9 w 1614"/>
              <a:gd name="T77" fmla="*/ 230 h 1930"/>
              <a:gd name="T78" fmla="*/ 1 w 1614"/>
              <a:gd name="T79" fmla="*/ 155 h 1930"/>
              <a:gd name="T80" fmla="*/ 0 w 1614"/>
              <a:gd name="T81" fmla="*/ 112 h 1930"/>
              <a:gd name="T82" fmla="*/ 0 w 1614"/>
              <a:gd name="T83" fmla="*/ 99 h 1930"/>
              <a:gd name="T84" fmla="*/ 9 w 1614"/>
              <a:gd name="T85" fmla="*/ 39 h 1930"/>
              <a:gd name="T86" fmla="*/ 32 w 1614"/>
              <a:gd name="T87" fmla="*/ 8 h 1930"/>
              <a:gd name="T88" fmla="*/ 71 w 1614"/>
              <a:gd name="T89" fmla="*/ 0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14" h="1930">
                <a:moveTo>
                  <a:pt x="71" y="0"/>
                </a:moveTo>
                <a:lnTo>
                  <a:pt x="1116" y="6"/>
                </a:lnTo>
                <a:lnTo>
                  <a:pt x="1135" y="8"/>
                </a:lnTo>
                <a:lnTo>
                  <a:pt x="1153" y="10"/>
                </a:lnTo>
                <a:lnTo>
                  <a:pt x="1169" y="13"/>
                </a:lnTo>
                <a:lnTo>
                  <a:pt x="1182" y="22"/>
                </a:lnTo>
                <a:lnTo>
                  <a:pt x="1193" y="37"/>
                </a:lnTo>
                <a:lnTo>
                  <a:pt x="1202" y="59"/>
                </a:lnTo>
                <a:lnTo>
                  <a:pt x="1206" y="86"/>
                </a:lnTo>
                <a:lnTo>
                  <a:pt x="1209" y="150"/>
                </a:lnTo>
                <a:lnTo>
                  <a:pt x="1215" y="203"/>
                </a:lnTo>
                <a:lnTo>
                  <a:pt x="1220" y="245"/>
                </a:lnTo>
                <a:lnTo>
                  <a:pt x="1226" y="277"/>
                </a:lnTo>
                <a:lnTo>
                  <a:pt x="1231" y="299"/>
                </a:lnTo>
                <a:lnTo>
                  <a:pt x="1235" y="312"/>
                </a:lnTo>
                <a:lnTo>
                  <a:pt x="1237" y="316"/>
                </a:lnTo>
                <a:lnTo>
                  <a:pt x="1244" y="339"/>
                </a:lnTo>
                <a:lnTo>
                  <a:pt x="1257" y="365"/>
                </a:lnTo>
                <a:lnTo>
                  <a:pt x="1277" y="392"/>
                </a:lnTo>
                <a:lnTo>
                  <a:pt x="1300" y="416"/>
                </a:lnTo>
                <a:lnTo>
                  <a:pt x="1331" y="436"/>
                </a:lnTo>
                <a:lnTo>
                  <a:pt x="1366" y="449"/>
                </a:lnTo>
                <a:lnTo>
                  <a:pt x="1524" y="483"/>
                </a:lnTo>
                <a:lnTo>
                  <a:pt x="1546" y="490"/>
                </a:lnTo>
                <a:lnTo>
                  <a:pt x="1561" y="505"/>
                </a:lnTo>
                <a:lnTo>
                  <a:pt x="1568" y="523"/>
                </a:lnTo>
                <a:lnTo>
                  <a:pt x="1566" y="543"/>
                </a:lnTo>
                <a:lnTo>
                  <a:pt x="1557" y="565"/>
                </a:lnTo>
                <a:lnTo>
                  <a:pt x="1444" y="729"/>
                </a:lnTo>
                <a:lnTo>
                  <a:pt x="1433" y="767"/>
                </a:lnTo>
                <a:lnTo>
                  <a:pt x="1432" y="804"/>
                </a:lnTo>
                <a:lnTo>
                  <a:pt x="1439" y="840"/>
                </a:lnTo>
                <a:lnTo>
                  <a:pt x="1455" y="877"/>
                </a:lnTo>
                <a:lnTo>
                  <a:pt x="1477" y="911"/>
                </a:lnTo>
                <a:lnTo>
                  <a:pt x="1503" y="948"/>
                </a:lnTo>
                <a:lnTo>
                  <a:pt x="1532" y="982"/>
                </a:lnTo>
                <a:lnTo>
                  <a:pt x="1561" y="1017"/>
                </a:lnTo>
                <a:lnTo>
                  <a:pt x="1590" y="1050"/>
                </a:lnTo>
                <a:lnTo>
                  <a:pt x="1605" y="1070"/>
                </a:lnTo>
                <a:lnTo>
                  <a:pt x="1612" y="1092"/>
                </a:lnTo>
                <a:lnTo>
                  <a:pt x="1614" y="1115"/>
                </a:lnTo>
                <a:lnTo>
                  <a:pt x="1606" y="1137"/>
                </a:lnTo>
                <a:lnTo>
                  <a:pt x="1594" y="1157"/>
                </a:lnTo>
                <a:lnTo>
                  <a:pt x="861" y="1906"/>
                </a:lnTo>
                <a:lnTo>
                  <a:pt x="849" y="1919"/>
                </a:lnTo>
                <a:lnTo>
                  <a:pt x="834" y="1926"/>
                </a:lnTo>
                <a:lnTo>
                  <a:pt x="818" y="1930"/>
                </a:lnTo>
                <a:lnTo>
                  <a:pt x="799" y="1928"/>
                </a:lnTo>
                <a:lnTo>
                  <a:pt x="781" y="1919"/>
                </a:lnTo>
                <a:lnTo>
                  <a:pt x="759" y="1902"/>
                </a:lnTo>
                <a:lnTo>
                  <a:pt x="736" y="1881"/>
                </a:lnTo>
                <a:lnTo>
                  <a:pt x="732" y="1877"/>
                </a:lnTo>
                <a:lnTo>
                  <a:pt x="723" y="1866"/>
                </a:lnTo>
                <a:lnTo>
                  <a:pt x="706" y="1850"/>
                </a:lnTo>
                <a:lnTo>
                  <a:pt x="686" y="1828"/>
                </a:lnTo>
                <a:lnTo>
                  <a:pt x="663" y="1799"/>
                </a:lnTo>
                <a:lnTo>
                  <a:pt x="634" y="1764"/>
                </a:lnTo>
                <a:lnTo>
                  <a:pt x="603" y="1724"/>
                </a:lnTo>
                <a:lnTo>
                  <a:pt x="568" y="1678"/>
                </a:lnTo>
                <a:lnTo>
                  <a:pt x="532" y="1627"/>
                </a:lnTo>
                <a:lnTo>
                  <a:pt x="493" y="1573"/>
                </a:lnTo>
                <a:lnTo>
                  <a:pt x="455" y="1513"/>
                </a:lnTo>
                <a:lnTo>
                  <a:pt x="415" y="1447"/>
                </a:lnTo>
                <a:lnTo>
                  <a:pt x="377" y="1378"/>
                </a:lnTo>
                <a:lnTo>
                  <a:pt x="337" y="1303"/>
                </a:lnTo>
                <a:lnTo>
                  <a:pt x="300" y="1227"/>
                </a:lnTo>
                <a:lnTo>
                  <a:pt x="264" y="1146"/>
                </a:lnTo>
                <a:lnTo>
                  <a:pt x="231" y="1061"/>
                </a:lnTo>
                <a:lnTo>
                  <a:pt x="189" y="942"/>
                </a:lnTo>
                <a:lnTo>
                  <a:pt x="151" y="831"/>
                </a:lnTo>
                <a:lnTo>
                  <a:pt x="120" y="727"/>
                </a:lnTo>
                <a:lnTo>
                  <a:pt x="92" y="633"/>
                </a:lnTo>
                <a:lnTo>
                  <a:pt x="71" y="547"/>
                </a:lnTo>
                <a:lnTo>
                  <a:pt x="51" y="467"/>
                </a:lnTo>
                <a:lnTo>
                  <a:pt x="36" y="396"/>
                </a:lnTo>
                <a:lnTo>
                  <a:pt x="25" y="332"/>
                </a:lnTo>
                <a:lnTo>
                  <a:pt x="16" y="277"/>
                </a:lnTo>
                <a:lnTo>
                  <a:pt x="9" y="230"/>
                </a:lnTo>
                <a:lnTo>
                  <a:pt x="5" y="188"/>
                </a:lnTo>
                <a:lnTo>
                  <a:pt x="1" y="155"/>
                </a:lnTo>
                <a:lnTo>
                  <a:pt x="0" y="130"/>
                </a:lnTo>
                <a:lnTo>
                  <a:pt x="0" y="112"/>
                </a:lnTo>
                <a:lnTo>
                  <a:pt x="0" y="101"/>
                </a:lnTo>
                <a:lnTo>
                  <a:pt x="0" y="99"/>
                </a:lnTo>
                <a:lnTo>
                  <a:pt x="1" y="64"/>
                </a:lnTo>
                <a:lnTo>
                  <a:pt x="9" y="39"/>
                </a:lnTo>
                <a:lnTo>
                  <a:pt x="18" y="20"/>
                </a:lnTo>
                <a:lnTo>
                  <a:pt x="32" y="8"/>
                </a:lnTo>
                <a:lnTo>
                  <a:pt x="49" y="2"/>
                </a:lnTo>
                <a:lnTo>
                  <a:pt x="71" y="0"/>
                </a:lnTo>
                <a:close/>
              </a:path>
            </a:pathLst>
          </a:custGeom>
          <a:solidFill>
            <a:srgbClr val="3F3F3F"/>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26" name="Freeform 12">
            <a:extLst>
              <a:ext uri="{FF2B5EF4-FFF2-40B4-BE49-F238E27FC236}">
                <a16:creationId xmlns:a16="http://schemas.microsoft.com/office/drawing/2014/main" id="{AD96703A-455A-510F-2AD6-03C36EE90D0F}"/>
              </a:ext>
            </a:extLst>
          </p:cNvPr>
          <p:cNvSpPr>
            <a:spLocks/>
          </p:cNvSpPr>
          <p:nvPr/>
        </p:nvSpPr>
        <p:spPr bwMode="auto">
          <a:xfrm>
            <a:off x="4348962" y="2177115"/>
            <a:ext cx="1179972" cy="1355453"/>
          </a:xfrm>
          <a:custGeom>
            <a:avLst/>
            <a:gdLst>
              <a:gd name="T0" fmla="*/ 822 w 1627"/>
              <a:gd name="T1" fmla="*/ 2 h 1933"/>
              <a:gd name="T2" fmla="*/ 854 w 1627"/>
              <a:gd name="T3" fmla="*/ 22 h 1933"/>
              <a:gd name="T4" fmla="*/ 1605 w 1627"/>
              <a:gd name="T5" fmla="*/ 778 h 1933"/>
              <a:gd name="T6" fmla="*/ 1623 w 1627"/>
              <a:gd name="T7" fmla="*/ 807 h 1933"/>
              <a:gd name="T8" fmla="*/ 1625 w 1627"/>
              <a:gd name="T9" fmla="*/ 840 h 1933"/>
              <a:gd name="T10" fmla="*/ 1598 w 1627"/>
              <a:gd name="T11" fmla="*/ 883 h 1933"/>
              <a:gd name="T12" fmla="*/ 1530 w 1627"/>
              <a:gd name="T13" fmla="*/ 963 h 1933"/>
              <a:gd name="T14" fmla="*/ 1487 w 1627"/>
              <a:gd name="T15" fmla="*/ 1020 h 1933"/>
              <a:gd name="T16" fmla="*/ 1465 w 1627"/>
              <a:gd name="T17" fmla="*/ 1056 h 1933"/>
              <a:gd name="T18" fmla="*/ 1457 w 1627"/>
              <a:gd name="T19" fmla="*/ 1069 h 1933"/>
              <a:gd name="T20" fmla="*/ 1437 w 1627"/>
              <a:gd name="T21" fmla="*/ 1118 h 1933"/>
              <a:gd name="T22" fmla="*/ 1434 w 1627"/>
              <a:gd name="T23" fmla="*/ 1184 h 1933"/>
              <a:gd name="T24" fmla="*/ 1457 w 1627"/>
              <a:gd name="T25" fmla="*/ 1253 h 1933"/>
              <a:gd name="T26" fmla="*/ 1554 w 1627"/>
              <a:gd name="T27" fmla="*/ 1410 h 1933"/>
              <a:gd name="T28" fmla="*/ 1549 w 1627"/>
              <a:gd name="T29" fmla="*/ 1448 h 1933"/>
              <a:gd name="T30" fmla="*/ 1510 w 1627"/>
              <a:gd name="T31" fmla="*/ 1472 h 1933"/>
              <a:gd name="T32" fmla="*/ 1286 w 1627"/>
              <a:gd name="T33" fmla="*/ 1523 h 1933"/>
              <a:gd name="T34" fmla="*/ 1244 w 1627"/>
              <a:gd name="T35" fmla="*/ 1565 h 1933"/>
              <a:gd name="T36" fmla="*/ 1217 w 1627"/>
              <a:gd name="T37" fmla="*/ 1623 h 1933"/>
              <a:gd name="T38" fmla="*/ 1204 w 1627"/>
              <a:gd name="T39" fmla="*/ 1692 h 1933"/>
              <a:gd name="T40" fmla="*/ 1197 w 1627"/>
              <a:gd name="T41" fmla="*/ 1765 h 1933"/>
              <a:gd name="T42" fmla="*/ 1191 w 1627"/>
              <a:gd name="T43" fmla="*/ 1838 h 1933"/>
              <a:gd name="T44" fmla="*/ 1177 w 1627"/>
              <a:gd name="T45" fmla="*/ 1884 h 1933"/>
              <a:gd name="T46" fmla="*/ 1142 w 1627"/>
              <a:gd name="T47" fmla="*/ 1911 h 1933"/>
              <a:gd name="T48" fmla="*/ 71 w 1627"/>
              <a:gd name="T49" fmla="*/ 1933 h 1933"/>
              <a:gd name="T50" fmla="*/ 38 w 1627"/>
              <a:gd name="T51" fmla="*/ 1925 h 1933"/>
              <a:gd name="T52" fmla="*/ 13 w 1627"/>
              <a:gd name="T53" fmla="*/ 1904 h 1933"/>
              <a:gd name="T54" fmla="*/ 2 w 1627"/>
              <a:gd name="T55" fmla="*/ 1858 h 1933"/>
              <a:gd name="T56" fmla="*/ 0 w 1627"/>
              <a:gd name="T57" fmla="*/ 1818 h 1933"/>
              <a:gd name="T58" fmla="*/ 2 w 1627"/>
              <a:gd name="T59" fmla="*/ 1765 h 1933"/>
              <a:gd name="T60" fmla="*/ 11 w 1627"/>
              <a:gd name="T61" fmla="*/ 1667 h 1933"/>
              <a:gd name="T62" fmla="*/ 29 w 1627"/>
              <a:gd name="T63" fmla="*/ 1534 h 1933"/>
              <a:gd name="T64" fmla="*/ 60 w 1627"/>
              <a:gd name="T65" fmla="*/ 1370 h 1933"/>
              <a:gd name="T66" fmla="*/ 107 w 1627"/>
              <a:gd name="T67" fmla="*/ 1186 h 1933"/>
              <a:gd name="T68" fmla="*/ 177 w 1627"/>
              <a:gd name="T69" fmla="*/ 989 h 1933"/>
              <a:gd name="T70" fmla="*/ 277 w 1627"/>
              <a:gd name="T71" fmla="*/ 767 h 1933"/>
              <a:gd name="T72" fmla="*/ 386 w 1627"/>
              <a:gd name="T73" fmla="*/ 555 h 1933"/>
              <a:gd name="T74" fmla="*/ 483 w 1627"/>
              <a:gd name="T75" fmla="*/ 386 h 1933"/>
              <a:gd name="T76" fmla="*/ 568 w 1627"/>
              <a:gd name="T77" fmla="*/ 253 h 1933"/>
              <a:gd name="T78" fmla="*/ 638 w 1627"/>
              <a:gd name="T79" fmla="*/ 156 h 1933"/>
              <a:gd name="T80" fmla="*/ 690 w 1627"/>
              <a:gd name="T81" fmla="*/ 91 h 1933"/>
              <a:gd name="T82" fmla="*/ 723 w 1627"/>
              <a:gd name="T83" fmla="*/ 53 h 1933"/>
              <a:gd name="T84" fmla="*/ 734 w 1627"/>
              <a:gd name="T85" fmla="*/ 42 h 1933"/>
              <a:gd name="T86" fmla="*/ 782 w 1627"/>
              <a:gd name="T87" fmla="*/ 5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27" h="1933">
                <a:moveTo>
                  <a:pt x="803" y="0"/>
                </a:moveTo>
                <a:lnTo>
                  <a:pt x="822" y="2"/>
                </a:lnTo>
                <a:lnTo>
                  <a:pt x="838" y="9"/>
                </a:lnTo>
                <a:lnTo>
                  <a:pt x="854" y="22"/>
                </a:lnTo>
                <a:lnTo>
                  <a:pt x="1592" y="763"/>
                </a:lnTo>
                <a:lnTo>
                  <a:pt x="1605" y="778"/>
                </a:lnTo>
                <a:lnTo>
                  <a:pt x="1616" y="790"/>
                </a:lnTo>
                <a:lnTo>
                  <a:pt x="1623" y="807"/>
                </a:lnTo>
                <a:lnTo>
                  <a:pt x="1627" y="823"/>
                </a:lnTo>
                <a:lnTo>
                  <a:pt x="1625" y="840"/>
                </a:lnTo>
                <a:lnTo>
                  <a:pt x="1616" y="860"/>
                </a:lnTo>
                <a:lnTo>
                  <a:pt x="1598" y="883"/>
                </a:lnTo>
                <a:lnTo>
                  <a:pt x="1561" y="925"/>
                </a:lnTo>
                <a:lnTo>
                  <a:pt x="1530" y="963"/>
                </a:lnTo>
                <a:lnTo>
                  <a:pt x="1507" y="994"/>
                </a:lnTo>
                <a:lnTo>
                  <a:pt x="1487" y="1020"/>
                </a:lnTo>
                <a:lnTo>
                  <a:pt x="1474" y="1042"/>
                </a:lnTo>
                <a:lnTo>
                  <a:pt x="1465" y="1056"/>
                </a:lnTo>
                <a:lnTo>
                  <a:pt x="1459" y="1066"/>
                </a:lnTo>
                <a:lnTo>
                  <a:pt x="1457" y="1069"/>
                </a:lnTo>
                <a:lnTo>
                  <a:pt x="1447" y="1091"/>
                </a:lnTo>
                <a:lnTo>
                  <a:pt x="1437" y="1118"/>
                </a:lnTo>
                <a:lnTo>
                  <a:pt x="1434" y="1149"/>
                </a:lnTo>
                <a:lnTo>
                  <a:pt x="1434" y="1184"/>
                </a:lnTo>
                <a:lnTo>
                  <a:pt x="1441" y="1219"/>
                </a:lnTo>
                <a:lnTo>
                  <a:pt x="1457" y="1253"/>
                </a:lnTo>
                <a:lnTo>
                  <a:pt x="1545" y="1388"/>
                </a:lnTo>
                <a:lnTo>
                  <a:pt x="1554" y="1410"/>
                </a:lnTo>
                <a:lnTo>
                  <a:pt x="1556" y="1432"/>
                </a:lnTo>
                <a:lnTo>
                  <a:pt x="1549" y="1448"/>
                </a:lnTo>
                <a:lnTo>
                  <a:pt x="1532" y="1463"/>
                </a:lnTo>
                <a:lnTo>
                  <a:pt x="1510" y="1472"/>
                </a:lnTo>
                <a:lnTo>
                  <a:pt x="1315" y="1508"/>
                </a:lnTo>
                <a:lnTo>
                  <a:pt x="1286" y="1523"/>
                </a:lnTo>
                <a:lnTo>
                  <a:pt x="1263" y="1541"/>
                </a:lnTo>
                <a:lnTo>
                  <a:pt x="1244" y="1565"/>
                </a:lnTo>
                <a:lnTo>
                  <a:pt x="1230" y="1592"/>
                </a:lnTo>
                <a:lnTo>
                  <a:pt x="1217" y="1623"/>
                </a:lnTo>
                <a:lnTo>
                  <a:pt x="1210" y="1656"/>
                </a:lnTo>
                <a:lnTo>
                  <a:pt x="1204" y="1692"/>
                </a:lnTo>
                <a:lnTo>
                  <a:pt x="1201" y="1729"/>
                </a:lnTo>
                <a:lnTo>
                  <a:pt x="1197" y="1765"/>
                </a:lnTo>
                <a:lnTo>
                  <a:pt x="1195" y="1802"/>
                </a:lnTo>
                <a:lnTo>
                  <a:pt x="1191" y="1838"/>
                </a:lnTo>
                <a:lnTo>
                  <a:pt x="1188" y="1862"/>
                </a:lnTo>
                <a:lnTo>
                  <a:pt x="1177" y="1884"/>
                </a:lnTo>
                <a:lnTo>
                  <a:pt x="1162" y="1900"/>
                </a:lnTo>
                <a:lnTo>
                  <a:pt x="1142" y="1911"/>
                </a:lnTo>
                <a:lnTo>
                  <a:pt x="1119" y="1916"/>
                </a:lnTo>
                <a:lnTo>
                  <a:pt x="71" y="1933"/>
                </a:lnTo>
                <a:lnTo>
                  <a:pt x="53" y="1931"/>
                </a:lnTo>
                <a:lnTo>
                  <a:pt x="38" y="1925"/>
                </a:lnTo>
                <a:lnTo>
                  <a:pt x="24" y="1916"/>
                </a:lnTo>
                <a:lnTo>
                  <a:pt x="13" y="1904"/>
                </a:lnTo>
                <a:lnTo>
                  <a:pt x="5" y="1884"/>
                </a:lnTo>
                <a:lnTo>
                  <a:pt x="2" y="1858"/>
                </a:lnTo>
                <a:lnTo>
                  <a:pt x="0" y="1823"/>
                </a:lnTo>
                <a:lnTo>
                  <a:pt x="0" y="1818"/>
                </a:lnTo>
                <a:lnTo>
                  <a:pt x="2" y="1796"/>
                </a:lnTo>
                <a:lnTo>
                  <a:pt x="2" y="1765"/>
                </a:lnTo>
                <a:lnTo>
                  <a:pt x="5" y="1721"/>
                </a:lnTo>
                <a:lnTo>
                  <a:pt x="11" y="1667"/>
                </a:lnTo>
                <a:lnTo>
                  <a:pt x="18" y="1605"/>
                </a:lnTo>
                <a:lnTo>
                  <a:pt x="29" y="1534"/>
                </a:lnTo>
                <a:lnTo>
                  <a:pt x="42" y="1455"/>
                </a:lnTo>
                <a:lnTo>
                  <a:pt x="60" y="1370"/>
                </a:lnTo>
                <a:lnTo>
                  <a:pt x="82" y="1280"/>
                </a:lnTo>
                <a:lnTo>
                  <a:pt x="107" y="1186"/>
                </a:lnTo>
                <a:lnTo>
                  <a:pt x="140" y="1089"/>
                </a:lnTo>
                <a:lnTo>
                  <a:pt x="177" y="989"/>
                </a:lnTo>
                <a:lnTo>
                  <a:pt x="220" y="887"/>
                </a:lnTo>
                <a:lnTo>
                  <a:pt x="277" y="767"/>
                </a:lnTo>
                <a:lnTo>
                  <a:pt x="333" y="656"/>
                </a:lnTo>
                <a:lnTo>
                  <a:pt x="386" y="555"/>
                </a:lnTo>
                <a:lnTo>
                  <a:pt x="435" y="464"/>
                </a:lnTo>
                <a:lnTo>
                  <a:pt x="483" y="386"/>
                </a:lnTo>
                <a:lnTo>
                  <a:pt x="527" y="315"/>
                </a:lnTo>
                <a:lnTo>
                  <a:pt x="568" y="253"/>
                </a:lnTo>
                <a:lnTo>
                  <a:pt x="605" y="200"/>
                </a:lnTo>
                <a:lnTo>
                  <a:pt x="638" y="156"/>
                </a:lnTo>
                <a:lnTo>
                  <a:pt x="667" y="120"/>
                </a:lnTo>
                <a:lnTo>
                  <a:pt x="690" y="91"/>
                </a:lnTo>
                <a:lnTo>
                  <a:pt x="709" y="69"/>
                </a:lnTo>
                <a:lnTo>
                  <a:pt x="723" y="53"/>
                </a:lnTo>
                <a:lnTo>
                  <a:pt x="732" y="45"/>
                </a:lnTo>
                <a:lnTo>
                  <a:pt x="734" y="42"/>
                </a:lnTo>
                <a:lnTo>
                  <a:pt x="760" y="20"/>
                </a:lnTo>
                <a:lnTo>
                  <a:pt x="782" y="5"/>
                </a:lnTo>
                <a:lnTo>
                  <a:pt x="803" y="0"/>
                </a:lnTo>
                <a:close/>
              </a:path>
            </a:pathLst>
          </a:custGeom>
          <a:solidFill>
            <a:srgbClr val="C00000"/>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sp>
        <p:nvSpPr>
          <p:cNvPr id="27" name="Freeform 13">
            <a:extLst>
              <a:ext uri="{FF2B5EF4-FFF2-40B4-BE49-F238E27FC236}">
                <a16:creationId xmlns:a16="http://schemas.microsoft.com/office/drawing/2014/main" id="{495FBA7E-5FEA-6B73-2B9A-61EC701BCE6B}"/>
              </a:ext>
            </a:extLst>
          </p:cNvPr>
          <p:cNvSpPr>
            <a:spLocks/>
          </p:cNvSpPr>
          <p:nvPr/>
        </p:nvSpPr>
        <p:spPr bwMode="auto">
          <a:xfrm>
            <a:off x="5054332" y="1484670"/>
            <a:ext cx="1402032" cy="1126974"/>
          </a:xfrm>
          <a:custGeom>
            <a:avLst/>
            <a:gdLst>
              <a:gd name="T0" fmla="*/ 1835 w 1933"/>
              <a:gd name="T1" fmla="*/ 0 h 1608"/>
              <a:gd name="T2" fmla="*/ 1893 w 1933"/>
              <a:gd name="T3" fmla="*/ 9 h 1608"/>
              <a:gd name="T4" fmla="*/ 1924 w 1933"/>
              <a:gd name="T5" fmla="*/ 34 h 1608"/>
              <a:gd name="T6" fmla="*/ 1933 w 1933"/>
              <a:gd name="T7" fmla="*/ 71 h 1608"/>
              <a:gd name="T8" fmla="*/ 1920 w 1933"/>
              <a:gd name="T9" fmla="*/ 1136 h 1608"/>
              <a:gd name="T10" fmla="*/ 1913 w 1933"/>
              <a:gd name="T11" fmla="*/ 1169 h 1608"/>
              <a:gd name="T12" fmla="*/ 1889 w 1933"/>
              <a:gd name="T13" fmla="*/ 1195 h 1608"/>
              <a:gd name="T14" fmla="*/ 1840 w 1933"/>
              <a:gd name="T15" fmla="*/ 1206 h 1608"/>
              <a:gd name="T16" fmla="*/ 1723 w 1933"/>
              <a:gd name="T17" fmla="*/ 1215 h 1608"/>
              <a:gd name="T18" fmla="*/ 1651 w 1933"/>
              <a:gd name="T19" fmla="*/ 1226 h 1608"/>
              <a:gd name="T20" fmla="*/ 1614 w 1933"/>
              <a:gd name="T21" fmla="*/ 1235 h 1608"/>
              <a:gd name="T22" fmla="*/ 1587 w 1933"/>
              <a:gd name="T23" fmla="*/ 1244 h 1608"/>
              <a:gd name="T24" fmla="*/ 1534 w 1933"/>
              <a:gd name="T25" fmla="*/ 1275 h 1608"/>
              <a:gd name="T26" fmla="*/ 1490 w 1933"/>
              <a:gd name="T27" fmla="*/ 1329 h 1608"/>
              <a:gd name="T28" fmla="*/ 1443 w 1933"/>
              <a:gd name="T29" fmla="*/ 1523 h 1608"/>
              <a:gd name="T30" fmla="*/ 1419 w 1933"/>
              <a:gd name="T31" fmla="*/ 1559 h 1608"/>
              <a:gd name="T32" fmla="*/ 1381 w 1933"/>
              <a:gd name="T33" fmla="*/ 1564 h 1608"/>
              <a:gd name="T34" fmla="*/ 1195 w 1933"/>
              <a:gd name="T35" fmla="*/ 1442 h 1608"/>
              <a:gd name="T36" fmla="*/ 1122 w 1933"/>
              <a:gd name="T37" fmla="*/ 1428 h 1608"/>
              <a:gd name="T38" fmla="*/ 1049 w 1933"/>
              <a:gd name="T39" fmla="*/ 1451 h 1608"/>
              <a:gd name="T40" fmla="*/ 978 w 1933"/>
              <a:gd name="T41" fmla="*/ 1499 h 1608"/>
              <a:gd name="T42" fmla="*/ 909 w 1933"/>
              <a:gd name="T43" fmla="*/ 1557 h 1608"/>
              <a:gd name="T44" fmla="*/ 854 w 1933"/>
              <a:gd name="T45" fmla="*/ 1599 h 1608"/>
              <a:gd name="T46" fmla="*/ 809 w 1933"/>
              <a:gd name="T47" fmla="*/ 1608 h 1608"/>
              <a:gd name="T48" fmla="*/ 769 w 1933"/>
              <a:gd name="T49" fmla="*/ 1588 h 1608"/>
              <a:gd name="T50" fmla="*/ 11 w 1933"/>
              <a:gd name="T51" fmla="*/ 839 h 1608"/>
              <a:gd name="T52" fmla="*/ 0 w 1933"/>
              <a:gd name="T53" fmla="*/ 808 h 1608"/>
              <a:gd name="T54" fmla="*/ 11 w 1933"/>
              <a:gd name="T55" fmla="*/ 772 h 1608"/>
              <a:gd name="T56" fmla="*/ 49 w 1933"/>
              <a:gd name="T57" fmla="*/ 726 h 1608"/>
              <a:gd name="T58" fmla="*/ 62 w 1933"/>
              <a:gd name="T59" fmla="*/ 714 h 1608"/>
              <a:gd name="T60" fmla="*/ 102 w 1933"/>
              <a:gd name="T61" fmla="*/ 679 h 1608"/>
              <a:gd name="T62" fmla="*/ 166 w 1933"/>
              <a:gd name="T63" fmla="*/ 626 h 1608"/>
              <a:gd name="T64" fmla="*/ 251 w 1933"/>
              <a:gd name="T65" fmla="*/ 561 h 1608"/>
              <a:gd name="T66" fmla="*/ 359 w 1933"/>
              <a:gd name="T67" fmla="*/ 488 h 1608"/>
              <a:gd name="T68" fmla="*/ 485 w 1933"/>
              <a:gd name="T69" fmla="*/ 409 h 1608"/>
              <a:gd name="T70" fmla="*/ 627 w 1933"/>
              <a:gd name="T71" fmla="*/ 331 h 1608"/>
              <a:gd name="T72" fmla="*/ 787 w 1933"/>
              <a:gd name="T73" fmla="*/ 260 h 1608"/>
              <a:gd name="T74" fmla="*/ 991 w 1933"/>
              <a:gd name="T75" fmla="*/ 185 h 1608"/>
              <a:gd name="T76" fmla="*/ 1204 w 1933"/>
              <a:gd name="T77" fmla="*/ 118 h 1608"/>
              <a:gd name="T78" fmla="*/ 1386 w 1933"/>
              <a:gd name="T79" fmla="*/ 69 h 1608"/>
              <a:gd name="T80" fmla="*/ 1536 w 1933"/>
              <a:gd name="T81" fmla="*/ 36 h 1608"/>
              <a:gd name="T82" fmla="*/ 1656 w 1933"/>
              <a:gd name="T83" fmla="*/ 16 h 1608"/>
              <a:gd name="T84" fmla="*/ 1744 w 1933"/>
              <a:gd name="T85" fmla="*/ 5 h 1608"/>
              <a:gd name="T86" fmla="*/ 1802 w 1933"/>
              <a:gd name="T87" fmla="*/ 1 h 1608"/>
              <a:gd name="T88" fmla="*/ 1831 w 1933"/>
              <a:gd name="T89" fmla="*/ 0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3" h="1608">
                <a:moveTo>
                  <a:pt x="1831" y="0"/>
                </a:moveTo>
                <a:lnTo>
                  <a:pt x="1835" y="0"/>
                </a:lnTo>
                <a:lnTo>
                  <a:pt x="1867" y="3"/>
                </a:lnTo>
                <a:lnTo>
                  <a:pt x="1893" y="9"/>
                </a:lnTo>
                <a:lnTo>
                  <a:pt x="1913" y="20"/>
                </a:lnTo>
                <a:lnTo>
                  <a:pt x="1924" y="34"/>
                </a:lnTo>
                <a:lnTo>
                  <a:pt x="1931" y="51"/>
                </a:lnTo>
                <a:lnTo>
                  <a:pt x="1933" y="71"/>
                </a:lnTo>
                <a:lnTo>
                  <a:pt x="1920" y="1118"/>
                </a:lnTo>
                <a:lnTo>
                  <a:pt x="1920" y="1136"/>
                </a:lnTo>
                <a:lnTo>
                  <a:pt x="1918" y="1153"/>
                </a:lnTo>
                <a:lnTo>
                  <a:pt x="1913" y="1169"/>
                </a:lnTo>
                <a:lnTo>
                  <a:pt x="1904" y="1184"/>
                </a:lnTo>
                <a:lnTo>
                  <a:pt x="1889" y="1195"/>
                </a:lnTo>
                <a:lnTo>
                  <a:pt x="1869" y="1202"/>
                </a:lnTo>
                <a:lnTo>
                  <a:pt x="1840" y="1206"/>
                </a:lnTo>
                <a:lnTo>
                  <a:pt x="1776" y="1209"/>
                </a:lnTo>
                <a:lnTo>
                  <a:pt x="1723" y="1215"/>
                </a:lnTo>
                <a:lnTo>
                  <a:pt x="1682" y="1220"/>
                </a:lnTo>
                <a:lnTo>
                  <a:pt x="1651" y="1226"/>
                </a:lnTo>
                <a:lnTo>
                  <a:pt x="1627" y="1231"/>
                </a:lnTo>
                <a:lnTo>
                  <a:pt x="1614" y="1235"/>
                </a:lnTo>
                <a:lnTo>
                  <a:pt x="1611" y="1237"/>
                </a:lnTo>
                <a:lnTo>
                  <a:pt x="1587" y="1244"/>
                </a:lnTo>
                <a:lnTo>
                  <a:pt x="1561" y="1257"/>
                </a:lnTo>
                <a:lnTo>
                  <a:pt x="1534" y="1275"/>
                </a:lnTo>
                <a:lnTo>
                  <a:pt x="1510" y="1300"/>
                </a:lnTo>
                <a:lnTo>
                  <a:pt x="1490" y="1329"/>
                </a:lnTo>
                <a:lnTo>
                  <a:pt x="1478" y="1366"/>
                </a:lnTo>
                <a:lnTo>
                  <a:pt x="1443" y="1523"/>
                </a:lnTo>
                <a:lnTo>
                  <a:pt x="1434" y="1544"/>
                </a:lnTo>
                <a:lnTo>
                  <a:pt x="1419" y="1559"/>
                </a:lnTo>
                <a:lnTo>
                  <a:pt x="1401" y="1566"/>
                </a:lnTo>
                <a:lnTo>
                  <a:pt x="1381" y="1564"/>
                </a:lnTo>
                <a:lnTo>
                  <a:pt x="1359" y="1555"/>
                </a:lnTo>
                <a:lnTo>
                  <a:pt x="1195" y="1442"/>
                </a:lnTo>
                <a:lnTo>
                  <a:pt x="1159" y="1430"/>
                </a:lnTo>
                <a:lnTo>
                  <a:pt x="1122" y="1428"/>
                </a:lnTo>
                <a:lnTo>
                  <a:pt x="1086" y="1437"/>
                </a:lnTo>
                <a:lnTo>
                  <a:pt x="1049" y="1451"/>
                </a:lnTo>
                <a:lnTo>
                  <a:pt x="1013" y="1473"/>
                </a:lnTo>
                <a:lnTo>
                  <a:pt x="978" y="1499"/>
                </a:lnTo>
                <a:lnTo>
                  <a:pt x="942" y="1528"/>
                </a:lnTo>
                <a:lnTo>
                  <a:pt x="909" y="1557"/>
                </a:lnTo>
                <a:lnTo>
                  <a:pt x="875" y="1586"/>
                </a:lnTo>
                <a:lnTo>
                  <a:pt x="854" y="1599"/>
                </a:lnTo>
                <a:lnTo>
                  <a:pt x="833" y="1608"/>
                </a:lnTo>
                <a:lnTo>
                  <a:pt x="809" y="1608"/>
                </a:lnTo>
                <a:lnTo>
                  <a:pt x="789" y="1603"/>
                </a:lnTo>
                <a:lnTo>
                  <a:pt x="769" y="1588"/>
                </a:lnTo>
                <a:lnTo>
                  <a:pt x="22" y="852"/>
                </a:lnTo>
                <a:lnTo>
                  <a:pt x="11" y="839"/>
                </a:lnTo>
                <a:lnTo>
                  <a:pt x="2" y="825"/>
                </a:lnTo>
                <a:lnTo>
                  <a:pt x="0" y="808"/>
                </a:lnTo>
                <a:lnTo>
                  <a:pt x="2" y="792"/>
                </a:lnTo>
                <a:lnTo>
                  <a:pt x="11" y="772"/>
                </a:lnTo>
                <a:lnTo>
                  <a:pt x="26" y="750"/>
                </a:lnTo>
                <a:lnTo>
                  <a:pt x="49" y="726"/>
                </a:lnTo>
                <a:lnTo>
                  <a:pt x="53" y="723"/>
                </a:lnTo>
                <a:lnTo>
                  <a:pt x="62" y="714"/>
                </a:lnTo>
                <a:lnTo>
                  <a:pt x="78" y="699"/>
                </a:lnTo>
                <a:lnTo>
                  <a:pt x="102" y="679"/>
                </a:lnTo>
                <a:lnTo>
                  <a:pt x="131" y="655"/>
                </a:lnTo>
                <a:lnTo>
                  <a:pt x="166" y="626"/>
                </a:lnTo>
                <a:lnTo>
                  <a:pt x="206" y="595"/>
                </a:lnTo>
                <a:lnTo>
                  <a:pt x="251" y="561"/>
                </a:lnTo>
                <a:lnTo>
                  <a:pt x="302" y="524"/>
                </a:lnTo>
                <a:lnTo>
                  <a:pt x="359" y="488"/>
                </a:lnTo>
                <a:lnTo>
                  <a:pt x="419" y="448"/>
                </a:lnTo>
                <a:lnTo>
                  <a:pt x="485" y="409"/>
                </a:lnTo>
                <a:lnTo>
                  <a:pt x="554" y="369"/>
                </a:lnTo>
                <a:lnTo>
                  <a:pt x="627" y="331"/>
                </a:lnTo>
                <a:lnTo>
                  <a:pt x="705" y="295"/>
                </a:lnTo>
                <a:lnTo>
                  <a:pt x="787" y="260"/>
                </a:lnTo>
                <a:lnTo>
                  <a:pt x="871" y="227"/>
                </a:lnTo>
                <a:lnTo>
                  <a:pt x="991" y="185"/>
                </a:lnTo>
                <a:lnTo>
                  <a:pt x="1102" y="149"/>
                </a:lnTo>
                <a:lnTo>
                  <a:pt x="1204" y="118"/>
                </a:lnTo>
                <a:lnTo>
                  <a:pt x="1299" y="91"/>
                </a:lnTo>
                <a:lnTo>
                  <a:pt x="1386" y="69"/>
                </a:lnTo>
                <a:lnTo>
                  <a:pt x="1465" y="51"/>
                </a:lnTo>
                <a:lnTo>
                  <a:pt x="1536" y="36"/>
                </a:lnTo>
                <a:lnTo>
                  <a:pt x="1600" y="23"/>
                </a:lnTo>
                <a:lnTo>
                  <a:pt x="1656" y="16"/>
                </a:lnTo>
                <a:lnTo>
                  <a:pt x="1703" y="9"/>
                </a:lnTo>
                <a:lnTo>
                  <a:pt x="1744" y="5"/>
                </a:lnTo>
                <a:lnTo>
                  <a:pt x="1776" y="1"/>
                </a:lnTo>
                <a:lnTo>
                  <a:pt x="1802" y="1"/>
                </a:lnTo>
                <a:lnTo>
                  <a:pt x="1820" y="0"/>
                </a:lnTo>
                <a:lnTo>
                  <a:pt x="1831" y="0"/>
                </a:lnTo>
                <a:close/>
              </a:path>
            </a:pathLst>
          </a:custGeom>
          <a:solidFill>
            <a:srgbClr val="3F3F3F"/>
          </a:solidFill>
          <a:ln w="28575">
            <a:solidFill>
              <a:sysClr val="window" lastClr="FFFFFF"/>
            </a:solidFill>
            <a:prstDash val="solid"/>
            <a:round/>
            <a:headEnd/>
            <a:tailEnd/>
          </a:ln>
          <a:effectLst>
            <a:outerShdw blurRad="50800" dist="50800" dir="2700000" sx="98000" sy="98000" algn="tl" rotWithShape="0">
              <a:prstClr val="black">
                <a:alpha val="50000"/>
              </a:prstClr>
            </a:outerShdw>
          </a:effectLst>
        </p:spPr>
        <p:txBody>
          <a:bodyPr vert="horz" wrap="square" lIns="91464" tIns="45732" rIns="91464" bIns="45732"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prstClr val="black"/>
              </a:solidFill>
              <a:effectLst/>
              <a:uLnTx/>
              <a:uFillTx/>
              <a:latin typeface="Calibri"/>
            </a:endParaRPr>
          </a:p>
        </p:txBody>
      </p:sp>
      <p:grpSp>
        <p:nvGrpSpPr>
          <p:cNvPr id="35" name="Group 34">
            <a:extLst>
              <a:ext uri="{FF2B5EF4-FFF2-40B4-BE49-F238E27FC236}">
                <a16:creationId xmlns:a16="http://schemas.microsoft.com/office/drawing/2014/main" id="{A3176EC0-622C-F704-2FCB-DFFED52DC54E}"/>
              </a:ext>
            </a:extLst>
          </p:cNvPr>
          <p:cNvGrpSpPr/>
          <p:nvPr/>
        </p:nvGrpSpPr>
        <p:grpSpPr>
          <a:xfrm>
            <a:off x="6480848" y="2859713"/>
            <a:ext cx="106406" cy="128266"/>
            <a:chOff x="4397376" y="3954463"/>
            <a:chExt cx="547688" cy="683590"/>
          </a:xfrm>
        </p:grpSpPr>
        <p:sp>
          <p:nvSpPr>
            <p:cNvPr id="88" name="Freeform 17">
              <a:extLst>
                <a:ext uri="{FF2B5EF4-FFF2-40B4-BE49-F238E27FC236}">
                  <a16:creationId xmlns:a16="http://schemas.microsoft.com/office/drawing/2014/main" id="{A922E790-243A-E862-B6DE-EE2218BE3AA3}"/>
                </a:ext>
              </a:extLst>
            </p:cNvPr>
            <p:cNvSpPr>
              <a:spLocks/>
            </p:cNvSpPr>
            <p:nvPr/>
          </p:nvSpPr>
          <p:spPr bwMode="auto">
            <a:xfrm>
              <a:off x="4397376" y="3954463"/>
              <a:ext cx="528638" cy="185738"/>
            </a:xfrm>
            <a:custGeom>
              <a:avLst/>
              <a:gdLst>
                <a:gd name="T0" fmla="*/ 0 w 333"/>
                <a:gd name="T1" fmla="*/ 0 h 117"/>
                <a:gd name="T2" fmla="*/ 333 w 333"/>
                <a:gd name="T3" fmla="*/ 1 h 117"/>
                <a:gd name="T4" fmla="*/ 333 w 333"/>
                <a:gd name="T5" fmla="*/ 19 h 117"/>
                <a:gd name="T6" fmla="*/ 331 w 333"/>
                <a:gd name="T7" fmla="*/ 21 h 117"/>
                <a:gd name="T8" fmla="*/ 327 w 333"/>
                <a:gd name="T9" fmla="*/ 26 h 117"/>
                <a:gd name="T10" fmla="*/ 318 w 333"/>
                <a:gd name="T11" fmla="*/ 34 h 117"/>
                <a:gd name="T12" fmla="*/ 309 w 333"/>
                <a:gd name="T13" fmla="*/ 45 h 117"/>
                <a:gd name="T14" fmla="*/ 296 w 333"/>
                <a:gd name="T15" fmla="*/ 56 h 117"/>
                <a:gd name="T16" fmla="*/ 281 w 333"/>
                <a:gd name="T17" fmla="*/ 68 h 117"/>
                <a:gd name="T18" fmla="*/ 265 w 333"/>
                <a:gd name="T19" fmla="*/ 81 h 117"/>
                <a:gd name="T20" fmla="*/ 248 w 333"/>
                <a:gd name="T21" fmla="*/ 91 h 117"/>
                <a:gd name="T22" fmla="*/ 229 w 333"/>
                <a:gd name="T23" fmla="*/ 102 h 117"/>
                <a:gd name="T24" fmla="*/ 210 w 333"/>
                <a:gd name="T25" fmla="*/ 109 h 117"/>
                <a:gd name="T26" fmla="*/ 190 w 333"/>
                <a:gd name="T27" fmla="*/ 115 h 117"/>
                <a:gd name="T28" fmla="*/ 171 w 333"/>
                <a:gd name="T29" fmla="*/ 117 h 117"/>
                <a:gd name="T30" fmla="*/ 165 w 333"/>
                <a:gd name="T31" fmla="*/ 117 h 117"/>
                <a:gd name="T32" fmla="*/ 145 w 333"/>
                <a:gd name="T33" fmla="*/ 115 h 117"/>
                <a:gd name="T34" fmla="*/ 125 w 333"/>
                <a:gd name="T35" fmla="*/ 108 h 117"/>
                <a:gd name="T36" fmla="*/ 106 w 333"/>
                <a:gd name="T37" fmla="*/ 99 h 117"/>
                <a:gd name="T38" fmla="*/ 87 w 333"/>
                <a:gd name="T39" fmla="*/ 88 h 117"/>
                <a:gd name="T40" fmla="*/ 69 w 333"/>
                <a:gd name="T41" fmla="*/ 76 h 117"/>
                <a:gd name="T42" fmla="*/ 52 w 333"/>
                <a:gd name="T43" fmla="*/ 64 h 117"/>
                <a:gd name="T44" fmla="*/ 37 w 333"/>
                <a:gd name="T45" fmla="*/ 51 h 117"/>
                <a:gd name="T46" fmla="*/ 24 w 333"/>
                <a:gd name="T47" fmla="*/ 38 h 117"/>
                <a:gd name="T48" fmla="*/ 14 w 333"/>
                <a:gd name="T49" fmla="*/ 28 h 117"/>
                <a:gd name="T50" fmla="*/ 6 w 333"/>
                <a:gd name="T51" fmla="*/ 20 h 117"/>
                <a:gd name="T52" fmla="*/ 1 w 333"/>
                <a:gd name="T53" fmla="*/ 14 h 117"/>
                <a:gd name="T54" fmla="*/ 0 w 333"/>
                <a:gd name="T55" fmla="*/ 13 h 117"/>
                <a:gd name="T56" fmla="*/ 0 w 333"/>
                <a:gd name="T5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3" h="117">
                  <a:moveTo>
                    <a:pt x="0" y="0"/>
                  </a:moveTo>
                  <a:lnTo>
                    <a:pt x="333" y="1"/>
                  </a:lnTo>
                  <a:lnTo>
                    <a:pt x="333" y="19"/>
                  </a:lnTo>
                  <a:lnTo>
                    <a:pt x="331" y="21"/>
                  </a:lnTo>
                  <a:lnTo>
                    <a:pt x="327" y="26"/>
                  </a:lnTo>
                  <a:lnTo>
                    <a:pt x="318" y="34"/>
                  </a:lnTo>
                  <a:lnTo>
                    <a:pt x="309" y="45"/>
                  </a:lnTo>
                  <a:lnTo>
                    <a:pt x="296" y="56"/>
                  </a:lnTo>
                  <a:lnTo>
                    <a:pt x="281" y="68"/>
                  </a:lnTo>
                  <a:lnTo>
                    <a:pt x="265" y="81"/>
                  </a:lnTo>
                  <a:lnTo>
                    <a:pt x="248" y="91"/>
                  </a:lnTo>
                  <a:lnTo>
                    <a:pt x="229" y="102"/>
                  </a:lnTo>
                  <a:lnTo>
                    <a:pt x="210" y="109"/>
                  </a:lnTo>
                  <a:lnTo>
                    <a:pt x="190" y="115"/>
                  </a:lnTo>
                  <a:lnTo>
                    <a:pt x="171" y="117"/>
                  </a:lnTo>
                  <a:lnTo>
                    <a:pt x="165" y="117"/>
                  </a:lnTo>
                  <a:lnTo>
                    <a:pt x="145" y="115"/>
                  </a:lnTo>
                  <a:lnTo>
                    <a:pt x="125" y="108"/>
                  </a:lnTo>
                  <a:lnTo>
                    <a:pt x="106" y="99"/>
                  </a:lnTo>
                  <a:lnTo>
                    <a:pt x="87" y="88"/>
                  </a:lnTo>
                  <a:lnTo>
                    <a:pt x="69" y="76"/>
                  </a:lnTo>
                  <a:lnTo>
                    <a:pt x="52" y="64"/>
                  </a:lnTo>
                  <a:lnTo>
                    <a:pt x="37" y="51"/>
                  </a:lnTo>
                  <a:lnTo>
                    <a:pt x="24" y="38"/>
                  </a:lnTo>
                  <a:lnTo>
                    <a:pt x="14" y="28"/>
                  </a:lnTo>
                  <a:lnTo>
                    <a:pt x="6" y="20"/>
                  </a:lnTo>
                  <a:lnTo>
                    <a:pt x="1" y="14"/>
                  </a:lnTo>
                  <a:lnTo>
                    <a:pt x="0" y="13"/>
                  </a:lnTo>
                  <a:lnTo>
                    <a:pt x="0" y="0"/>
                  </a:lnTo>
                  <a:close/>
                </a:path>
              </a:pathLst>
            </a:custGeom>
            <a:solidFill>
              <a:sysClr val="windowText" lastClr="000000">
                <a:alpha val="10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90" name="Freeform 19">
              <a:extLst>
                <a:ext uri="{FF2B5EF4-FFF2-40B4-BE49-F238E27FC236}">
                  <a16:creationId xmlns:a16="http://schemas.microsoft.com/office/drawing/2014/main" id="{12F9410F-432D-B0ED-560F-DC7F0C0CB161}"/>
                </a:ext>
              </a:extLst>
            </p:cNvPr>
            <p:cNvSpPr>
              <a:spLocks/>
            </p:cNvSpPr>
            <p:nvPr/>
          </p:nvSpPr>
          <p:spPr bwMode="auto">
            <a:xfrm>
              <a:off x="4664076" y="4074490"/>
              <a:ext cx="280988" cy="563563"/>
            </a:xfrm>
            <a:custGeom>
              <a:avLst/>
              <a:gdLst>
                <a:gd name="T0" fmla="*/ 165 w 177"/>
                <a:gd name="T1" fmla="*/ 0 h 355"/>
                <a:gd name="T2" fmla="*/ 177 w 177"/>
                <a:gd name="T3" fmla="*/ 55 h 355"/>
                <a:gd name="T4" fmla="*/ 139 w 177"/>
                <a:gd name="T5" fmla="*/ 355 h 355"/>
                <a:gd name="T6" fmla="*/ 0 w 177"/>
                <a:gd name="T7" fmla="*/ 208 h 355"/>
                <a:gd name="T8" fmla="*/ 165 w 177"/>
                <a:gd name="T9" fmla="*/ 0 h 355"/>
              </a:gdLst>
              <a:ahLst/>
              <a:cxnLst>
                <a:cxn ang="0">
                  <a:pos x="T0" y="T1"/>
                </a:cxn>
                <a:cxn ang="0">
                  <a:pos x="T2" y="T3"/>
                </a:cxn>
                <a:cxn ang="0">
                  <a:pos x="T4" y="T5"/>
                </a:cxn>
                <a:cxn ang="0">
                  <a:pos x="T6" y="T7"/>
                </a:cxn>
                <a:cxn ang="0">
                  <a:pos x="T8" y="T9"/>
                </a:cxn>
              </a:cxnLst>
              <a:rect l="0" t="0" r="r" b="b"/>
              <a:pathLst>
                <a:path w="177" h="355">
                  <a:moveTo>
                    <a:pt x="165" y="0"/>
                  </a:moveTo>
                  <a:lnTo>
                    <a:pt x="177" y="55"/>
                  </a:lnTo>
                  <a:lnTo>
                    <a:pt x="139" y="355"/>
                  </a:lnTo>
                  <a:lnTo>
                    <a:pt x="0" y="208"/>
                  </a:lnTo>
                  <a:lnTo>
                    <a:pt x="165" y="0"/>
                  </a:lnTo>
                  <a:close/>
                </a:path>
              </a:pathLst>
            </a:custGeom>
            <a:solidFill>
              <a:sysClr val="window" lastClr="FFFFFF">
                <a:lumMod val="95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93" name="Rectangle 21">
              <a:extLst>
                <a:ext uri="{FF2B5EF4-FFF2-40B4-BE49-F238E27FC236}">
                  <a16:creationId xmlns:a16="http://schemas.microsoft.com/office/drawing/2014/main" id="{32B87C82-2E5C-91C5-65F7-6AD193FD5817}"/>
                </a:ext>
              </a:extLst>
            </p:cNvPr>
            <p:cNvSpPr>
              <a:spLocks noChangeArrowheads="1"/>
            </p:cNvSpPr>
            <p:nvPr/>
          </p:nvSpPr>
          <p:spPr bwMode="auto">
            <a:xfrm>
              <a:off x="4611688" y="4619625"/>
              <a:ext cx="1588" cy="4763"/>
            </a:xfrm>
            <a:prstGeom prst="rect">
              <a:avLst/>
            </a:prstGeom>
            <a:solidFill>
              <a:srgbClr val="000000"/>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94" name="Freeform 22">
              <a:extLst>
                <a:ext uri="{FF2B5EF4-FFF2-40B4-BE49-F238E27FC236}">
                  <a16:creationId xmlns:a16="http://schemas.microsoft.com/office/drawing/2014/main" id="{877AEBED-9370-AC00-ABC6-5874D1E52823}"/>
                </a:ext>
              </a:extLst>
            </p:cNvPr>
            <p:cNvSpPr>
              <a:spLocks/>
            </p:cNvSpPr>
            <p:nvPr/>
          </p:nvSpPr>
          <p:spPr bwMode="auto">
            <a:xfrm>
              <a:off x="4611688" y="4619625"/>
              <a:ext cx="100013" cy="4763"/>
            </a:xfrm>
            <a:custGeom>
              <a:avLst/>
              <a:gdLst>
                <a:gd name="T0" fmla="*/ 0 w 63"/>
                <a:gd name="T1" fmla="*/ 0 h 3"/>
                <a:gd name="T2" fmla="*/ 62 w 63"/>
                <a:gd name="T3" fmla="*/ 0 h 3"/>
                <a:gd name="T4" fmla="*/ 63 w 63"/>
                <a:gd name="T5" fmla="*/ 3 h 3"/>
                <a:gd name="T6" fmla="*/ 0 w 63"/>
                <a:gd name="T7" fmla="*/ 3 h 3"/>
                <a:gd name="T8" fmla="*/ 0 w 63"/>
                <a:gd name="T9" fmla="*/ 0 h 3"/>
              </a:gdLst>
              <a:ahLst/>
              <a:cxnLst>
                <a:cxn ang="0">
                  <a:pos x="T0" y="T1"/>
                </a:cxn>
                <a:cxn ang="0">
                  <a:pos x="T2" y="T3"/>
                </a:cxn>
                <a:cxn ang="0">
                  <a:pos x="T4" y="T5"/>
                </a:cxn>
                <a:cxn ang="0">
                  <a:pos x="T6" y="T7"/>
                </a:cxn>
                <a:cxn ang="0">
                  <a:pos x="T8" y="T9"/>
                </a:cxn>
              </a:cxnLst>
              <a:rect l="0" t="0" r="r" b="b"/>
              <a:pathLst>
                <a:path w="63" h="3">
                  <a:moveTo>
                    <a:pt x="0" y="0"/>
                  </a:moveTo>
                  <a:lnTo>
                    <a:pt x="62" y="0"/>
                  </a:lnTo>
                  <a:lnTo>
                    <a:pt x="63" y="3"/>
                  </a:lnTo>
                  <a:lnTo>
                    <a:pt x="0" y="3"/>
                  </a:lnTo>
                  <a:lnTo>
                    <a:pt x="0" y="0"/>
                  </a:lnTo>
                  <a:close/>
                </a:path>
              </a:pathLst>
            </a:custGeom>
            <a:solidFill>
              <a:srgbClr val="057A61"/>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grpSp>
      <p:grpSp>
        <p:nvGrpSpPr>
          <p:cNvPr id="36" name="Group 35">
            <a:extLst>
              <a:ext uri="{FF2B5EF4-FFF2-40B4-BE49-F238E27FC236}">
                <a16:creationId xmlns:a16="http://schemas.microsoft.com/office/drawing/2014/main" id="{82430A6D-F1DE-F37E-51C0-DBC58AD5B3A2}"/>
              </a:ext>
            </a:extLst>
          </p:cNvPr>
          <p:cNvGrpSpPr/>
          <p:nvPr/>
        </p:nvGrpSpPr>
        <p:grpSpPr>
          <a:xfrm>
            <a:off x="6447841" y="4305739"/>
            <a:ext cx="133547" cy="215956"/>
            <a:chOff x="7286626" y="4057650"/>
            <a:chExt cx="687388" cy="1150938"/>
          </a:xfrm>
        </p:grpSpPr>
        <p:sp>
          <p:nvSpPr>
            <p:cNvPr id="81" name="Freeform 32">
              <a:extLst>
                <a:ext uri="{FF2B5EF4-FFF2-40B4-BE49-F238E27FC236}">
                  <a16:creationId xmlns:a16="http://schemas.microsoft.com/office/drawing/2014/main" id="{A58A4082-078C-857B-67AD-AEFD519DBB2A}"/>
                </a:ext>
              </a:extLst>
            </p:cNvPr>
            <p:cNvSpPr>
              <a:spLocks/>
            </p:cNvSpPr>
            <p:nvPr/>
          </p:nvSpPr>
          <p:spPr bwMode="auto">
            <a:xfrm>
              <a:off x="7467601" y="4057650"/>
              <a:ext cx="506413" cy="174625"/>
            </a:xfrm>
            <a:custGeom>
              <a:avLst/>
              <a:gdLst>
                <a:gd name="T0" fmla="*/ 0 w 319"/>
                <a:gd name="T1" fmla="*/ 0 h 110"/>
                <a:gd name="T2" fmla="*/ 319 w 319"/>
                <a:gd name="T3" fmla="*/ 0 h 110"/>
                <a:gd name="T4" fmla="*/ 319 w 319"/>
                <a:gd name="T5" fmla="*/ 9 h 110"/>
                <a:gd name="T6" fmla="*/ 316 w 319"/>
                <a:gd name="T7" fmla="*/ 11 h 110"/>
                <a:gd name="T8" fmla="*/ 310 w 319"/>
                <a:gd name="T9" fmla="*/ 17 h 110"/>
                <a:gd name="T10" fmla="*/ 302 w 319"/>
                <a:gd name="T11" fmla="*/ 25 h 110"/>
                <a:gd name="T12" fmla="*/ 290 w 319"/>
                <a:gd name="T13" fmla="*/ 36 h 110"/>
                <a:gd name="T14" fmla="*/ 275 w 319"/>
                <a:gd name="T15" fmla="*/ 48 h 110"/>
                <a:gd name="T16" fmla="*/ 260 w 319"/>
                <a:gd name="T17" fmla="*/ 60 h 110"/>
                <a:gd name="T18" fmla="*/ 243 w 319"/>
                <a:gd name="T19" fmla="*/ 73 h 110"/>
                <a:gd name="T20" fmla="*/ 225 w 319"/>
                <a:gd name="T21" fmla="*/ 85 h 110"/>
                <a:gd name="T22" fmla="*/ 207 w 319"/>
                <a:gd name="T23" fmla="*/ 95 h 110"/>
                <a:gd name="T24" fmla="*/ 190 w 319"/>
                <a:gd name="T25" fmla="*/ 103 h 110"/>
                <a:gd name="T26" fmla="*/ 173 w 319"/>
                <a:gd name="T27" fmla="*/ 109 h 110"/>
                <a:gd name="T28" fmla="*/ 157 w 319"/>
                <a:gd name="T29" fmla="*/ 110 h 110"/>
                <a:gd name="T30" fmla="*/ 142 w 319"/>
                <a:gd name="T31" fmla="*/ 109 h 110"/>
                <a:gd name="T32" fmla="*/ 126 w 319"/>
                <a:gd name="T33" fmla="*/ 103 h 110"/>
                <a:gd name="T34" fmla="*/ 108 w 319"/>
                <a:gd name="T35" fmla="*/ 95 h 110"/>
                <a:gd name="T36" fmla="*/ 91 w 319"/>
                <a:gd name="T37" fmla="*/ 85 h 110"/>
                <a:gd name="T38" fmla="*/ 73 w 319"/>
                <a:gd name="T39" fmla="*/ 73 h 110"/>
                <a:gd name="T40" fmla="*/ 57 w 319"/>
                <a:gd name="T41" fmla="*/ 60 h 110"/>
                <a:gd name="T42" fmla="*/ 41 w 319"/>
                <a:gd name="T43" fmla="*/ 49 h 110"/>
                <a:gd name="T44" fmla="*/ 28 w 319"/>
                <a:gd name="T45" fmla="*/ 37 h 110"/>
                <a:gd name="T46" fmla="*/ 16 w 319"/>
                <a:gd name="T47" fmla="*/ 26 h 110"/>
                <a:gd name="T48" fmla="*/ 7 w 319"/>
                <a:gd name="T49" fmla="*/ 18 h 110"/>
                <a:gd name="T50" fmla="*/ 2 w 319"/>
                <a:gd name="T51" fmla="*/ 12 h 110"/>
                <a:gd name="T52" fmla="*/ 0 w 319"/>
                <a:gd name="T53" fmla="*/ 10 h 110"/>
                <a:gd name="T54" fmla="*/ 0 w 319"/>
                <a:gd name="T5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9" h="110">
                  <a:moveTo>
                    <a:pt x="0" y="0"/>
                  </a:moveTo>
                  <a:lnTo>
                    <a:pt x="319" y="0"/>
                  </a:lnTo>
                  <a:lnTo>
                    <a:pt x="319" y="9"/>
                  </a:lnTo>
                  <a:lnTo>
                    <a:pt x="316" y="11"/>
                  </a:lnTo>
                  <a:lnTo>
                    <a:pt x="310" y="17"/>
                  </a:lnTo>
                  <a:lnTo>
                    <a:pt x="302" y="25"/>
                  </a:lnTo>
                  <a:lnTo>
                    <a:pt x="290" y="36"/>
                  </a:lnTo>
                  <a:lnTo>
                    <a:pt x="275" y="48"/>
                  </a:lnTo>
                  <a:lnTo>
                    <a:pt x="260" y="60"/>
                  </a:lnTo>
                  <a:lnTo>
                    <a:pt x="243" y="73"/>
                  </a:lnTo>
                  <a:lnTo>
                    <a:pt x="225" y="85"/>
                  </a:lnTo>
                  <a:lnTo>
                    <a:pt x="207" y="95"/>
                  </a:lnTo>
                  <a:lnTo>
                    <a:pt x="190" y="103"/>
                  </a:lnTo>
                  <a:lnTo>
                    <a:pt x="173" y="109"/>
                  </a:lnTo>
                  <a:lnTo>
                    <a:pt x="157" y="110"/>
                  </a:lnTo>
                  <a:lnTo>
                    <a:pt x="142" y="109"/>
                  </a:lnTo>
                  <a:lnTo>
                    <a:pt x="126" y="103"/>
                  </a:lnTo>
                  <a:lnTo>
                    <a:pt x="108" y="95"/>
                  </a:lnTo>
                  <a:lnTo>
                    <a:pt x="91" y="85"/>
                  </a:lnTo>
                  <a:lnTo>
                    <a:pt x="73" y="73"/>
                  </a:lnTo>
                  <a:lnTo>
                    <a:pt x="57" y="60"/>
                  </a:lnTo>
                  <a:lnTo>
                    <a:pt x="41" y="49"/>
                  </a:lnTo>
                  <a:lnTo>
                    <a:pt x="28" y="37"/>
                  </a:lnTo>
                  <a:lnTo>
                    <a:pt x="16" y="26"/>
                  </a:lnTo>
                  <a:lnTo>
                    <a:pt x="7" y="18"/>
                  </a:lnTo>
                  <a:lnTo>
                    <a:pt x="2" y="12"/>
                  </a:lnTo>
                  <a:lnTo>
                    <a:pt x="0" y="10"/>
                  </a:lnTo>
                  <a:lnTo>
                    <a:pt x="0" y="0"/>
                  </a:lnTo>
                  <a:close/>
                </a:path>
              </a:pathLst>
            </a:custGeom>
            <a:solidFill>
              <a:sysClr val="windowText" lastClr="000000">
                <a:alpha val="10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82" name="Rectangle 35">
              <a:extLst>
                <a:ext uri="{FF2B5EF4-FFF2-40B4-BE49-F238E27FC236}">
                  <a16:creationId xmlns:a16="http://schemas.microsoft.com/office/drawing/2014/main" id="{712D2B19-56B8-BEC9-6FEF-4CD082934216}"/>
                </a:ext>
              </a:extLst>
            </p:cNvPr>
            <p:cNvSpPr>
              <a:spLocks noChangeArrowheads="1"/>
            </p:cNvSpPr>
            <p:nvPr/>
          </p:nvSpPr>
          <p:spPr bwMode="auto">
            <a:xfrm>
              <a:off x="7686676" y="4568825"/>
              <a:ext cx="52388" cy="639763"/>
            </a:xfrm>
            <a:prstGeom prst="rect">
              <a:avLst/>
            </a:prstGeom>
            <a:solidFill>
              <a:srgbClr val="FFFFFF"/>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84" name="Freeform 36">
              <a:extLst>
                <a:ext uri="{FF2B5EF4-FFF2-40B4-BE49-F238E27FC236}">
                  <a16:creationId xmlns:a16="http://schemas.microsoft.com/office/drawing/2014/main" id="{73D7B5C9-2518-EBC6-282A-5B07832F0BC5}"/>
                </a:ext>
              </a:extLst>
            </p:cNvPr>
            <p:cNvSpPr>
              <a:spLocks/>
            </p:cNvSpPr>
            <p:nvPr/>
          </p:nvSpPr>
          <p:spPr bwMode="auto">
            <a:xfrm>
              <a:off x="7286626" y="4232275"/>
              <a:ext cx="427038" cy="522288"/>
            </a:xfrm>
            <a:custGeom>
              <a:avLst/>
              <a:gdLst>
                <a:gd name="T0" fmla="*/ 114 w 269"/>
                <a:gd name="T1" fmla="*/ 0 h 329"/>
                <a:gd name="T2" fmla="*/ 269 w 269"/>
                <a:gd name="T3" fmla="*/ 210 h 329"/>
                <a:gd name="T4" fmla="*/ 145 w 269"/>
                <a:gd name="T5" fmla="*/ 329 h 329"/>
                <a:gd name="T6" fmla="*/ 0 w 269"/>
                <a:gd name="T7" fmla="*/ 104 h 329"/>
                <a:gd name="T8" fmla="*/ 114 w 269"/>
                <a:gd name="T9" fmla="*/ 0 h 329"/>
              </a:gdLst>
              <a:ahLst/>
              <a:cxnLst>
                <a:cxn ang="0">
                  <a:pos x="T0" y="T1"/>
                </a:cxn>
                <a:cxn ang="0">
                  <a:pos x="T2" y="T3"/>
                </a:cxn>
                <a:cxn ang="0">
                  <a:pos x="T4" y="T5"/>
                </a:cxn>
                <a:cxn ang="0">
                  <a:pos x="T6" y="T7"/>
                </a:cxn>
                <a:cxn ang="0">
                  <a:pos x="T8" y="T9"/>
                </a:cxn>
              </a:cxnLst>
              <a:rect l="0" t="0" r="r" b="b"/>
              <a:pathLst>
                <a:path w="269" h="329">
                  <a:moveTo>
                    <a:pt x="114" y="0"/>
                  </a:moveTo>
                  <a:lnTo>
                    <a:pt x="269" y="210"/>
                  </a:lnTo>
                  <a:lnTo>
                    <a:pt x="145" y="329"/>
                  </a:lnTo>
                  <a:lnTo>
                    <a:pt x="0" y="104"/>
                  </a:lnTo>
                  <a:lnTo>
                    <a:pt x="114"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85" name="Rectangle 39">
              <a:extLst>
                <a:ext uri="{FF2B5EF4-FFF2-40B4-BE49-F238E27FC236}">
                  <a16:creationId xmlns:a16="http://schemas.microsoft.com/office/drawing/2014/main" id="{2373A0BA-14AC-514D-08C4-810D8BCF6B6F}"/>
                </a:ext>
              </a:extLst>
            </p:cNvPr>
            <p:cNvSpPr>
              <a:spLocks noChangeArrowheads="1"/>
            </p:cNvSpPr>
            <p:nvPr/>
          </p:nvSpPr>
          <p:spPr bwMode="auto">
            <a:xfrm>
              <a:off x="7713663" y="4565650"/>
              <a:ext cx="1588" cy="1588"/>
            </a:xfrm>
            <a:prstGeom prst="rect">
              <a:avLst/>
            </a:prstGeom>
            <a:solidFill>
              <a:srgbClr val="10886F"/>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87" name="Freeform 41">
              <a:extLst>
                <a:ext uri="{FF2B5EF4-FFF2-40B4-BE49-F238E27FC236}">
                  <a16:creationId xmlns:a16="http://schemas.microsoft.com/office/drawing/2014/main" id="{56147BA1-0C75-AAFF-7D9A-0F99347799CC}"/>
                </a:ext>
              </a:extLst>
            </p:cNvPr>
            <p:cNvSpPr>
              <a:spLocks/>
            </p:cNvSpPr>
            <p:nvPr/>
          </p:nvSpPr>
          <p:spPr bwMode="auto">
            <a:xfrm>
              <a:off x="7467601" y="4232275"/>
              <a:ext cx="246063" cy="333375"/>
            </a:xfrm>
            <a:custGeom>
              <a:avLst/>
              <a:gdLst>
                <a:gd name="T0" fmla="*/ 0 w 155"/>
                <a:gd name="T1" fmla="*/ 0 h 210"/>
                <a:gd name="T2" fmla="*/ 155 w 155"/>
                <a:gd name="T3" fmla="*/ 210 h 210"/>
                <a:gd name="T4" fmla="*/ 155 w 155"/>
                <a:gd name="T5" fmla="*/ 210 h 210"/>
                <a:gd name="T6" fmla="*/ 0 w 155"/>
                <a:gd name="T7" fmla="*/ 0 h 210"/>
              </a:gdLst>
              <a:ahLst/>
              <a:cxnLst>
                <a:cxn ang="0">
                  <a:pos x="T0" y="T1"/>
                </a:cxn>
                <a:cxn ang="0">
                  <a:pos x="T2" y="T3"/>
                </a:cxn>
                <a:cxn ang="0">
                  <a:pos x="T4" y="T5"/>
                </a:cxn>
                <a:cxn ang="0">
                  <a:pos x="T6" y="T7"/>
                </a:cxn>
              </a:cxnLst>
              <a:rect l="0" t="0" r="r" b="b"/>
              <a:pathLst>
                <a:path w="155" h="210">
                  <a:moveTo>
                    <a:pt x="0" y="0"/>
                  </a:moveTo>
                  <a:lnTo>
                    <a:pt x="155" y="210"/>
                  </a:lnTo>
                  <a:lnTo>
                    <a:pt x="155" y="210"/>
                  </a:lnTo>
                  <a:lnTo>
                    <a:pt x="0" y="0"/>
                  </a:lnTo>
                  <a:close/>
                </a:path>
              </a:pathLst>
            </a:custGeom>
            <a:solidFill>
              <a:srgbClr val="F6F9F9"/>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grpSp>
      <p:sp>
        <p:nvSpPr>
          <p:cNvPr id="37" name="TextBox 36">
            <a:extLst>
              <a:ext uri="{FF2B5EF4-FFF2-40B4-BE49-F238E27FC236}">
                <a16:creationId xmlns:a16="http://schemas.microsoft.com/office/drawing/2014/main" id="{FAA1A231-7CE7-7FAB-900C-47E791031A32}"/>
              </a:ext>
            </a:extLst>
          </p:cNvPr>
          <p:cNvSpPr txBox="1"/>
          <p:nvPr/>
        </p:nvSpPr>
        <p:spPr>
          <a:xfrm rot="17615802">
            <a:off x="3809957" y="2570423"/>
            <a:ext cx="1728650" cy="627440"/>
          </a:xfrm>
          <a:prstGeom prst="rect">
            <a:avLst/>
          </a:prstGeom>
          <a:noFill/>
        </p:spPr>
        <p:txBody>
          <a:bodyPr wrap="none" rtlCol="0">
            <a:prstTxWarp prst="textArchUp">
              <a:avLst>
                <a:gd name="adj" fmla="val 12031325"/>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Quality scoring of </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requirements</a:t>
            </a:r>
          </a:p>
        </p:txBody>
      </p:sp>
      <p:sp>
        <p:nvSpPr>
          <p:cNvPr id="38" name="TextBox 37">
            <a:extLst>
              <a:ext uri="{FF2B5EF4-FFF2-40B4-BE49-F238E27FC236}">
                <a16:creationId xmlns:a16="http://schemas.microsoft.com/office/drawing/2014/main" id="{88B8D746-4BB6-D3FB-445C-43261B6FE5BE}"/>
              </a:ext>
            </a:extLst>
          </p:cNvPr>
          <p:cNvSpPr txBox="1"/>
          <p:nvPr/>
        </p:nvSpPr>
        <p:spPr>
          <a:xfrm rot="20240693">
            <a:off x="4845140" y="1516555"/>
            <a:ext cx="1789905" cy="605966"/>
          </a:xfrm>
          <a:prstGeom prst="rect">
            <a:avLst/>
          </a:prstGeom>
          <a:noFill/>
        </p:spPr>
        <p:txBody>
          <a:bodyPr wrap="none" rtlCol="0">
            <a:prstTxWarp prst="textArchUp">
              <a:avLst>
                <a:gd name="adj" fmla="val 10848305"/>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Test Planning </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Assistant</a:t>
            </a:r>
          </a:p>
        </p:txBody>
      </p:sp>
      <p:sp>
        <p:nvSpPr>
          <p:cNvPr id="39" name="TextBox 38">
            <a:extLst>
              <a:ext uri="{FF2B5EF4-FFF2-40B4-BE49-F238E27FC236}">
                <a16:creationId xmlns:a16="http://schemas.microsoft.com/office/drawing/2014/main" id="{914CA6C7-BB1D-3F28-0052-0A230EEBFCEE}"/>
              </a:ext>
            </a:extLst>
          </p:cNvPr>
          <p:cNvSpPr txBox="1"/>
          <p:nvPr/>
        </p:nvSpPr>
        <p:spPr>
          <a:xfrm rot="1517231">
            <a:off x="6389022" y="1505903"/>
            <a:ext cx="1789905" cy="605966"/>
          </a:xfrm>
          <a:prstGeom prst="rect">
            <a:avLst/>
          </a:prstGeom>
          <a:noFill/>
        </p:spPr>
        <p:txBody>
          <a:bodyPr wrap="none" rtlCol="0">
            <a:prstTxWarp prst="textArchUp">
              <a:avLst>
                <a:gd name="adj" fmla="val 10848305"/>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Manual Test case </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Generation </a:t>
            </a:r>
          </a:p>
        </p:txBody>
      </p:sp>
      <p:sp>
        <p:nvSpPr>
          <p:cNvPr id="40" name="TextBox 39">
            <a:extLst>
              <a:ext uri="{FF2B5EF4-FFF2-40B4-BE49-F238E27FC236}">
                <a16:creationId xmlns:a16="http://schemas.microsoft.com/office/drawing/2014/main" id="{2EF8FD77-240C-3986-406A-ED9C70DF69DA}"/>
              </a:ext>
            </a:extLst>
          </p:cNvPr>
          <p:cNvSpPr txBox="1"/>
          <p:nvPr/>
        </p:nvSpPr>
        <p:spPr>
          <a:xfrm rot="4136302">
            <a:off x="7521953" y="2499621"/>
            <a:ext cx="1728650" cy="627440"/>
          </a:xfrm>
          <a:prstGeom prst="rect">
            <a:avLst/>
          </a:prstGeom>
          <a:noFill/>
        </p:spPr>
        <p:txBody>
          <a:bodyPr wrap="none" rtlCol="0">
            <a:prstTxWarp prst="textArchUp">
              <a:avLst>
                <a:gd name="adj" fmla="val 10848305"/>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Autonomous Test</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Automation</a:t>
            </a:r>
          </a:p>
        </p:txBody>
      </p:sp>
      <p:sp>
        <p:nvSpPr>
          <p:cNvPr id="41" name="TextBox 40">
            <a:extLst>
              <a:ext uri="{FF2B5EF4-FFF2-40B4-BE49-F238E27FC236}">
                <a16:creationId xmlns:a16="http://schemas.microsoft.com/office/drawing/2014/main" id="{804D4D94-7EE4-F50A-4AEE-90228A96E473}"/>
              </a:ext>
            </a:extLst>
          </p:cNvPr>
          <p:cNvSpPr txBox="1"/>
          <p:nvPr/>
        </p:nvSpPr>
        <p:spPr>
          <a:xfrm rot="17570601">
            <a:off x="7528612" y="4131445"/>
            <a:ext cx="1741517" cy="622802"/>
          </a:xfrm>
          <a:prstGeom prst="rect">
            <a:avLst/>
          </a:prstGeom>
          <a:noFill/>
        </p:spPr>
        <p:txBody>
          <a:bodyPr wrap="none" rtlCol="0">
            <a:prstTxWarp prst="textArchDown">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Self healing</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Test Execution</a:t>
            </a:r>
          </a:p>
        </p:txBody>
      </p:sp>
      <p:sp>
        <p:nvSpPr>
          <p:cNvPr id="42" name="TextBox 41">
            <a:extLst>
              <a:ext uri="{FF2B5EF4-FFF2-40B4-BE49-F238E27FC236}">
                <a16:creationId xmlns:a16="http://schemas.microsoft.com/office/drawing/2014/main" id="{ADCD13C4-F7B3-8193-E3E7-365BEBC218E6}"/>
              </a:ext>
            </a:extLst>
          </p:cNvPr>
          <p:cNvSpPr txBox="1"/>
          <p:nvPr/>
        </p:nvSpPr>
        <p:spPr>
          <a:xfrm rot="4088502">
            <a:off x="3804814" y="4050199"/>
            <a:ext cx="1728650" cy="627440"/>
          </a:xfrm>
          <a:prstGeom prst="rect">
            <a:avLst/>
          </a:prstGeom>
          <a:noFill/>
        </p:spPr>
        <p:txBody>
          <a:bodyPr wrap="none" rtlCol="0">
            <a:prstTxWarp prst="textArchDown">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Test Data</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Generation</a:t>
            </a:r>
          </a:p>
        </p:txBody>
      </p:sp>
      <p:grpSp>
        <p:nvGrpSpPr>
          <p:cNvPr id="43" name="Group 42">
            <a:extLst>
              <a:ext uri="{FF2B5EF4-FFF2-40B4-BE49-F238E27FC236}">
                <a16:creationId xmlns:a16="http://schemas.microsoft.com/office/drawing/2014/main" id="{B873872B-C2F8-4C1B-FA5F-505E331E0242}"/>
              </a:ext>
            </a:extLst>
          </p:cNvPr>
          <p:cNvGrpSpPr/>
          <p:nvPr/>
        </p:nvGrpSpPr>
        <p:grpSpPr>
          <a:xfrm>
            <a:off x="4726683" y="2761704"/>
            <a:ext cx="424527" cy="409500"/>
            <a:chOff x="2970213" y="3378200"/>
            <a:chExt cx="1301750" cy="1300163"/>
          </a:xfrm>
        </p:grpSpPr>
        <p:sp>
          <p:nvSpPr>
            <p:cNvPr id="72" name="Freeform 57">
              <a:extLst>
                <a:ext uri="{FF2B5EF4-FFF2-40B4-BE49-F238E27FC236}">
                  <a16:creationId xmlns:a16="http://schemas.microsoft.com/office/drawing/2014/main" id="{F62708A3-3878-201C-C229-41142DBF0FD4}"/>
                </a:ext>
              </a:extLst>
            </p:cNvPr>
            <p:cNvSpPr>
              <a:spLocks/>
            </p:cNvSpPr>
            <p:nvPr/>
          </p:nvSpPr>
          <p:spPr bwMode="auto">
            <a:xfrm>
              <a:off x="2970213" y="3378200"/>
              <a:ext cx="1301750" cy="1300163"/>
            </a:xfrm>
            <a:custGeom>
              <a:avLst/>
              <a:gdLst>
                <a:gd name="T0" fmla="*/ 409 w 820"/>
                <a:gd name="T1" fmla="*/ 0 h 819"/>
                <a:gd name="T2" fmla="*/ 462 w 820"/>
                <a:gd name="T3" fmla="*/ 3 h 819"/>
                <a:gd name="T4" fmla="*/ 511 w 820"/>
                <a:gd name="T5" fmla="*/ 12 h 819"/>
                <a:gd name="T6" fmla="*/ 558 w 820"/>
                <a:gd name="T7" fmla="*/ 27 h 819"/>
                <a:gd name="T8" fmla="*/ 602 w 820"/>
                <a:gd name="T9" fmla="*/ 47 h 819"/>
                <a:gd name="T10" fmla="*/ 644 w 820"/>
                <a:gd name="T11" fmla="*/ 73 h 819"/>
                <a:gd name="T12" fmla="*/ 682 w 820"/>
                <a:gd name="T13" fmla="*/ 102 h 819"/>
                <a:gd name="T14" fmla="*/ 716 w 820"/>
                <a:gd name="T15" fmla="*/ 137 h 819"/>
                <a:gd name="T16" fmla="*/ 746 w 820"/>
                <a:gd name="T17" fmla="*/ 175 h 819"/>
                <a:gd name="T18" fmla="*/ 771 w 820"/>
                <a:gd name="T19" fmla="*/ 216 h 819"/>
                <a:gd name="T20" fmla="*/ 792 w 820"/>
                <a:gd name="T21" fmla="*/ 262 h 819"/>
                <a:gd name="T22" fmla="*/ 807 w 820"/>
                <a:gd name="T23" fmla="*/ 309 h 819"/>
                <a:gd name="T24" fmla="*/ 817 w 820"/>
                <a:gd name="T25" fmla="*/ 358 h 819"/>
                <a:gd name="T26" fmla="*/ 820 w 820"/>
                <a:gd name="T27" fmla="*/ 409 h 819"/>
                <a:gd name="T28" fmla="*/ 817 w 820"/>
                <a:gd name="T29" fmla="*/ 461 h 819"/>
                <a:gd name="T30" fmla="*/ 807 w 820"/>
                <a:gd name="T31" fmla="*/ 510 h 819"/>
                <a:gd name="T32" fmla="*/ 792 w 820"/>
                <a:gd name="T33" fmla="*/ 557 h 819"/>
                <a:gd name="T34" fmla="*/ 771 w 820"/>
                <a:gd name="T35" fmla="*/ 602 h 819"/>
                <a:gd name="T36" fmla="*/ 746 w 820"/>
                <a:gd name="T37" fmla="*/ 643 h 819"/>
                <a:gd name="T38" fmla="*/ 716 w 820"/>
                <a:gd name="T39" fmla="*/ 681 h 819"/>
                <a:gd name="T40" fmla="*/ 682 w 820"/>
                <a:gd name="T41" fmla="*/ 716 h 819"/>
                <a:gd name="T42" fmla="*/ 644 w 820"/>
                <a:gd name="T43" fmla="*/ 746 h 819"/>
                <a:gd name="T44" fmla="*/ 602 w 820"/>
                <a:gd name="T45" fmla="*/ 772 h 819"/>
                <a:gd name="T46" fmla="*/ 558 w 820"/>
                <a:gd name="T47" fmla="*/ 792 h 819"/>
                <a:gd name="T48" fmla="*/ 511 w 820"/>
                <a:gd name="T49" fmla="*/ 807 h 819"/>
                <a:gd name="T50" fmla="*/ 462 w 820"/>
                <a:gd name="T51" fmla="*/ 816 h 819"/>
                <a:gd name="T52" fmla="*/ 409 w 820"/>
                <a:gd name="T53" fmla="*/ 819 h 819"/>
                <a:gd name="T54" fmla="*/ 358 w 820"/>
                <a:gd name="T55" fmla="*/ 816 h 819"/>
                <a:gd name="T56" fmla="*/ 309 w 820"/>
                <a:gd name="T57" fmla="*/ 807 h 819"/>
                <a:gd name="T58" fmla="*/ 262 w 820"/>
                <a:gd name="T59" fmla="*/ 792 h 819"/>
                <a:gd name="T60" fmla="*/ 217 w 820"/>
                <a:gd name="T61" fmla="*/ 772 h 819"/>
                <a:gd name="T62" fmla="*/ 175 w 820"/>
                <a:gd name="T63" fmla="*/ 746 h 819"/>
                <a:gd name="T64" fmla="*/ 137 w 820"/>
                <a:gd name="T65" fmla="*/ 716 h 819"/>
                <a:gd name="T66" fmla="*/ 104 w 820"/>
                <a:gd name="T67" fmla="*/ 681 h 819"/>
                <a:gd name="T68" fmla="*/ 74 w 820"/>
                <a:gd name="T69" fmla="*/ 643 h 819"/>
                <a:gd name="T70" fmla="*/ 48 w 820"/>
                <a:gd name="T71" fmla="*/ 602 h 819"/>
                <a:gd name="T72" fmla="*/ 28 w 820"/>
                <a:gd name="T73" fmla="*/ 557 h 819"/>
                <a:gd name="T74" fmla="*/ 12 w 820"/>
                <a:gd name="T75" fmla="*/ 510 h 819"/>
                <a:gd name="T76" fmla="*/ 3 w 820"/>
                <a:gd name="T77" fmla="*/ 461 h 819"/>
                <a:gd name="T78" fmla="*/ 0 w 820"/>
                <a:gd name="T79" fmla="*/ 409 h 819"/>
                <a:gd name="T80" fmla="*/ 3 w 820"/>
                <a:gd name="T81" fmla="*/ 358 h 819"/>
                <a:gd name="T82" fmla="*/ 12 w 820"/>
                <a:gd name="T83" fmla="*/ 309 h 819"/>
                <a:gd name="T84" fmla="*/ 28 w 820"/>
                <a:gd name="T85" fmla="*/ 262 h 819"/>
                <a:gd name="T86" fmla="*/ 48 w 820"/>
                <a:gd name="T87" fmla="*/ 216 h 819"/>
                <a:gd name="T88" fmla="*/ 74 w 820"/>
                <a:gd name="T89" fmla="*/ 175 h 819"/>
                <a:gd name="T90" fmla="*/ 104 w 820"/>
                <a:gd name="T91" fmla="*/ 137 h 819"/>
                <a:gd name="T92" fmla="*/ 137 w 820"/>
                <a:gd name="T93" fmla="*/ 102 h 819"/>
                <a:gd name="T94" fmla="*/ 175 w 820"/>
                <a:gd name="T95" fmla="*/ 73 h 819"/>
                <a:gd name="T96" fmla="*/ 217 w 820"/>
                <a:gd name="T97" fmla="*/ 47 h 819"/>
                <a:gd name="T98" fmla="*/ 262 w 820"/>
                <a:gd name="T99" fmla="*/ 27 h 819"/>
                <a:gd name="T100" fmla="*/ 309 w 820"/>
                <a:gd name="T101" fmla="*/ 12 h 819"/>
                <a:gd name="T102" fmla="*/ 358 w 820"/>
                <a:gd name="T103" fmla="*/ 3 h 819"/>
                <a:gd name="T104" fmla="*/ 409 w 820"/>
                <a:gd name="T105"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19">
                  <a:moveTo>
                    <a:pt x="409" y="0"/>
                  </a:moveTo>
                  <a:lnTo>
                    <a:pt x="462" y="3"/>
                  </a:lnTo>
                  <a:lnTo>
                    <a:pt x="511" y="12"/>
                  </a:lnTo>
                  <a:lnTo>
                    <a:pt x="558" y="27"/>
                  </a:lnTo>
                  <a:lnTo>
                    <a:pt x="602" y="47"/>
                  </a:lnTo>
                  <a:lnTo>
                    <a:pt x="644" y="73"/>
                  </a:lnTo>
                  <a:lnTo>
                    <a:pt x="682" y="102"/>
                  </a:lnTo>
                  <a:lnTo>
                    <a:pt x="716" y="137"/>
                  </a:lnTo>
                  <a:lnTo>
                    <a:pt x="746" y="175"/>
                  </a:lnTo>
                  <a:lnTo>
                    <a:pt x="771" y="216"/>
                  </a:lnTo>
                  <a:lnTo>
                    <a:pt x="792" y="262"/>
                  </a:lnTo>
                  <a:lnTo>
                    <a:pt x="807" y="309"/>
                  </a:lnTo>
                  <a:lnTo>
                    <a:pt x="817" y="358"/>
                  </a:lnTo>
                  <a:lnTo>
                    <a:pt x="820" y="409"/>
                  </a:lnTo>
                  <a:lnTo>
                    <a:pt x="817" y="461"/>
                  </a:lnTo>
                  <a:lnTo>
                    <a:pt x="807" y="510"/>
                  </a:lnTo>
                  <a:lnTo>
                    <a:pt x="792" y="557"/>
                  </a:lnTo>
                  <a:lnTo>
                    <a:pt x="771" y="602"/>
                  </a:lnTo>
                  <a:lnTo>
                    <a:pt x="746" y="643"/>
                  </a:lnTo>
                  <a:lnTo>
                    <a:pt x="716" y="681"/>
                  </a:lnTo>
                  <a:lnTo>
                    <a:pt x="682" y="716"/>
                  </a:lnTo>
                  <a:lnTo>
                    <a:pt x="644" y="746"/>
                  </a:lnTo>
                  <a:lnTo>
                    <a:pt x="602" y="772"/>
                  </a:lnTo>
                  <a:lnTo>
                    <a:pt x="558" y="792"/>
                  </a:lnTo>
                  <a:lnTo>
                    <a:pt x="511" y="807"/>
                  </a:lnTo>
                  <a:lnTo>
                    <a:pt x="462" y="816"/>
                  </a:lnTo>
                  <a:lnTo>
                    <a:pt x="409" y="819"/>
                  </a:lnTo>
                  <a:lnTo>
                    <a:pt x="358" y="816"/>
                  </a:lnTo>
                  <a:lnTo>
                    <a:pt x="309" y="807"/>
                  </a:lnTo>
                  <a:lnTo>
                    <a:pt x="262" y="792"/>
                  </a:lnTo>
                  <a:lnTo>
                    <a:pt x="217" y="772"/>
                  </a:lnTo>
                  <a:lnTo>
                    <a:pt x="175" y="746"/>
                  </a:lnTo>
                  <a:lnTo>
                    <a:pt x="137" y="716"/>
                  </a:lnTo>
                  <a:lnTo>
                    <a:pt x="104" y="681"/>
                  </a:lnTo>
                  <a:lnTo>
                    <a:pt x="74" y="643"/>
                  </a:lnTo>
                  <a:lnTo>
                    <a:pt x="48" y="602"/>
                  </a:lnTo>
                  <a:lnTo>
                    <a:pt x="28" y="557"/>
                  </a:lnTo>
                  <a:lnTo>
                    <a:pt x="12" y="510"/>
                  </a:lnTo>
                  <a:lnTo>
                    <a:pt x="3" y="461"/>
                  </a:lnTo>
                  <a:lnTo>
                    <a:pt x="0" y="409"/>
                  </a:lnTo>
                  <a:lnTo>
                    <a:pt x="3" y="358"/>
                  </a:lnTo>
                  <a:lnTo>
                    <a:pt x="12" y="309"/>
                  </a:lnTo>
                  <a:lnTo>
                    <a:pt x="28" y="262"/>
                  </a:lnTo>
                  <a:lnTo>
                    <a:pt x="48" y="216"/>
                  </a:lnTo>
                  <a:lnTo>
                    <a:pt x="74" y="175"/>
                  </a:lnTo>
                  <a:lnTo>
                    <a:pt x="104" y="137"/>
                  </a:lnTo>
                  <a:lnTo>
                    <a:pt x="137" y="102"/>
                  </a:lnTo>
                  <a:lnTo>
                    <a:pt x="175" y="73"/>
                  </a:lnTo>
                  <a:lnTo>
                    <a:pt x="217" y="47"/>
                  </a:lnTo>
                  <a:lnTo>
                    <a:pt x="262" y="27"/>
                  </a:lnTo>
                  <a:lnTo>
                    <a:pt x="309" y="12"/>
                  </a:lnTo>
                  <a:lnTo>
                    <a:pt x="358" y="3"/>
                  </a:lnTo>
                  <a:lnTo>
                    <a:pt x="409"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3" name="Freeform 58">
              <a:extLst>
                <a:ext uri="{FF2B5EF4-FFF2-40B4-BE49-F238E27FC236}">
                  <a16:creationId xmlns:a16="http://schemas.microsoft.com/office/drawing/2014/main" id="{0EEF9885-D37F-4079-28F3-97890506715B}"/>
                </a:ext>
              </a:extLst>
            </p:cNvPr>
            <p:cNvSpPr>
              <a:spLocks/>
            </p:cNvSpPr>
            <p:nvPr/>
          </p:nvSpPr>
          <p:spPr bwMode="auto">
            <a:xfrm>
              <a:off x="3178176" y="3586163"/>
              <a:ext cx="884238" cy="885825"/>
            </a:xfrm>
            <a:custGeom>
              <a:avLst/>
              <a:gdLst>
                <a:gd name="T0" fmla="*/ 278 w 557"/>
                <a:gd name="T1" fmla="*/ 0 h 558"/>
                <a:gd name="T2" fmla="*/ 320 w 557"/>
                <a:gd name="T3" fmla="*/ 2 h 558"/>
                <a:gd name="T4" fmla="*/ 359 w 557"/>
                <a:gd name="T5" fmla="*/ 12 h 558"/>
                <a:gd name="T6" fmla="*/ 396 w 557"/>
                <a:gd name="T7" fmla="*/ 26 h 558"/>
                <a:gd name="T8" fmla="*/ 430 w 557"/>
                <a:gd name="T9" fmla="*/ 44 h 558"/>
                <a:gd name="T10" fmla="*/ 462 w 557"/>
                <a:gd name="T11" fmla="*/ 68 h 558"/>
                <a:gd name="T12" fmla="*/ 489 w 557"/>
                <a:gd name="T13" fmla="*/ 96 h 558"/>
                <a:gd name="T14" fmla="*/ 512 w 557"/>
                <a:gd name="T15" fmla="*/ 126 h 558"/>
                <a:gd name="T16" fmla="*/ 532 w 557"/>
                <a:gd name="T17" fmla="*/ 161 h 558"/>
                <a:gd name="T18" fmla="*/ 545 w 557"/>
                <a:gd name="T19" fmla="*/ 198 h 558"/>
                <a:gd name="T20" fmla="*/ 554 w 557"/>
                <a:gd name="T21" fmla="*/ 237 h 558"/>
                <a:gd name="T22" fmla="*/ 557 w 557"/>
                <a:gd name="T23" fmla="*/ 278 h 558"/>
                <a:gd name="T24" fmla="*/ 554 w 557"/>
                <a:gd name="T25" fmla="*/ 319 h 558"/>
                <a:gd name="T26" fmla="*/ 545 w 557"/>
                <a:gd name="T27" fmla="*/ 358 h 558"/>
                <a:gd name="T28" fmla="*/ 532 w 557"/>
                <a:gd name="T29" fmla="*/ 395 h 558"/>
                <a:gd name="T30" fmla="*/ 512 w 557"/>
                <a:gd name="T31" fmla="*/ 430 h 558"/>
                <a:gd name="T32" fmla="*/ 489 w 557"/>
                <a:gd name="T33" fmla="*/ 461 h 558"/>
                <a:gd name="T34" fmla="*/ 462 w 557"/>
                <a:gd name="T35" fmla="*/ 489 h 558"/>
                <a:gd name="T36" fmla="*/ 430 w 557"/>
                <a:gd name="T37" fmla="*/ 512 h 558"/>
                <a:gd name="T38" fmla="*/ 396 w 557"/>
                <a:gd name="T39" fmla="*/ 531 h 558"/>
                <a:gd name="T40" fmla="*/ 359 w 557"/>
                <a:gd name="T41" fmla="*/ 545 h 558"/>
                <a:gd name="T42" fmla="*/ 320 w 557"/>
                <a:gd name="T43" fmla="*/ 554 h 558"/>
                <a:gd name="T44" fmla="*/ 278 w 557"/>
                <a:gd name="T45" fmla="*/ 558 h 558"/>
                <a:gd name="T46" fmla="*/ 237 w 557"/>
                <a:gd name="T47" fmla="*/ 554 h 558"/>
                <a:gd name="T48" fmla="*/ 198 w 557"/>
                <a:gd name="T49" fmla="*/ 545 h 558"/>
                <a:gd name="T50" fmla="*/ 161 w 557"/>
                <a:gd name="T51" fmla="*/ 531 h 558"/>
                <a:gd name="T52" fmla="*/ 127 w 557"/>
                <a:gd name="T53" fmla="*/ 512 h 558"/>
                <a:gd name="T54" fmla="*/ 96 w 557"/>
                <a:gd name="T55" fmla="*/ 489 h 558"/>
                <a:gd name="T56" fmla="*/ 69 w 557"/>
                <a:gd name="T57" fmla="*/ 461 h 558"/>
                <a:gd name="T58" fmla="*/ 45 w 557"/>
                <a:gd name="T59" fmla="*/ 430 h 558"/>
                <a:gd name="T60" fmla="*/ 26 w 557"/>
                <a:gd name="T61" fmla="*/ 395 h 558"/>
                <a:gd name="T62" fmla="*/ 12 w 557"/>
                <a:gd name="T63" fmla="*/ 358 h 558"/>
                <a:gd name="T64" fmla="*/ 3 w 557"/>
                <a:gd name="T65" fmla="*/ 319 h 558"/>
                <a:gd name="T66" fmla="*/ 0 w 557"/>
                <a:gd name="T67" fmla="*/ 278 h 558"/>
                <a:gd name="T68" fmla="*/ 3 w 557"/>
                <a:gd name="T69" fmla="*/ 237 h 558"/>
                <a:gd name="T70" fmla="*/ 12 w 557"/>
                <a:gd name="T71" fmla="*/ 198 h 558"/>
                <a:gd name="T72" fmla="*/ 26 w 557"/>
                <a:gd name="T73" fmla="*/ 161 h 558"/>
                <a:gd name="T74" fmla="*/ 45 w 557"/>
                <a:gd name="T75" fmla="*/ 126 h 558"/>
                <a:gd name="T76" fmla="*/ 69 w 557"/>
                <a:gd name="T77" fmla="*/ 96 h 558"/>
                <a:gd name="T78" fmla="*/ 96 w 557"/>
                <a:gd name="T79" fmla="*/ 68 h 558"/>
                <a:gd name="T80" fmla="*/ 127 w 557"/>
                <a:gd name="T81" fmla="*/ 44 h 558"/>
                <a:gd name="T82" fmla="*/ 161 w 557"/>
                <a:gd name="T83" fmla="*/ 26 h 558"/>
                <a:gd name="T84" fmla="*/ 198 w 557"/>
                <a:gd name="T85" fmla="*/ 12 h 558"/>
                <a:gd name="T86" fmla="*/ 237 w 557"/>
                <a:gd name="T87" fmla="*/ 2 h 558"/>
                <a:gd name="T88" fmla="*/ 278 w 557"/>
                <a:gd name="T8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7" h="558">
                  <a:moveTo>
                    <a:pt x="278" y="0"/>
                  </a:moveTo>
                  <a:lnTo>
                    <a:pt x="320" y="2"/>
                  </a:lnTo>
                  <a:lnTo>
                    <a:pt x="359" y="12"/>
                  </a:lnTo>
                  <a:lnTo>
                    <a:pt x="396" y="26"/>
                  </a:lnTo>
                  <a:lnTo>
                    <a:pt x="430" y="44"/>
                  </a:lnTo>
                  <a:lnTo>
                    <a:pt x="462" y="68"/>
                  </a:lnTo>
                  <a:lnTo>
                    <a:pt x="489" y="96"/>
                  </a:lnTo>
                  <a:lnTo>
                    <a:pt x="512" y="126"/>
                  </a:lnTo>
                  <a:lnTo>
                    <a:pt x="532" y="161"/>
                  </a:lnTo>
                  <a:lnTo>
                    <a:pt x="545" y="198"/>
                  </a:lnTo>
                  <a:lnTo>
                    <a:pt x="554" y="237"/>
                  </a:lnTo>
                  <a:lnTo>
                    <a:pt x="557" y="278"/>
                  </a:lnTo>
                  <a:lnTo>
                    <a:pt x="554" y="319"/>
                  </a:lnTo>
                  <a:lnTo>
                    <a:pt x="545" y="358"/>
                  </a:lnTo>
                  <a:lnTo>
                    <a:pt x="532" y="395"/>
                  </a:lnTo>
                  <a:lnTo>
                    <a:pt x="512" y="430"/>
                  </a:lnTo>
                  <a:lnTo>
                    <a:pt x="489" y="461"/>
                  </a:lnTo>
                  <a:lnTo>
                    <a:pt x="462" y="489"/>
                  </a:lnTo>
                  <a:lnTo>
                    <a:pt x="430" y="512"/>
                  </a:lnTo>
                  <a:lnTo>
                    <a:pt x="396" y="531"/>
                  </a:lnTo>
                  <a:lnTo>
                    <a:pt x="359" y="545"/>
                  </a:lnTo>
                  <a:lnTo>
                    <a:pt x="320" y="554"/>
                  </a:lnTo>
                  <a:lnTo>
                    <a:pt x="278" y="558"/>
                  </a:lnTo>
                  <a:lnTo>
                    <a:pt x="237" y="554"/>
                  </a:lnTo>
                  <a:lnTo>
                    <a:pt x="198" y="545"/>
                  </a:lnTo>
                  <a:lnTo>
                    <a:pt x="161" y="531"/>
                  </a:lnTo>
                  <a:lnTo>
                    <a:pt x="127" y="512"/>
                  </a:lnTo>
                  <a:lnTo>
                    <a:pt x="96" y="489"/>
                  </a:lnTo>
                  <a:lnTo>
                    <a:pt x="69" y="461"/>
                  </a:lnTo>
                  <a:lnTo>
                    <a:pt x="45" y="430"/>
                  </a:lnTo>
                  <a:lnTo>
                    <a:pt x="26" y="395"/>
                  </a:lnTo>
                  <a:lnTo>
                    <a:pt x="12" y="358"/>
                  </a:lnTo>
                  <a:lnTo>
                    <a:pt x="3" y="319"/>
                  </a:lnTo>
                  <a:lnTo>
                    <a:pt x="0" y="278"/>
                  </a:lnTo>
                  <a:lnTo>
                    <a:pt x="3" y="237"/>
                  </a:lnTo>
                  <a:lnTo>
                    <a:pt x="12" y="198"/>
                  </a:lnTo>
                  <a:lnTo>
                    <a:pt x="26" y="161"/>
                  </a:lnTo>
                  <a:lnTo>
                    <a:pt x="45" y="126"/>
                  </a:lnTo>
                  <a:lnTo>
                    <a:pt x="69" y="96"/>
                  </a:lnTo>
                  <a:lnTo>
                    <a:pt x="96" y="68"/>
                  </a:lnTo>
                  <a:lnTo>
                    <a:pt x="127" y="44"/>
                  </a:lnTo>
                  <a:lnTo>
                    <a:pt x="161" y="26"/>
                  </a:lnTo>
                  <a:lnTo>
                    <a:pt x="198" y="12"/>
                  </a:lnTo>
                  <a:lnTo>
                    <a:pt x="237" y="2"/>
                  </a:lnTo>
                  <a:lnTo>
                    <a:pt x="278" y="0"/>
                  </a:lnTo>
                  <a:close/>
                </a:path>
              </a:pathLst>
            </a:custGeom>
            <a:solidFill>
              <a:srgbClr val="872E5A"/>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4" name="Freeform 59">
              <a:extLst>
                <a:ext uri="{FF2B5EF4-FFF2-40B4-BE49-F238E27FC236}">
                  <a16:creationId xmlns:a16="http://schemas.microsoft.com/office/drawing/2014/main" id="{E5B8713D-E2BF-3782-32C2-86C873432085}"/>
                </a:ext>
              </a:extLst>
            </p:cNvPr>
            <p:cNvSpPr>
              <a:spLocks/>
            </p:cNvSpPr>
            <p:nvPr/>
          </p:nvSpPr>
          <p:spPr bwMode="auto">
            <a:xfrm>
              <a:off x="3278188" y="3689350"/>
              <a:ext cx="676275" cy="677863"/>
            </a:xfrm>
            <a:custGeom>
              <a:avLst/>
              <a:gdLst>
                <a:gd name="T0" fmla="*/ 213 w 426"/>
                <a:gd name="T1" fmla="*/ 0 h 427"/>
                <a:gd name="T2" fmla="*/ 247 w 426"/>
                <a:gd name="T3" fmla="*/ 3 h 427"/>
                <a:gd name="T4" fmla="*/ 280 w 426"/>
                <a:gd name="T5" fmla="*/ 11 h 427"/>
                <a:gd name="T6" fmla="*/ 311 w 426"/>
                <a:gd name="T7" fmla="*/ 25 h 427"/>
                <a:gd name="T8" fmla="*/ 338 w 426"/>
                <a:gd name="T9" fmla="*/ 42 h 427"/>
                <a:gd name="T10" fmla="*/ 364 w 426"/>
                <a:gd name="T11" fmla="*/ 62 h 427"/>
                <a:gd name="T12" fmla="*/ 385 w 426"/>
                <a:gd name="T13" fmla="*/ 87 h 427"/>
                <a:gd name="T14" fmla="*/ 402 w 426"/>
                <a:gd name="T15" fmla="*/ 116 h 427"/>
                <a:gd name="T16" fmla="*/ 415 w 426"/>
                <a:gd name="T17" fmla="*/ 146 h 427"/>
                <a:gd name="T18" fmla="*/ 424 w 426"/>
                <a:gd name="T19" fmla="*/ 178 h 427"/>
                <a:gd name="T20" fmla="*/ 426 w 426"/>
                <a:gd name="T21" fmla="*/ 213 h 427"/>
                <a:gd name="T22" fmla="*/ 424 w 426"/>
                <a:gd name="T23" fmla="*/ 248 h 427"/>
                <a:gd name="T24" fmla="*/ 415 w 426"/>
                <a:gd name="T25" fmla="*/ 281 h 427"/>
                <a:gd name="T26" fmla="*/ 402 w 426"/>
                <a:gd name="T27" fmla="*/ 311 h 427"/>
                <a:gd name="T28" fmla="*/ 385 w 426"/>
                <a:gd name="T29" fmla="*/ 340 h 427"/>
                <a:gd name="T30" fmla="*/ 364 w 426"/>
                <a:gd name="T31" fmla="*/ 364 h 427"/>
                <a:gd name="T32" fmla="*/ 338 w 426"/>
                <a:gd name="T33" fmla="*/ 386 h 427"/>
                <a:gd name="T34" fmla="*/ 311 w 426"/>
                <a:gd name="T35" fmla="*/ 402 h 427"/>
                <a:gd name="T36" fmla="*/ 280 w 426"/>
                <a:gd name="T37" fmla="*/ 416 h 427"/>
                <a:gd name="T38" fmla="*/ 247 w 426"/>
                <a:gd name="T39" fmla="*/ 424 h 427"/>
                <a:gd name="T40" fmla="*/ 213 w 426"/>
                <a:gd name="T41" fmla="*/ 427 h 427"/>
                <a:gd name="T42" fmla="*/ 178 w 426"/>
                <a:gd name="T43" fmla="*/ 424 h 427"/>
                <a:gd name="T44" fmla="*/ 146 w 426"/>
                <a:gd name="T45" fmla="*/ 416 h 427"/>
                <a:gd name="T46" fmla="*/ 115 w 426"/>
                <a:gd name="T47" fmla="*/ 402 h 427"/>
                <a:gd name="T48" fmla="*/ 87 w 426"/>
                <a:gd name="T49" fmla="*/ 386 h 427"/>
                <a:gd name="T50" fmla="*/ 62 w 426"/>
                <a:gd name="T51" fmla="*/ 364 h 427"/>
                <a:gd name="T52" fmla="*/ 41 w 426"/>
                <a:gd name="T53" fmla="*/ 340 h 427"/>
                <a:gd name="T54" fmla="*/ 23 w 426"/>
                <a:gd name="T55" fmla="*/ 311 h 427"/>
                <a:gd name="T56" fmla="*/ 11 w 426"/>
                <a:gd name="T57" fmla="*/ 281 h 427"/>
                <a:gd name="T58" fmla="*/ 3 w 426"/>
                <a:gd name="T59" fmla="*/ 248 h 427"/>
                <a:gd name="T60" fmla="*/ 0 w 426"/>
                <a:gd name="T61" fmla="*/ 213 h 427"/>
                <a:gd name="T62" fmla="*/ 3 w 426"/>
                <a:gd name="T63" fmla="*/ 178 h 427"/>
                <a:gd name="T64" fmla="*/ 11 w 426"/>
                <a:gd name="T65" fmla="*/ 146 h 427"/>
                <a:gd name="T66" fmla="*/ 23 w 426"/>
                <a:gd name="T67" fmla="*/ 116 h 427"/>
                <a:gd name="T68" fmla="*/ 41 w 426"/>
                <a:gd name="T69" fmla="*/ 87 h 427"/>
                <a:gd name="T70" fmla="*/ 62 w 426"/>
                <a:gd name="T71" fmla="*/ 62 h 427"/>
                <a:gd name="T72" fmla="*/ 87 w 426"/>
                <a:gd name="T73" fmla="*/ 42 h 427"/>
                <a:gd name="T74" fmla="*/ 115 w 426"/>
                <a:gd name="T75" fmla="*/ 25 h 427"/>
                <a:gd name="T76" fmla="*/ 146 w 426"/>
                <a:gd name="T77" fmla="*/ 11 h 427"/>
                <a:gd name="T78" fmla="*/ 178 w 426"/>
                <a:gd name="T79" fmla="*/ 3 h 427"/>
                <a:gd name="T80" fmla="*/ 213 w 426"/>
                <a:gd name="T81"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6" h="427">
                  <a:moveTo>
                    <a:pt x="213" y="0"/>
                  </a:moveTo>
                  <a:lnTo>
                    <a:pt x="247" y="3"/>
                  </a:lnTo>
                  <a:lnTo>
                    <a:pt x="280" y="11"/>
                  </a:lnTo>
                  <a:lnTo>
                    <a:pt x="311" y="25"/>
                  </a:lnTo>
                  <a:lnTo>
                    <a:pt x="338" y="42"/>
                  </a:lnTo>
                  <a:lnTo>
                    <a:pt x="364" y="62"/>
                  </a:lnTo>
                  <a:lnTo>
                    <a:pt x="385" y="87"/>
                  </a:lnTo>
                  <a:lnTo>
                    <a:pt x="402" y="116"/>
                  </a:lnTo>
                  <a:lnTo>
                    <a:pt x="415" y="146"/>
                  </a:lnTo>
                  <a:lnTo>
                    <a:pt x="424" y="178"/>
                  </a:lnTo>
                  <a:lnTo>
                    <a:pt x="426" y="213"/>
                  </a:lnTo>
                  <a:lnTo>
                    <a:pt x="424" y="248"/>
                  </a:lnTo>
                  <a:lnTo>
                    <a:pt x="415" y="281"/>
                  </a:lnTo>
                  <a:lnTo>
                    <a:pt x="402" y="311"/>
                  </a:lnTo>
                  <a:lnTo>
                    <a:pt x="385" y="340"/>
                  </a:lnTo>
                  <a:lnTo>
                    <a:pt x="364" y="364"/>
                  </a:lnTo>
                  <a:lnTo>
                    <a:pt x="338" y="386"/>
                  </a:lnTo>
                  <a:lnTo>
                    <a:pt x="311" y="402"/>
                  </a:lnTo>
                  <a:lnTo>
                    <a:pt x="280" y="416"/>
                  </a:lnTo>
                  <a:lnTo>
                    <a:pt x="247" y="424"/>
                  </a:lnTo>
                  <a:lnTo>
                    <a:pt x="213" y="427"/>
                  </a:lnTo>
                  <a:lnTo>
                    <a:pt x="178" y="424"/>
                  </a:lnTo>
                  <a:lnTo>
                    <a:pt x="146" y="416"/>
                  </a:lnTo>
                  <a:lnTo>
                    <a:pt x="115" y="402"/>
                  </a:lnTo>
                  <a:lnTo>
                    <a:pt x="87" y="386"/>
                  </a:lnTo>
                  <a:lnTo>
                    <a:pt x="62" y="364"/>
                  </a:lnTo>
                  <a:lnTo>
                    <a:pt x="41" y="340"/>
                  </a:lnTo>
                  <a:lnTo>
                    <a:pt x="23" y="311"/>
                  </a:lnTo>
                  <a:lnTo>
                    <a:pt x="11" y="281"/>
                  </a:lnTo>
                  <a:lnTo>
                    <a:pt x="3" y="248"/>
                  </a:lnTo>
                  <a:lnTo>
                    <a:pt x="0" y="213"/>
                  </a:lnTo>
                  <a:lnTo>
                    <a:pt x="3" y="178"/>
                  </a:lnTo>
                  <a:lnTo>
                    <a:pt x="11" y="146"/>
                  </a:lnTo>
                  <a:lnTo>
                    <a:pt x="23" y="116"/>
                  </a:lnTo>
                  <a:lnTo>
                    <a:pt x="41" y="87"/>
                  </a:lnTo>
                  <a:lnTo>
                    <a:pt x="62" y="62"/>
                  </a:lnTo>
                  <a:lnTo>
                    <a:pt x="87" y="42"/>
                  </a:lnTo>
                  <a:lnTo>
                    <a:pt x="115" y="25"/>
                  </a:lnTo>
                  <a:lnTo>
                    <a:pt x="146" y="11"/>
                  </a:lnTo>
                  <a:lnTo>
                    <a:pt x="178" y="3"/>
                  </a:lnTo>
                  <a:lnTo>
                    <a:pt x="213" y="0"/>
                  </a:lnTo>
                  <a:close/>
                </a:path>
              </a:pathLst>
            </a:custGeom>
            <a:solidFill>
              <a:srgbClr val="872E5A">
                <a:lumMod val="20000"/>
                <a:lumOff val="80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5" name="Freeform 60">
              <a:extLst>
                <a:ext uri="{FF2B5EF4-FFF2-40B4-BE49-F238E27FC236}">
                  <a16:creationId xmlns:a16="http://schemas.microsoft.com/office/drawing/2014/main" id="{9CBFB3CD-EF62-1E80-7D4A-799FB6AF340D}"/>
                </a:ext>
              </a:extLst>
            </p:cNvPr>
            <p:cNvSpPr>
              <a:spLocks/>
            </p:cNvSpPr>
            <p:nvPr/>
          </p:nvSpPr>
          <p:spPr bwMode="auto">
            <a:xfrm>
              <a:off x="3371851" y="3783013"/>
              <a:ext cx="488950" cy="488950"/>
            </a:xfrm>
            <a:custGeom>
              <a:avLst/>
              <a:gdLst>
                <a:gd name="T0" fmla="*/ 154 w 308"/>
                <a:gd name="T1" fmla="*/ 0 h 308"/>
                <a:gd name="T2" fmla="*/ 185 w 308"/>
                <a:gd name="T3" fmla="*/ 3 h 308"/>
                <a:gd name="T4" fmla="*/ 214 w 308"/>
                <a:gd name="T5" fmla="*/ 13 h 308"/>
                <a:gd name="T6" fmla="*/ 240 w 308"/>
                <a:gd name="T7" fmla="*/ 27 h 308"/>
                <a:gd name="T8" fmla="*/ 263 w 308"/>
                <a:gd name="T9" fmla="*/ 46 h 308"/>
                <a:gd name="T10" fmla="*/ 281 w 308"/>
                <a:gd name="T11" fmla="*/ 68 h 308"/>
                <a:gd name="T12" fmla="*/ 296 w 308"/>
                <a:gd name="T13" fmla="*/ 95 h 308"/>
                <a:gd name="T14" fmla="*/ 305 w 308"/>
                <a:gd name="T15" fmla="*/ 124 h 308"/>
                <a:gd name="T16" fmla="*/ 308 w 308"/>
                <a:gd name="T17" fmla="*/ 154 h 308"/>
                <a:gd name="T18" fmla="*/ 305 w 308"/>
                <a:gd name="T19" fmla="*/ 185 h 308"/>
                <a:gd name="T20" fmla="*/ 296 w 308"/>
                <a:gd name="T21" fmla="*/ 214 h 308"/>
                <a:gd name="T22" fmla="*/ 281 w 308"/>
                <a:gd name="T23" fmla="*/ 241 h 308"/>
                <a:gd name="T24" fmla="*/ 263 w 308"/>
                <a:gd name="T25" fmla="*/ 263 h 308"/>
                <a:gd name="T26" fmla="*/ 240 w 308"/>
                <a:gd name="T27" fmla="*/ 283 h 308"/>
                <a:gd name="T28" fmla="*/ 214 w 308"/>
                <a:gd name="T29" fmla="*/ 296 h 308"/>
                <a:gd name="T30" fmla="*/ 185 w 308"/>
                <a:gd name="T31" fmla="*/ 305 h 308"/>
                <a:gd name="T32" fmla="*/ 154 w 308"/>
                <a:gd name="T33" fmla="*/ 308 h 308"/>
                <a:gd name="T34" fmla="*/ 122 w 308"/>
                <a:gd name="T35" fmla="*/ 305 h 308"/>
                <a:gd name="T36" fmla="*/ 94 w 308"/>
                <a:gd name="T37" fmla="*/ 296 h 308"/>
                <a:gd name="T38" fmla="*/ 68 w 308"/>
                <a:gd name="T39" fmla="*/ 283 h 308"/>
                <a:gd name="T40" fmla="*/ 45 w 308"/>
                <a:gd name="T41" fmla="*/ 263 h 308"/>
                <a:gd name="T42" fmla="*/ 26 w 308"/>
                <a:gd name="T43" fmla="*/ 241 h 308"/>
                <a:gd name="T44" fmla="*/ 12 w 308"/>
                <a:gd name="T45" fmla="*/ 214 h 308"/>
                <a:gd name="T46" fmla="*/ 3 w 308"/>
                <a:gd name="T47" fmla="*/ 185 h 308"/>
                <a:gd name="T48" fmla="*/ 0 w 308"/>
                <a:gd name="T49" fmla="*/ 154 h 308"/>
                <a:gd name="T50" fmla="*/ 3 w 308"/>
                <a:gd name="T51" fmla="*/ 124 h 308"/>
                <a:gd name="T52" fmla="*/ 12 w 308"/>
                <a:gd name="T53" fmla="*/ 95 h 308"/>
                <a:gd name="T54" fmla="*/ 26 w 308"/>
                <a:gd name="T55" fmla="*/ 68 h 308"/>
                <a:gd name="T56" fmla="*/ 45 w 308"/>
                <a:gd name="T57" fmla="*/ 46 h 308"/>
                <a:gd name="T58" fmla="*/ 68 w 308"/>
                <a:gd name="T59" fmla="*/ 27 h 308"/>
                <a:gd name="T60" fmla="*/ 94 w 308"/>
                <a:gd name="T61" fmla="*/ 13 h 308"/>
                <a:gd name="T62" fmla="*/ 122 w 308"/>
                <a:gd name="T63" fmla="*/ 3 h 308"/>
                <a:gd name="T64" fmla="*/ 154 w 308"/>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308">
                  <a:moveTo>
                    <a:pt x="154" y="0"/>
                  </a:moveTo>
                  <a:lnTo>
                    <a:pt x="185" y="3"/>
                  </a:lnTo>
                  <a:lnTo>
                    <a:pt x="214" y="13"/>
                  </a:lnTo>
                  <a:lnTo>
                    <a:pt x="240" y="27"/>
                  </a:lnTo>
                  <a:lnTo>
                    <a:pt x="263" y="46"/>
                  </a:lnTo>
                  <a:lnTo>
                    <a:pt x="281" y="68"/>
                  </a:lnTo>
                  <a:lnTo>
                    <a:pt x="296" y="95"/>
                  </a:lnTo>
                  <a:lnTo>
                    <a:pt x="305" y="124"/>
                  </a:lnTo>
                  <a:lnTo>
                    <a:pt x="308" y="154"/>
                  </a:lnTo>
                  <a:lnTo>
                    <a:pt x="305" y="185"/>
                  </a:lnTo>
                  <a:lnTo>
                    <a:pt x="296" y="214"/>
                  </a:lnTo>
                  <a:lnTo>
                    <a:pt x="281" y="241"/>
                  </a:lnTo>
                  <a:lnTo>
                    <a:pt x="263" y="263"/>
                  </a:lnTo>
                  <a:lnTo>
                    <a:pt x="240" y="283"/>
                  </a:lnTo>
                  <a:lnTo>
                    <a:pt x="214" y="296"/>
                  </a:lnTo>
                  <a:lnTo>
                    <a:pt x="185" y="305"/>
                  </a:lnTo>
                  <a:lnTo>
                    <a:pt x="154" y="308"/>
                  </a:lnTo>
                  <a:lnTo>
                    <a:pt x="122" y="305"/>
                  </a:lnTo>
                  <a:lnTo>
                    <a:pt x="94" y="296"/>
                  </a:lnTo>
                  <a:lnTo>
                    <a:pt x="68" y="283"/>
                  </a:lnTo>
                  <a:lnTo>
                    <a:pt x="45" y="263"/>
                  </a:lnTo>
                  <a:lnTo>
                    <a:pt x="26" y="241"/>
                  </a:lnTo>
                  <a:lnTo>
                    <a:pt x="12" y="214"/>
                  </a:lnTo>
                  <a:lnTo>
                    <a:pt x="3" y="185"/>
                  </a:lnTo>
                  <a:lnTo>
                    <a:pt x="0" y="154"/>
                  </a:lnTo>
                  <a:lnTo>
                    <a:pt x="3" y="124"/>
                  </a:lnTo>
                  <a:lnTo>
                    <a:pt x="12" y="95"/>
                  </a:lnTo>
                  <a:lnTo>
                    <a:pt x="26" y="68"/>
                  </a:lnTo>
                  <a:lnTo>
                    <a:pt x="45" y="46"/>
                  </a:lnTo>
                  <a:lnTo>
                    <a:pt x="68" y="27"/>
                  </a:lnTo>
                  <a:lnTo>
                    <a:pt x="94" y="13"/>
                  </a:lnTo>
                  <a:lnTo>
                    <a:pt x="122" y="3"/>
                  </a:lnTo>
                  <a:lnTo>
                    <a:pt x="154" y="0"/>
                  </a:lnTo>
                  <a:close/>
                </a:path>
              </a:pathLst>
            </a:custGeom>
            <a:solidFill>
              <a:srgbClr val="872E5A"/>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6" name="Freeform 61">
              <a:extLst>
                <a:ext uri="{FF2B5EF4-FFF2-40B4-BE49-F238E27FC236}">
                  <a16:creationId xmlns:a16="http://schemas.microsoft.com/office/drawing/2014/main" id="{FF0131CA-6E3A-5788-5C01-C2B113C55CC6}"/>
                </a:ext>
              </a:extLst>
            </p:cNvPr>
            <p:cNvSpPr>
              <a:spLocks/>
            </p:cNvSpPr>
            <p:nvPr/>
          </p:nvSpPr>
          <p:spPr bwMode="auto">
            <a:xfrm>
              <a:off x="3470276" y="3876675"/>
              <a:ext cx="301625" cy="303213"/>
            </a:xfrm>
            <a:custGeom>
              <a:avLst/>
              <a:gdLst>
                <a:gd name="T0" fmla="*/ 94 w 190"/>
                <a:gd name="T1" fmla="*/ 0 h 191"/>
                <a:gd name="T2" fmla="*/ 117 w 190"/>
                <a:gd name="T3" fmla="*/ 2 h 191"/>
                <a:gd name="T4" fmla="*/ 136 w 190"/>
                <a:gd name="T5" fmla="*/ 10 h 191"/>
                <a:gd name="T6" fmla="*/ 154 w 190"/>
                <a:gd name="T7" fmla="*/ 21 h 191"/>
                <a:gd name="T8" fmla="*/ 169 w 190"/>
                <a:gd name="T9" fmla="*/ 36 h 191"/>
                <a:gd name="T10" fmla="*/ 180 w 190"/>
                <a:gd name="T11" fmla="*/ 53 h 191"/>
                <a:gd name="T12" fmla="*/ 188 w 190"/>
                <a:gd name="T13" fmla="*/ 74 h 191"/>
                <a:gd name="T14" fmla="*/ 190 w 190"/>
                <a:gd name="T15" fmla="*/ 95 h 191"/>
                <a:gd name="T16" fmla="*/ 188 w 190"/>
                <a:gd name="T17" fmla="*/ 117 h 191"/>
                <a:gd name="T18" fmla="*/ 180 w 190"/>
                <a:gd name="T19" fmla="*/ 137 h 191"/>
                <a:gd name="T20" fmla="*/ 169 w 190"/>
                <a:gd name="T21" fmla="*/ 155 h 191"/>
                <a:gd name="T22" fmla="*/ 154 w 190"/>
                <a:gd name="T23" fmla="*/ 169 h 191"/>
                <a:gd name="T24" fmla="*/ 136 w 190"/>
                <a:gd name="T25" fmla="*/ 181 h 191"/>
                <a:gd name="T26" fmla="*/ 117 w 190"/>
                <a:gd name="T27" fmla="*/ 188 h 191"/>
                <a:gd name="T28" fmla="*/ 94 w 190"/>
                <a:gd name="T29" fmla="*/ 191 h 191"/>
                <a:gd name="T30" fmla="*/ 73 w 190"/>
                <a:gd name="T31" fmla="*/ 188 h 191"/>
                <a:gd name="T32" fmla="*/ 53 w 190"/>
                <a:gd name="T33" fmla="*/ 181 h 191"/>
                <a:gd name="T34" fmla="*/ 36 w 190"/>
                <a:gd name="T35" fmla="*/ 169 h 191"/>
                <a:gd name="T36" fmla="*/ 20 w 190"/>
                <a:gd name="T37" fmla="*/ 155 h 191"/>
                <a:gd name="T38" fmla="*/ 9 w 190"/>
                <a:gd name="T39" fmla="*/ 137 h 191"/>
                <a:gd name="T40" fmla="*/ 2 w 190"/>
                <a:gd name="T41" fmla="*/ 117 h 191"/>
                <a:gd name="T42" fmla="*/ 0 w 190"/>
                <a:gd name="T43" fmla="*/ 95 h 191"/>
                <a:gd name="T44" fmla="*/ 2 w 190"/>
                <a:gd name="T45" fmla="*/ 74 h 191"/>
                <a:gd name="T46" fmla="*/ 9 w 190"/>
                <a:gd name="T47" fmla="*/ 53 h 191"/>
                <a:gd name="T48" fmla="*/ 20 w 190"/>
                <a:gd name="T49" fmla="*/ 36 h 191"/>
                <a:gd name="T50" fmla="*/ 36 w 190"/>
                <a:gd name="T51" fmla="*/ 21 h 191"/>
                <a:gd name="T52" fmla="*/ 53 w 190"/>
                <a:gd name="T53" fmla="*/ 10 h 191"/>
                <a:gd name="T54" fmla="*/ 73 w 190"/>
                <a:gd name="T55" fmla="*/ 2 h 191"/>
                <a:gd name="T56" fmla="*/ 94 w 190"/>
                <a:gd name="T5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 h="191">
                  <a:moveTo>
                    <a:pt x="94" y="0"/>
                  </a:moveTo>
                  <a:lnTo>
                    <a:pt x="117" y="2"/>
                  </a:lnTo>
                  <a:lnTo>
                    <a:pt x="136" y="10"/>
                  </a:lnTo>
                  <a:lnTo>
                    <a:pt x="154" y="21"/>
                  </a:lnTo>
                  <a:lnTo>
                    <a:pt x="169" y="36"/>
                  </a:lnTo>
                  <a:lnTo>
                    <a:pt x="180" y="53"/>
                  </a:lnTo>
                  <a:lnTo>
                    <a:pt x="188" y="74"/>
                  </a:lnTo>
                  <a:lnTo>
                    <a:pt x="190" y="95"/>
                  </a:lnTo>
                  <a:lnTo>
                    <a:pt x="188" y="117"/>
                  </a:lnTo>
                  <a:lnTo>
                    <a:pt x="180" y="137"/>
                  </a:lnTo>
                  <a:lnTo>
                    <a:pt x="169" y="155"/>
                  </a:lnTo>
                  <a:lnTo>
                    <a:pt x="154" y="169"/>
                  </a:lnTo>
                  <a:lnTo>
                    <a:pt x="136" y="181"/>
                  </a:lnTo>
                  <a:lnTo>
                    <a:pt x="117" y="188"/>
                  </a:lnTo>
                  <a:lnTo>
                    <a:pt x="94" y="191"/>
                  </a:lnTo>
                  <a:lnTo>
                    <a:pt x="73" y="188"/>
                  </a:lnTo>
                  <a:lnTo>
                    <a:pt x="53" y="181"/>
                  </a:lnTo>
                  <a:lnTo>
                    <a:pt x="36" y="169"/>
                  </a:lnTo>
                  <a:lnTo>
                    <a:pt x="20" y="155"/>
                  </a:lnTo>
                  <a:lnTo>
                    <a:pt x="9" y="137"/>
                  </a:lnTo>
                  <a:lnTo>
                    <a:pt x="2" y="117"/>
                  </a:lnTo>
                  <a:lnTo>
                    <a:pt x="0" y="95"/>
                  </a:lnTo>
                  <a:lnTo>
                    <a:pt x="2" y="74"/>
                  </a:lnTo>
                  <a:lnTo>
                    <a:pt x="9" y="53"/>
                  </a:lnTo>
                  <a:lnTo>
                    <a:pt x="20" y="36"/>
                  </a:lnTo>
                  <a:lnTo>
                    <a:pt x="36" y="21"/>
                  </a:lnTo>
                  <a:lnTo>
                    <a:pt x="53" y="10"/>
                  </a:lnTo>
                  <a:lnTo>
                    <a:pt x="73" y="2"/>
                  </a:lnTo>
                  <a:lnTo>
                    <a:pt x="94" y="0"/>
                  </a:lnTo>
                  <a:close/>
                </a:path>
              </a:pathLst>
            </a:custGeom>
            <a:solidFill>
              <a:srgbClr val="872E5A">
                <a:lumMod val="20000"/>
                <a:lumOff val="80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7" name="Freeform 62">
              <a:extLst>
                <a:ext uri="{FF2B5EF4-FFF2-40B4-BE49-F238E27FC236}">
                  <a16:creationId xmlns:a16="http://schemas.microsoft.com/office/drawing/2014/main" id="{414BA593-E695-7307-46D5-3C7B328B3655}"/>
                </a:ext>
              </a:extLst>
            </p:cNvPr>
            <p:cNvSpPr>
              <a:spLocks/>
            </p:cNvSpPr>
            <p:nvPr/>
          </p:nvSpPr>
          <p:spPr bwMode="auto">
            <a:xfrm>
              <a:off x="3533776" y="3944938"/>
              <a:ext cx="168275" cy="166688"/>
            </a:xfrm>
            <a:custGeom>
              <a:avLst/>
              <a:gdLst>
                <a:gd name="T0" fmla="*/ 53 w 106"/>
                <a:gd name="T1" fmla="*/ 0 h 105"/>
                <a:gd name="T2" fmla="*/ 70 w 106"/>
                <a:gd name="T3" fmla="*/ 2 h 105"/>
                <a:gd name="T4" fmla="*/ 84 w 106"/>
                <a:gd name="T5" fmla="*/ 10 h 105"/>
                <a:gd name="T6" fmla="*/ 95 w 106"/>
                <a:gd name="T7" fmla="*/ 22 h 105"/>
                <a:gd name="T8" fmla="*/ 102 w 106"/>
                <a:gd name="T9" fmla="*/ 36 h 105"/>
                <a:gd name="T10" fmla="*/ 106 w 106"/>
                <a:gd name="T11" fmla="*/ 52 h 105"/>
                <a:gd name="T12" fmla="*/ 102 w 106"/>
                <a:gd name="T13" fmla="*/ 69 h 105"/>
                <a:gd name="T14" fmla="*/ 95 w 106"/>
                <a:gd name="T15" fmla="*/ 83 h 105"/>
                <a:gd name="T16" fmla="*/ 84 w 106"/>
                <a:gd name="T17" fmla="*/ 94 h 105"/>
                <a:gd name="T18" fmla="*/ 70 w 106"/>
                <a:gd name="T19" fmla="*/ 103 h 105"/>
                <a:gd name="T20" fmla="*/ 53 w 106"/>
                <a:gd name="T21" fmla="*/ 105 h 105"/>
                <a:gd name="T22" fmla="*/ 37 w 106"/>
                <a:gd name="T23" fmla="*/ 103 h 105"/>
                <a:gd name="T24" fmla="*/ 21 w 106"/>
                <a:gd name="T25" fmla="*/ 94 h 105"/>
                <a:gd name="T26" fmla="*/ 10 w 106"/>
                <a:gd name="T27" fmla="*/ 83 h 105"/>
                <a:gd name="T28" fmla="*/ 3 w 106"/>
                <a:gd name="T29" fmla="*/ 69 h 105"/>
                <a:gd name="T30" fmla="*/ 0 w 106"/>
                <a:gd name="T31" fmla="*/ 52 h 105"/>
                <a:gd name="T32" fmla="*/ 3 w 106"/>
                <a:gd name="T33" fmla="*/ 36 h 105"/>
                <a:gd name="T34" fmla="*/ 10 w 106"/>
                <a:gd name="T35" fmla="*/ 22 h 105"/>
                <a:gd name="T36" fmla="*/ 21 w 106"/>
                <a:gd name="T37" fmla="*/ 10 h 105"/>
                <a:gd name="T38" fmla="*/ 37 w 106"/>
                <a:gd name="T39" fmla="*/ 2 h 105"/>
                <a:gd name="T40" fmla="*/ 53 w 106"/>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05">
                  <a:moveTo>
                    <a:pt x="53" y="0"/>
                  </a:moveTo>
                  <a:lnTo>
                    <a:pt x="70" y="2"/>
                  </a:lnTo>
                  <a:lnTo>
                    <a:pt x="84" y="10"/>
                  </a:lnTo>
                  <a:lnTo>
                    <a:pt x="95" y="22"/>
                  </a:lnTo>
                  <a:lnTo>
                    <a:pt x="102" y="36"/>
                  </a:lnTo>
                  <a:lnTo>
                    <a:pt x="106" y="52"/>
                  </a:lnTo>
                  <a:lnTo>
                    <a:pt x="102" y="69"/>
                  </a:lnTo>
                  <a:lnTo>
                    <a:pt x="95" y="83"/>
                  </a:lnTo>
                  <a:lnTo>
                    <a:pt x="84" y="94"/>
                  </a:lnTo>
                  <a:lnTo>
                    <a:pt x="70" y="103"/>
                  </a:lnTo>
                  <a:lnTo>
                    <a:pt x="53" y="105"/>
                  </a:lnTo>
                  <a:lnTo>
                    <a:pt x="37" y="103"/>
                  </a:lnTo>
                  <a:lnTo>
                    <a:pt x="21" y="94"/>
                  </a:lnTo>
                  <a:lnTo>
                    <a:pt x="10" y="83"/>
                  </a:lnTo>
                  <a:lnTo>
                    <a:pt x="3" y="69"/>
                  </a:lnTo>
                  <a:lnTo>
                    <a:pt x="0" y="52"/>
                  </a:lnTo>
                  <a:lnTo>
                    <a:pt x="3" y="36"/>
                  </a:lnTo>
                  <a:lnTo>
                    <a:pt x="10" y="22"/>
                  </a:lnTo>
                  <a:lnTo>
                    <a:pt x="21" y="10"/>
                  </a:lnTo>
                  <a:lnTo>
                    <a:pt x="37" y="2"/>
                  </a:lnTo>
                  <a:lnTo>
                    <a:pt x="53" y="0"/>
                  </a:lnTo>
                  <a:close/>
                </a:path>
              </a:pathLst>
            </a:custGeom>
            <a:solidFill>
              <a:srgbClr val="872E5A"/>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8" name="Freeform 63">
              <a:extLst>
                <a:ext uri="{FF2B5EF4-FFF2-40B4-BE49-F238E27FC236}">
                  <a16:creationId xmlns:a16="http://schemas.microsoft.com/office/drawing/2014/main" id="{8DE2A56F-460F-DCA1-FC58-365A1AE699A5}"/>
                </a:ext>
              </a:extLst>
            </p:cNvPr>
            <p:cNvSpPr>
              <a:spLocks/>
            </p:cNvSpPr>
            <p:nvPr/>
          </p:nvSpPr>
          <p:spPr bwMode="auto">
            <a:xfrm>
              <a:off x="3619501" y="3876675"/>
              <a:ext cx="152400" cy="152400"/>
            </a:xfrm>
            <a:custGeom>
              <a:avLst/>
              <a:gdLst>
                <a:gd name="T0" fmla="*/ 43 w 96"/>
                <a:gd name="T1" fmla="*/ 0 h 96"/>
                <a:gd name="T2" fmla="*/ 96 w 96"/>
                <a:gd name="T3" fmla="*/ 53 h 96"/>
                <a:gd name="T4" fmla="*/ 0 w 96"/>
                <a:gd name="T5" fmla="*/ 96 h 96"/>
                <a:gd name="T6" fmla="*/ 43 w 96"/>
                <a:gd name="T7" fmla="*/ 0 h 96"/>
              </a:gdLst>
              <a:ahLst/>
              <a:cxnLst>
                <a:cxn ang="0">
                  <a:pos x="T0" y="T1"/>
                </a:cxn>
                <a:cxn ang="0">
                  <a:pos x="T2" y="T3"/>
                </a:cxn>
                <a:cxn ang="0">
                  <a:pos x="T4" y="T5"/>
                </a:cxn>
                <a:cxn ang="0">
                  <a:pos x="T6" y="T7"/>
                </a:cxn>
              </a:cxnLst>
              <a:rect l="0" t="0" r="r" b="b"/>
              <a:pathLst>
                <a:path w="96" h="96">
                  <a:moveTo>
                    <a:pt x="43" y="0"/>
                  </a:moveTo>
                  <a:lnTo>
                    <a:pt x="96" y="53"/>
                  </a:lnTo>
                  <a:lnTo>
                    <a:pt x="0" y="96"/>
                  </a:lnTo>
                  <a:lnTo>
                    <a:pt x="43" y="0"/>
                  </a:lnTo>
                  <a:close/>
                </a:path>
              </a:pathLst>
            </a:custGeom>
            <a:solidFill>
              <a:srgbClr val="EBC04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9" name="Freeform 64">
              <a:extLst>
                <a:ext uri="{FF2B5EF4-FFF2-40B4-BE49-F238E27FC236}">
                  <a16:creationId xmlns:a16="http://schemas.microsoft.com/office/drawing/2014/main" id="{DE8EE4FD-4314-774A-FE06-5737C3A8D6D7}"/>
                </a:ext>
              </a:extLst>
            </p:cNvPr>
            <p:cNvSpPr>
              <a:spLocks/>
            </p:cNvSpPr>
            <p:nvPr/>
          </p:nvSpPr>
          <p:spPr bwMode="auto">
            <a:xfrm>
              <a:off x="3905251" y="3609975"/>
              <a:ext cx="134938" cy="133350"/>
            </a:xfrm>
            <a:custGeom>
              <a:avLst/>
              <a:gdLst>
                <a:gd name="T0" fmla="*/ 24 w 85"/>
                <a:gd name="T1" fmla="*/ 0 h 84"/>
                <a:gd name="T2" fmla="*/ 42 w 85"/>
                <a:gd name="T3" fmla="*/ 42 h 84"/>
                <a:gd name="T4" fmla="*/ 85 w 85"/>
                <a:gd name="T5" fmla="*/ 59 h 84"/>
                <a:gd name="T6" fmla="*/ 60 w 85"/>
                <a:gd name="T7" fmla="*/ 84 h 84"/>
                <a:gd name="T8" fmla="*/ 1 w 85"/>
                <a:gd name="T9" fmla="*/ 83 h 84"/>
                <a:gd name="T10" fmla="*/ 0 w 85"/>
                <a:gd name="T11" fmla="*/ 24 h 84"/>
                <a:gd name="T12" fmla="*/ 24 w 8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85" h="84">
                  <a:moveTo>
                    <a:pt x="24" y="0"/>
                  </a:moveTo>
                  <a:lnTo>
                    <a:pt x="42" y="42"/>
                  </a:lnTo>
                  <a:lnTo>
                    <a:pt x="85" y="59"/>
                  </a:lnTo>
                  <a:lnTo>
                    <a:pt x="60" y="84"/>
                  </a:lnTo>
                  <a:lnTo>
                    <a:pt x="1" y="83"/>
                  </a:lnTo>
                  <a:lnTo>
                    <a:pt x="0" y="24"/>
                  </a:lnTo>
                  <a:lnTo>
                    <a:pt x="24" y="0"/>
                  </a:lnTo>
                  <a:close/>
                </a:path>
              </a:pathLst>
            </a:custGeom>
            <a:solidFill>
              <a:srgbClr val="EBC04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80" name="Freeform 65">
              <a:extLst>
                <a:ext uri="{FF2B5EF4-FFF2-40B4-BE49-F238E27FC236}">
                  <a16:creationId xmlns:a16="http://schemas.microsoft.com/office/drawing/2014/main" id="{ACEF2BF2-7BA2-329C-A2F5-0BF0B71105F1}"/>
                </a:ext>
              </a:extLst>
            </p:cNvPr>
            <p:cNvSpPr>
              <a:spLocks/>
            </p:cNvSpPr>
            <p:nvPr/>
          </p:nvSpPr>
          <p:spPr bwMode="auto">
            <a:xfrm>
              <a:off x="3706813" y="3703638"/>
              <a:ext cx="236538" cy="239713"/>
            </a:xfrm>
            <a:custGeom>
              <a:avLst/>
              <a:gdLst>
                <a:gd name="T0" fmla="*/ 134 w 149"/>
                <a:gd name="T1" fmla="*/ 0 h 151"/>
                <a:gd name="T2" fmla="*/ 149 w 149"/>
                <a:gd name="T3" fmla="*/ 16 h 151"/>
                <a:gd name="T4" fmla="*/ 14 w 149"/>
                <a:gd name="T5" fmla="*/ 151 h 151"/>
                <a:gd name="T6" fmla="*/ 0 w 149"/>
                <a:gd name="T7" fmla="*/ 136 h 151"/>
                <a:gd name="T8" fmla="*/ 134 w 149"/>
                <a:gd name="T9" fmla="*/ 0 h 151"/>
              </a:gdLst>
              <a:ahLst/>
              <a:cxnLst>
                <a:cxn ang="0">
                  <a:pos x="T0" y="T1"/>
                </a:cxn>
                <a:cxn ang="0">
                  <a:pos x="T2" y="T3"/>
                </a:cxn>
                <a:cxn ang="0">
                  <a:pos x="T4" y="T5"/>
                </a:cxn>
                <a:cxn ang="0">
                  <a:pos x="T6" y="T7"/>
                </a:cxn>
                <a:cxn ang="0">
                  <a:pos x="T8" y="T9"/>
                </a:cxn>
              </a:cxnLst>
              <a:rect l="0" t="0" r="r" b="b"/>
              <a:pathLst>
                <a:path w="149" h="151">
                  <a:moveTo>
                    <a:pt x="134" y="0"/>
                  </a:moveTo>
                  <a:lnTo>
                    <a:pt x="149" y="16"/>
                  </a:lnTo>
                  <a:lnTo>
                    <a:pt x="14" y="151"/>
                  </a:lnTo>
                  <a:lnTo>
                    <a:pt x="0" y="136"/>
                  </a:lnTo>
                  <a:lnTo>
                    <a:pt x="134" y="0"/>
                  </a:lnTo>
                  <a:close/>
                </a:path>
              </a:pathLst>
            </a:custGeom>
            <a:solidFill>
              <a:srgbClr val="EBC04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grpSp>
      <p:grpSp>
        <p:nvGrpSpPr>
          <p:cNvPr id="44" name="Group 43">
            <a:extLst>
              <a:ext uri="{FF2B5EF4-FFF2-40B4-BE49-F238E27FC236}">
                <a16:creationId xmlns:a16="http://schemas.microsoft.com/office/drawing/2014/main" id="{B42CE8C9-6697-C1AA-E690-8E65A0E02A26}"/>
              </a:ext>
            </a:extLst>
          </p:cNvPr>
          <p:cNvGrpSpPr/>
          <p:nvPr/>
        </p:nvGrpSpPr>
        <p:grpSpPr>
          <a:xfrm>
            <a:off x="7927826" y="4012881"/>
            <a:ext cx="426082" cy="411499"/>
            <a:chOff x="6145202" y="4856175"/>
            <a:chExt cx="1306511" cy="1306516"/>
          </a:xfrm>
        </p:grpSpPr>
        <p:sp>
          <p:nvSpPr>
            <p:cNvPr id="64" name="Freeform 81">
              <a:extLst>
                <a:ext uri="{FF2B5EF4-FFF2-40B4-BE49-F238E27FC236}">
                  <a16:creationId xmlns:a16="http://schemas.microsoft.com/office/drawing/2014/main" id="{5980174D-D019-B55F-B11E-0D8BC9ED7B6A}"/>
                </a:ext>
              </a:extLst>
            </p:cNvPr>
            <p:cNvSpPr>
              <a:spLocks/>
            </p:cNvSpPr>
            <p:nvPr/>
          </p:nvSpPr>
          <p:spPr bwMode="auto">
            <a:xfrm>
              <a:off x="6145202" y="4856175"/>
              <a:ext cx="1306511" cy="1306516"/>
            </a:xfrm>
            <a:custGeom>
              <a:avLst/>
              <a:gdLst>
                <a:gd name="T0" fmla="*/ 412 w 823"/>
                <a:gd name="T1" fmla="*/ 0 h 823"/>
                <a:gd name="T2" fmla="*/ 464 w 823"/>
                <a:gd name="T3" fmla="*/ 3 h 823"/>
                <a:gd name="T4" fmla="*/ 513 w 823"/>
                <a:gd name="T5" fmla="*/ 13 h 823"/>
                <a:gd name="T6" fmla="*/ 560 w 823"/>
                <a:gd name="T7" fmla="*/ 28 h 823"/>
                <a:gd name="T8" fmla="*/ 605 w 823"/>
                <a:gd name="T9" fmla="*/ 48 h 823"/>
                <a:gd name="T10" fmla="*/ 648 w 823"/>
                <a:gd name="T11" fmla="*/ 74 h 823"/>
                <a:gd name="T12" fmla="*/ 685 w 823"/>
                <a:gd name="T13" fmla="*/ 105 h 823"/>
                <a:gd name="T14" fmla="*/ 719 w 823"/>
                <a:gd name="T15" fmla="*/ 138 h 823"/>
                <a:gd name="T16" fmla="*/ 750 w 823"/>
                <a:gd name="T17" fmla="*/ 176 h 823"/>
                <a:gd name="T18" fmla="*/ 775 w 823"/>
                <a:gd name="T19" fmla="*/ 218 h 823"/>
                <a:gd name="T20" fmla="*/ 795 w 823"/>
                <a:gd name="T21" fmla="*/ 263 h 823"/>
                <a:gd name="T22" fmla="*/ 811 w 823"/>
                <a:gd name="T23" fmla="*/ 311 h 823"/>
                <a:gd name="T24" fmla="*/ 820 w 823"/>
                <a:gd name="T25" fmla="*/ 360 h 823"/>
                <a:gd name="T26" fmla="*/ 823 w 823"/>
                <a:gd name="T27" fmla="*/ 411 h 823"/>
                <a:gd name="T28" fmla="*/ 820 w 823"/>
                <a:gd name="T29" fmla="*/ 464 h 823"/>
                <a:gd name="T30" fmla="*/ 811 w 823"/>
                <a:gd name="T31" fmla="*/ 513 h 823"/>
                <a:gd name="T32" fmla="*/ 795 w 823"/>
                <a:gd name="T33" fmla="*/ 560 h 823"/>
                <a:gd name="T34" fmla="*/ 775 w 823"/>
                <a:gd name="T35" fmla="*/ 605 h 823"/>
                <a:gd name="T36" fmla="*/ 750 w 823"/>
                <a:gd name="T37" fmla="*/ 646 h 823"/>
                <a:gd name="T38" fmla="*/ 719 w 823"/>
                <a:gd name="T39" fmla="*/ 685 h 823"/>
                <a:gd name="T40" fmla="*/ 685 w 823"/>
                <a:gd name="T41" fmla="*/ 719 h 823"/>
                <a:gd name="T42" fmla="*/ 648 w 823"/>
                <a:gd name="T43" fmla="*/ 750 h 823"/>
                <a:gd name="T44" fmla="*/ 605 w 823"/>
                <a:gd name="T45" fmla="*/ 775 h 823"/>
                <a:gd name="T46" fmla="*/ 560 w 823"/>
                <a:gd name="T47" fmla="*/ 795 h 823"/>
                <a:gd name="T48" fmla="*/ 513 w 823"/>
                <a:gd name="T49" fmla="*/ 811 h 823"/>
                <a:gd name="T50" fmla="*/ 464 w 823"/>
                <a:gd name="T51" fmla="*/ 820 h 823"/>
                <a:gd name="T52" fmla="*/ 412 w 823"/>
                <a:gd name="T53" fmla="*/ 823 h 823"/>
                <a:gd name="T54" fmla="*/ 360 w 823"/>
                <a:gd name="T55" fmla="*/ 820 h 823"/>
                <a:gd name="T56" fmla="*/ 311 w 823"/>
                <a:gd name="T57" fmla="*/ 811 h 823"/>
                <a:gd name="T58" fmla="*/ 264 w 823"/>
                <a:gd name="T59" fmla="*/ 795 h 823"/>
                <a:gd name="T60" fmla="*/ 219 w 823"/>
                <a:gd name="T61" fmla="*/ 775 h 823"/>
                <a:gd name="T62" fmla="*/ 177 w 823"/>
                <a:gd name="T63" fmla="*/ 750 h 823"/>
                <a:gd name="T64" fmla="*/ 139 w 823"/>
                <a:gd name="T65" fmla="*/ 719 h 823"/>
                <a:gd name="T66" fmla="*/ 105 w 823"/>
                <a:gd name="T67" fmla="*/ 685 h 823"/>
                <a:gd name="T68" fmla="*/ 74 w 823"/>
                <a:gd name="T69" fmla="*/ 646 h 823"/>
                <a:gd name="T70" fmla="*/ 48 w 823"/>
                <a:gd name="T71" fmla="*/ 605 h 823"/>
                <a:gd name="T72" fmla="*/ 28 w 823"/>
                <a:gd name="T73" fmla="*/ 560 h 823"/>
                <a:gd name="T74" fmla="*/ 14 w 823"/>
                <a:gd name="T75" fmla="*/ 513 h 823"/>
                <a:gd name="T76" fmla="*/ 4 w 823"/>
                <a:gd name="T77" fmla="*/ 464 h 823"/>
                <a:gd name="T78" fmla="*/ 0 w 823"/>
                <a:gd name="T79" fmla="*/ 411 h 823"/>
                <a:gd name="T80" fmla="*/ 4 w 823"/>
                <a:gd name="T81" fmla="*/ 360 h 823"/>
                <a:gd name="T82" fmla="*/ 14 w 823"/>
                <a:gd name="T83" fmla="*/ 311 h 823"/>
                <a:gd name="T84" fmla="*/ 28 w 823"/>
                <a:gd name="T85" fmla="*/ 263 h 823"/>
                <a:gd name="T86" fmla="*/ 48 w 823"/>
                <a:gd name="T87" fmla="*/ 218 h 823"/>
                <a:gd name="T88" fmla="*/ 74 w 823"/>
                <a:gd name="T89" fmla="*/ 176 h 823"/>
                <a:gd name="T90" fmla="*/ 105 w 823"/>
                <a:gd name="T91" fmla="*/ 138 h 823"/>
                <a:gd name="T92" fmla="*/ 139 w 823"/>
                <a:gd name="T93" fmla="*/ 105 h 823"/>
                <a:gd name="T94" fmla="*/ 177 w 823"/>
                <a:gd name="T95" fmla="*/ 74 h 823"/>
                <a:gd name="T96" fmla="*/ 219 w 823"/>
                <a:gd name="T97" fmla="*/ 48 h 823"/>
                <a:gd name="T98" fmla="*/ 264 w 823"/>
                <a:gd name="T99" fmla="*/ 28 h 823"/>
                <a:gd name="T100" fmla="*/ 311 w 823"/>
                <a:gd name="T101" fmla="*/ 13 h 823"/>
                <a:gd name="T102" fmla="*/ 360 w 823"/>
                <a:gd name="T103" fmla="*/ 3 h 823"/>
                <a:gd name="T104" fmla="*/ 412 w 823"/>
                <a:gd name="T10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3" h="823">
                  <a:moveTo>
                    <a:pt x="412" y="0"/>
                  </a:moveTo>
                  <a:lnTo>
                    <a:pt x="464" y="3"/>
                  </a:lnTo>
                  <a:lnTo>
                    <a:pt x="513" y="13"/>
                  </a:lnTo>
                  <a:lnTo>
                    <a:pt x="560" y="28"/>
                  </a:lnTo>
                  <a:lnTo>
                    <a:pt x="605" y="48"/>
                  </a:lnTo>
                  <a:lnTo>
                    <a:pt x="648" y="74"/>
                  </a:lnTo>
                  <a:lnTo>
                    <a:pt x="685" y="105"/>
                  </a:lnTo>
                  <a:lnTo>
                    <a:pt x="719" y="138"/>
                  </a:lnTo>
                  <a:lnTo>
                    <a:pt x="750" y="176"/>
                  </a:lnTo>
                  <a:lnTo>
                    <a:pt x="775" y="218"/>
                  </a:lnTo>
                  <a:lnTo>
                    <a:pt x="795" y="263"/>
                  </a:lnTo>
                  <a:lnTo>
                    <a:pt x="811" y="311"/>
                  </a:lnTo>
                  <a:lnTo>
                    <a:pt x="820" y="360"/>
                  </a:lnTo>
                  <a:lnTo>
                    <a:pt x="823" y="411"/>
                  </a:lnTo>
                  <a:lnTo>
                    <a:pt x="820" y="464"/>
                  </a:lnTo>
                  <a:lnTo>
                    <a:pt x="811" y="513"/>
                  </a:lnTo>
                  <a:lnTo>
                    <a:pt x="795" y="560"/>
                  </a:lnTo>
                  <a:lnTo>
                    <a:pt x="775" y="605"/>
                  </a:lnTo>
                  <a:lnTo>
                    <a:pt x="750" y="646"/>
                  </a:lnTo>
                  <a:lnTo>
                    <a:pt x="719" y="685"/>
                  </a:lnTo>
                  <a:lnTo>
                    <a:pt x="685" y="719"/>
                  </a:lnTo>
                  <a:lnTo>
                    <a:pt x="648" y="750"/>
                  </a:lnTo>
                  <a:lnTo>
                    <a:pt x="605" y="775"/>
                  </a:lnTo>
                  <a:lnTo>
                    <a:pt x="560" y="795"/>
                  </a:lnTo>
                  <a:lnTo>
                    <a:pt x="513" y="811"/>
                  </a:lnTo>
                  <a:lnTo>
                    <a:pt x="464" y="820"/>
                  </a:lnTo>
                  <a:lnTo>
                    <a:pt x="412" y="823"/>
                  </a:lnTo>
                  <a:lnTo>
                    <a:pt x="360" y="820"/>
                  </a:lnTo>
                  <a:lnTo>
                    <a:pt x="311" y="811"/>
                  </a:lnTo>
                  <a:lnTo>
                    <a:pt x="264" y="795"/>
                  </a:lnTo>
                  <a:lnTo>
                    <a:pt x="219" y="775"/>
                  </a:lnTo>
                  <a:lnTo>
                    <a:pt x="177" y="750"/>
                  </a:lnTo>
                  <a:lnTo>
                    <a:pt x="139" y="719"/>
                  </a:lnTo>
                  <a:lnTo>
                    <a:pt x="105" y="685"/>
                  </a:lnTo>
                  <a:lnTo>
                    <a:pt x="74" y="646"/>
                  </a:lnTo>
                  <a:lnTo>
                    <a:pt x="48" y="605"/>
                  </a:lnTo>
                  <a:lnTo>
                    <a:pt x="28" y="560"/>
                  </a:lnTo>
                  <a:lnTo>
                    <a:pt x="14" y="513"/>
                  </a:lnTo>
                  <a:lnTo>
                    <a:pt x="4" y="464"/>
                  </a:lnTo>
                  <a:lnTo>
                    <a:pt x="0" y="411"/>
                  </a:lnTo>
                  <a:lnTo>
                    <a:pt x="4" y="360"/>
                  </a:lnTo>
                  <a:lnTo>
                    <a:pt x="14" y="311"/>
                  </a:lnTo>
                  <a:lnTo>
                    <a:pt x="28" y="263"/>
                  </a:lnTo>
                  <a:lnTo>
                    <a:pt x="48" y="218"/>
                  </a:lnTo>
                  <a:lnTo>
                    <a:pt x="74" y="176"/>
                  </a:lnTo>
                  <a:lnTo>
                    <a:pt x="105" y="138"/>
                  </a:lnTo>
                  <a:lnTo>
                    <a:pt x="139" y="105"/>
                  </a:lnTo>
                  <a:lnTo>
                    <a:pt x="177" y="74"/>
                  </a:lnTo>
                  <a:lnTo>
                    <a:pt x="219" y="48"/>
                  </a:lnTo>
                  <a:lnTo>
                    <a:pt x="264" y="28"/>
                  </a:lnTo>
                  <a:lnTo>
                    <a:pt x="311" y="13"/>
                  </a:lnTo>
                  <a:lnTo>
                    <a:pt x="360" y="3"/>
                  </a:lnTo>
                  <a:lnTo>
                    <a:pt x="412"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5" name="Freeform 82">
              <a:extLst>
                <a:ext uri="{FF2B5EF4-FFF2-40B4-BE49-F238E27FC236}">
                  <a16:creationId xmlns:a16="http://schemas.microsoft.com/office/drawing/2014/main" id="{C690C9AF-431B-92C5-FF28-4BEAE7CAD2BF}"/>
                </a:ext>
              </a:extLst>
            </p:cNvPr>
            <p:cNvSpPr>
              <a:spLocks/>
            </p:cNvSpPr>
            <p:nvPr/>
          </p:nvSpPr>
          <p:spPr bwMode="auto">
            <a:xfrm>
              <a:off x="6392854" y="4895860"/>
              <a:ext cx="914398" cy="706438"/>
            </a:xfrm>
            <a:custGeom>
              <a:avLst/>
              <a:gdLst>
                <a:gd name="T0" fmla="*/ 422 w 576"/>
                <a:gd name="T1" fmla="*/ 14 h 445"/>
                <a:gd name="T2" fmla="*/ 388 w 576"/>
                <a:gd name="T3" fmla="*/ 30 h 445"/>
                <a:gd name="T4" fmla="*/ 367 w 576"/>
                <a:gd name="T5" fmla="*/ 62 h 445"/>
                <a:gd name="T6" fmla="*/ 365 w 576"/>
                <a:gd name="T7" fmla="*/ 99 h 445"/>
                <a:gd name="T8" fmla="*/ 380 w 576"/>
                <a:gd name="T9" fmla="*/ 134 h 445"/>
                <a:gd name="T10" fmla="*/ 535 w 576"/>
                <a:gd name="T11" fmla="*/ 291 h 445"/>
                <a:gd name="T12" fmla="*/ 568 w 576"/>
                <a:gd name="T13" fmla="*/ 341 h 445"/>
                <a:gd name="T14" fmla="*/ 576 w 576"/>
                <a:gd name="T15" fmla="*/ 383 h 445"/>
                <a:gd name="T16" fmla="*/ 566 w 576"/>
                <a:gd name="T17" fmla="*/ 413 h 445"/>
                <a:gd name="T18" fmla="*/ 543 w 576"/>
                <a:gd name="T19" fmla="*/ 436 h 445"/>
                <a:gd name="T20" fmla="*/ 507 w 576"/>
                <a:gd name="T21" fmla="*/ 445 h 445"/>
                <a:gd name="T22" fmla="*/ 468 w 576"/>
                <a:gd name="T23" fmla="*/ 436 h 445"/>
                <a:gd name="T24" fmla="*/ 426 w 576"/>
                <a:gd name="T25" fmla="*/ 406 h 445"/>
                <a:gd name="T26" fmla="*/ 135 w 576"/>
                <a:gd name="T27" fmla="*/ 117 h 445"/>
                <a:gd name="T28" fmla="*/ 88 w 576"/>
                <a:gd name="T29" fmla="*/ 101 h 445"/>
                <a:gd name="T30" fmla="*/ 51 w 576"/>
                <a:gd name="T31" fmla="*/ 109 h 445"/>
                <a:gd name="T32" fmla="*/ 25 w 576"/>
                <a:gd name="T33" fmla="*/ 135 h 445"/>
                <a:gd name="T34" fmla="*/ 13 w 576"/>
                <a:gd name="T35" fmla="*/ 167 h 445"/>
                <a:gd name="T36" fmla="*/ 18 w 576"/>
                <a:gd name="T37" fmla="*/ 204 h 445"/>
                <a:gd name="T38" fmla="*/ 41 w 576"/>
                <a:gd name="T39" fmla="*/ 240 h 445"/>
                <a:gd name="T40" fmla="*/ 109 w 576"/>
                <a:gd name="T41" fmla="*/ 326 h 445"/>
                <a:gd name="T42" fmla="*/ 18 w 576"/>
                <a:gd name="T43" fmla="*/ 231 h 445"/>
                <a:gd name="T44" fmla="*/ 2 w 576"/>
                <a:gd name="T45" fmla="*/ 193 h 445"/>
                <a:gd name="T46" fmla="*/ 2 w 576"/>
                <a:gd name="T47" fmla="*/ 158 h 445"/>
                <a:gd name="T48" fmla="*/ 16 w 576"/>
                <a:gd name="T49" fmla="*/ 126 h 445"/>
                <a:gd name="T50" fmla="*/ 40 w 576"/>
                <a:gd name="T51" fmla="*/ 101 h 445"/>
                <a:gd name="T52" fmla="*/ 72 w 576"/>
                <a:gd name="T53" fmla="*/ 90 h 445"/>
                <a:gd name="T54" fmla="*/ 109 w 576"/>
                <a:gd name="T55" fmla="*/ 92 h 445"/>
                <a:gd name="T56" fmla="*/ 148 w 576"/>
                <a:gd name="T57" fmla="*/ 111 h 445"/>
                <a:gd name="T58" fmla="*/ 435 w 576"/>
                <a:gd name="T59" fmla="*/ 397 h 445"/>
                <a:gd name="T60" fmla="*/ 478 w 576"/>
                <a:gd name="T61" fmla="*/ 426 h 445"/>
                <a:gd name="T62" fmla="*/ 518 w 576"/>
                <a:gd name="T63" fmla="*/ 431 h 445"/>
                <a:gd name="T64" fmla="*/ 548 w 576"/>
                <a:gd name="T65" fmla="*/ 416 h 445"/>
                <a:gd name="T66" fmla="*/ 561 w 576"/>
                <a:gd name="T67" fmla="*/ 392 h 445"/>
                <a:gd name="T68" fmla="*/ 561 w 576"/>
                <a:gd name="T69" fmla="*/ 359 h 445"/>
                <a:gd name="T70" fmla="*/ 543 w 576"/>
                <a:gd name="T71" fmla="*/ 321 h 445"/>
                <a:gd name="T72" fmla="*/ 385 w 576"/>
                <a:gd name="T73" fmla="*/ 160 h 445"/>
                <a:gd name="T74" fmla="*/ 358 w 576"/>
                <a:gd name="T75" fmla="*/ 121 h 445"/>
                <a:gd name="T76" fmla="*/ 351 w 576"/>
                <a:gd name="T77" fmla="*/ 80 h 445"/>
                <a:gd name="T78" fmla="*/ 362 w 576"/>
                <a:gd name="T79" fmla="*/ 42 h 445"/>
                <a:gd name="T80" fmla="*/ 387 w 576"/>
                <a:gd name="T81" fmla="*/ 15 h 445"/>
                <a:gd name="T82" fmla="*/ 420 w 576"/>
                <a:gd name="T83"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445">
                  <a:moveTo>
                    <a:pt x="420" y="0"/>
                  </a:moveTo>
                  <a:lnTo>
                    <a:pt x="422" y="14"/>
                  </a:lnTo>
                  <a:lnTo>
                    <a:pt x="403" y="19"/>
                  </a:lnTo>
                  <a:lnTo>
                    <a:pt x="388" y="30"/>
                  </a:lnTo>
                  <a:lnTo>
                    <a:pt x="376" y="45"/>
                  </a:lnTo>
                  <a:lnTo>
                    <a:pt x="367" y="62"/>
                  </a:lnTo>
                  <a:lnTo>
                    <a:pt x="364" y="81"/>
                  </a:lnTo>
                  <a:lnTo>
                    <a:pt x="365" y="99"/>
                  </a:lnTo>
                  <a:lnTo>
                    <a:pt x="370" y="116"/>
                  </a:lnTo>
                  <a:lnTo>
                    <a:pt x="380" y="134"/>
                  </a:lnTo>
                  <a:lnTo>
                    <a:pt x="393" y="150"/>
                  </a:lnTo>
                  <a:lnTo>
                    <a:pt x="535" y="291"/>
                  </a:lnTo>
                  <a:lnTo>
                    <a:pt x="555" y="316"/>
                  </a:lnTo>
                  <a:lnTo>
                    <a:pt x="568" y="341"/>
                  </a:lnTo>
                  <a:lnTo>
                    <a:pt x="576" y="366"/>
                  </a:lnTo>
                  <a:lnTo>
                    <a:pt x="576" y="383"/>
                  </a:lnTo>
                  <a:lnTo>
                    <a:pt x="573" y="399"/>
                  </a:lnTo>
                  <a:lnTo>
                    <a:pt x="566" y="413"/>
                  </a:lnTo>
                  <a:lnTo>
                    <a:pt x="557" y="425"/>
                  </a:lnTo>
                  <a:lnTo>
                    <a:pt x="543" y="436"/>
                  </a:lnTo>
                  <a:lnTo>
                    <a:pt x="526" y="442"/>
                  </a:lnTo>
                  <a:lnTo>
                    <a:pt x="507" y="445"/>
                  </a:lnTo>
                  <a:lnTo>
                    <a:pt x="487" y="442"/>
                  </a:lnTo>
                  <a:lnTo>
                    <a:pt x="468" y="436"/>
                  </a:lnTo>
                  <a:lnTo>
                    <a:pt x="446" y="423"/>
                  </a:lnTo>
                  <a:lnTo>
                    <a:pt x="426" y="406"/>
                  </a:lnTo>
                  <a:lnTo>
                    <a:pt x="157" y="137"/>
                  </a:lnTo>
                  <a:lnTo>
                    <a:pt x="135" y="117"/>
                  </a:lnTo>
                  <a:lnTo>
                    <a:pt x="111" y="106"/>
                  </a:lnTo>
                  <a:lnTo>
                    <a:pt x="88" y="101"/>
                  </a:lnTo>
                  <a:lnTo>
                    <a:pt x="69" y="103"/>
                  </a:lnTo>
                  <a:lnTo>
                    <a:pt x="51" y="109"/>
                  </a:lnTo>
                  <a:lnTo>
                    <a:pt x="36" y="122"/>
                  </a:lnTo>
                  <a:lnTo>
                    <a:pt x="25" y="135"/>
                  </a:lnTo>
                  <a:lnTo>
                    <a:pt x="18" y="150"/>
                  </a:lnTo>
                  <a:lnTo>
                    <a:pt x="13" y="167"/>
                  </a:lnTo>
                  <a:lnTo>
                    <a:pt x="13" y="185"/>
                  </a:lnTo>
                  <a:lnTo>
                    <a:pt x="18" y="204"/>
                  </a:lnTo>
                  <a:lnTo>
                    <a:pt x="27" y="222"/>
                  </a:lnTo>
                  <a:lnTo>
                    <a:pt x="41" y="240"/>
                  </a:lnTo>
                  <a:lnTo>
                    <a:pt x="118" y="317"/>
                  </a:lnTo>
                  <a:lnTo>
                    <a:pt x="109" y="326"/>
                  </a:lnTo>
                  <a:lnTo>
                    <a:pt x="32" y="249"/>
                  </a:lnTo>
                  <a:lnTo>
                    <a:pt x="18" y="231"/>
                  </a:lnTo>
                  <a:lnTo>
                    <a:pt x="7" y="213"/>
                  </a:lnTo>
                  <a:lnTo>
                    <a:pt x="2" y="193"/>
                  </a:lnTo>
                  <a:lnTo>
                    <a:pt x="0" y="175"/>
                  </a:lnTo>
                  <a:lnTo>
                    <a:pt x="2" y="158"/>
                  </a:lnTo>
                  <a:lnTo>
                    <a:pt x="7" y="141"/>
                  </a:lnTo>
                  <a:lnTo>
                    <a:pt x="16" y="126"/>
                  </a:lnTo>
                  <a:lnTo>
                    <a:pt x="27" y="112"/>
                  </a:lnTo>
                  <a:lnTo>
                    <a:pt x="40" y="101"/>
                  </a:lnTo>
                  <a:lnTo>
                    <a:pt x="56" y="94"/>
                  </a:lnTo>
                  <a:lnTo>
                    <a:pt x="72" y="90"/>
                  </a:lnTo>
                  <a:lnTo>
                    <a:pt x="88" y="89"/>
                  </a:lnTo>
                  <a:lnTo>
                    <a:pt x="109" y="92"/>
                  </a:lnTo>
                  <a:lnTo>
                    <a:pt x="128" y="99"/>
                  </a:lnTo>
                  <a:lnTo>
                    <a:pt x="148" y="111"/>
                  </a:lnTo>
                  <a:lnTo>
                    <a:pt x="166" y="128"/>
                  </a:lnTo>
                  <a:lnTo>
                    <a:pt x="435" y="397"/>
                  </a:lnTo>
                  <a:lnTo>
                    <a:pt x="456" y="414"/>
                  </a:lnTo>
                  <a:lnTo>
                    <a:pt x="478" y="426"/>
                  </a:lnTo>
                  <a:lnTo>
                    <a:pt x="500" y="432"/>
                  </a:lnTo>
                  <a:lnTo>
                    <a:pt x="518" y="431"/>
                  </a:lnTo>
                  <a:lnTo>
                    <a:pt x="535" y="425"/>
                  </a:lnTo>
                  <a:lnTo>
                    <a:pt x="548" y="416"/>
                  </a:lnTo>
                  <a:lnTo>
                    <a:pt x="556" y="405"/>
                  </a:lnTo>
                  <a:lnTo>
                    <a:pt x="561" y="392"/>
                  </a:lnTo>
                  <a:lnTo>
                    <a:pt x="563" y="376"/>
                  </a:lnTo>
                  <a:lnTo>
                    <a:pt x="561" y="359"/>
                  </a:lnTo>
                  <a:lnTo>
                    <a:pt x="554" y="340"/>
                  </a:lnTo>
                  <a:lnTo>
                    <a:pt x="543" y="321"/>
                  </a:lnTo>
                  <a:lnTo>
                    <a:pt x="525" y="300"/>
                  </a:lnTo>
                  <a:lnTo>
                    <a:pt x="385" y="160"/>
                  </a:lnTo>
                  <a:lnTo>
                    <a:pt x="369" y="141"/>
                  </a:lnTo>
                  <a:lnTo>
                    <a:pt x="358" y="121"/>
                  </a:lnTo>
                  <a:lnTo>
                    <a:pt x="352" y="100"/>
                  </a:lnTo>
                  <a:lnTo>
                    <a:pt x="351" y="80"/>
                  </a:lnTo>
                  <a:lnTo>
                    <a:pt x="355" y="59"/>
                  </a:lnTo>
                  <a:lnTo>
                    <a:pt x="362" y="42"/>
                  </a:lnTo>
                  <a:lnTo>
                    <a:pt x="374" y="27"/>
                  </a:lnTo>
                  <a:lnTo>
                    <a:pt x="387" y="15"/>
                  </a:lnTo>
                  <a:lnTo>
                    <a:pt x="402" y="6"/>
                  </a:lnTo>
                  <a:lnTo>
                    <a:pt x="420" y="0"/>
                  </a:lnTo>
                  <a:close/>
                </a:path>
              </a:pathLst>
            </a:custGeom>
            <a:solidFill>
              <a:sysClr val="window" lastClr="FFFFFF">
                <a:lumMod val="75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6" name="Freeform 83">
              <a:extLst>
                <a:ext uri="{FF2B5EF4-FFF2-40B4-BE49-F238E27FC236}">
                  <a16:creationId xmlns:a16="http://schemas.microsoft.com/office/drawing/2014/main" id="{AD69E72C-5769-0E53-F572-8949AA5CDBA3}"/>
                </a:ext>
              </a:extLst>
            </p:cNvPr>
            <p:cNvSpPr>
              <a:spLocks/>
            </p:cNvSpPr>
            <p:nvPr/>
          </p:nvSpPr>
          <p:spPr bwMode="auto">
            <a:xfrm>
              <a:off x="6494452" y="5332432"/>
              <a:ext cx="563563" cy="563565"/>
            </a:xfrm>
            <a:custGeom>
              <a:avLst/>
              <a:gdLst>
                <a:gd name="T0" fmla="*/ 134 w 355"/>
                <a:gd name="T1" fmla="*/ 0 h 355"/>
                <a:gd name="T2" fmla="*/ 161 w 355"/>
                <a:gd name="T3" fmla="*/ 3 h 355"/>
                <a:gd name="T4" fmla="*/ 185 w 355"/>
                <a:gd name="T5" fmla="*/ 10 h 355"/>
                <a:gd name="T6" fmla="*/ 209 w 355"/>
                <a:gd name="T7" fmla="*/ 22 h 355"/>
                <a:gd name="T8" fmla="*/ 230 w 355"/>
                <a:gd name="T9" fmla="*/ 40 h 355"/>
                <a:gd name="T10" fmla="*/ 316 w 355"/>
                <a:gd name="T11" fmla="*/ 126 h 355"/>
                <a:gd name="T12" fmla="*/ 333 w 355"/>
                <a:gd name="T13" fmla="*/ 146 h 355"/>
                <a:gd name="T14" fmla="*/ 345 w 355"/>
                <a:gd name="T15" fmla="*/ 170 h 355"/>
                <a:gd name="T16" fmla="*/ 353 w 355"/>
                <a:gd name="T17" fmla="*/ 195 h 355"/>
                <a:gd name="T18" fmla="*/ 355 w 355"/>
                <a:gd name="T19" fmla="*/ 220 h 355"/>
                <a:gd name="T20" fmla="*/ 353 w 355"/>
                <a:gd name="T21" fmla="*/ 246 h 355"/>
                <a:gd name="T22" fmla="*/ 345 w 355"/>
                <a:gd name="T23" fmla="*/ 272 h 355"/>
                <a:gd name="T24" fmla="*/ 333 w 355"/>
                <a:gd name="T25" fmla="*/ 294 h 355"/>
                <a:gd name="T26" fmla="*/ 316 w 355"/>
                <a:gd name="T27" fmla="*/ 316 h 355"/>
                <a:gd name="T28" fmla="*/ 294 w 355"/>
                <a:gd name="T29" fmla="*/ 333 h 355"/>
                <a:gd name="T30" fmla="*/ 272 w 355"/>
                <a:gd name="T31" fmla="*/ 345 h 355"/>
                <a:gd name="T32" fmla="*/ 246 w 355"/>
                <a:gd name="T33" fmla="*/ 353 h 355"/>
                <a:gd name="T34" fmla="*/ 220 w 355"/>
                <a:gd name="T35" fmla="*/ 355 h 355"/>
                <a:gd name="T36" fmla="*/ 195 w 355"/>
                <a:gd name="T37" fmla="*/ 353 h 355"/>
                <a:gd name="T38" fmla="*/ 170 w 355"/>
                <a:gd name="T39" fmla="*/ 345 h 355"/>
                <a:gd name="T40" fmla="*/ 146 w 355"/>
                <a:gd name="T41" fmla="*/ 333 h 355"/>
                <a:gd name="T42" fmla="*/ 126 w 355"/>
                <a:gd name="T43" fmla="*/ 316 h 355"/>
                <a:gd name="T44" fmla="*/ 40 w 355"/>
                <a:gd name="T45" fmla="*/ 229 h 355"/>
                <a:gd name="T46" fmla="*/ 22 w 355"/>
                <a:gd name="T47" fmla="*/ 209 h 355"/>
                <a:gd name="T48" fmla="*/ 10 w 355"/>
                <a:gd name="T49" fmla="*/ 185 h 355"/>
                <a:gd name="T50" fmla="*/ 3 w 355"/>
                <a:gd name="T51" fmla="*/ 160 h 355"/>
                <a:gd name="T52" fmla="*/ 0 w 355"/>
                <a:gd name="T53" fmla="*/ 134 h 355"/>
                <a:gd name="T54" fmla="*/ 3 w 355"/>
                <a:gd name="T55" fmla="*/ 108 h 355"/>
                <a:gd name="T56" fmla="*/ 10 w 355"/>
                <a:gd name="T57" fmla="*/ 84 h 355"/>
                <a:gd name="T58" fmla="*/ 22 w 355"/>
                <a:gd name="T59" fmla="*/ 60 h 355"/>
                <a:gd name="T60" fmla="*/ 40 w 355"/>
                <a:gd name="T61" fmla="*/ 40 h 355"/>
                <a:gd name="T62" fmla="*/ 60 w 355"/>
                <a:gd name="T63" fmla="*/ 22 h 355"/>
                <a:gd name="T64" fmla="*/ 84 w 355"/>
                <a:gd name="T65" fmla="*/ 10 h 355"/>
                <a:gd name="T66" fmla="*/ 108 w 355"/>
                <a:gd name="T67" fmla="*/ 3 h 355"/>
                <a:gd name="T68" fmla="*/ 134 w 355"/>
                <a:gd name="T69"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134" y="0"/>
                  </a:moveTo>
                  <a:lnTo>
                    <a:pt x="161" y="3"/>
                  </a:lnTo>
                  <a:lnTo>
                    <a:pt x="185" y="10"/>
                  </a:lnTo>
                  <a:lnTo>
                    <a:pt x="209" y="22"/>
                  </a:lnTo>
                  <a:lnTo>
                    <a:pt x="230" y="40"/>
                  </a:lnTo>
                  <a:lnTo>
                    <a:pt x="316" y="126"/>
                  </a:lnTo>
                  <a:lnTo>
                    <a:pt x="333" y="146"/>
                  </a:lnTo>
                  <a:lnTo>
                    <a:pt x="345" y="170"/>
                  </a:lnTo>
                  <a:lnTo>
                    <a:pt x="353" y="195"/>
                  </a:lnTo>
                  <a:lnTo>
                    <a:pt x="355" y="220"/>
                  </a:lnTo>
                  <a:lnTo>
                    <a:pt x="353" y="246"/>
                  </a:lnTo>
                  <a:lnTo>
                    <a:pt x="345" y="272"/>
                  </a:lnTo>
                  <a:lnTo>
                    <a:pt x="333" y="294"/>
                  </a:lnTo>
                  <a:lnTo>
                    <a:pt x="316" y="316"/>
                  </a:lnTo>
                  <a:lnTo>
                    <a:pt x="294" y="333"/>
                  </a:lnTo>
                  <a:lnTo>
                    <a:pt x="272" y="345"/>
                  </a:lnTo>
                  <a:lnTo>
                    <a:pt x="246" y="353"/>
                  </a:lnTo>
                  <a:lnTo>
                    <a:pt x="220" y="355"/>
                  </a:lnTo>
                  <a:lnTo>
                    <a:pt x="195" y="353"/>
                  </a:lnTo>
                  <a:lnTo>
                    <a:pt x="170" y="345"/>
                  </a:lnTo>
                  <a:lnTo>
                    <a:pt x="146" y="333"/>
                  </a:lnTo>
                  <a:lnTo>
                    <a:pt x="126" y="316"/>
                  </a:lnTo>
                  <a:lnTo>
                    <a:pt x="40" y="229"/>
                  </a:lnTo>
                  <a:lnTo>
                    <a:pt x="22" y="209"/>
                  </a:lnTo>
                  <a:lnTo>
                    <a:pt x="10" y="185"/>
                  </a:lnTo>
                  <a:lnTo>
                    <a:pt x="3" y="160"/>
                  </a:lnTo>
                  <a:lnTo>
                    <a:pt x="0" y="134"/>
                  </a:lnTo>
                  <a:lnTo>
                    <a:pt x="3" y="108"/>
                  </a:lnTo>
                  <a:lnTo>
                    <a:pt x="10" y="84"/>
                  </a:lnTo>
                  <a:lnTo>
                    <a:pt x="22" y="60"/>
                  </a:lnTo>
                  <a:lnTo>
                    <a:pt x="40" y="40"/>
                  </a:lnTo>
                  <a:lnTo>
                    <a:pt x="60" y="22"/>
                  </a:lnTo>
                  <a:lnTo>
                    <a:pt x="84" y="10"/>
                  </a:lnTo>
                  <a:lnTo>
                    <a:pt x="108" y="3"/>
                  </a:lnTo>
                  <a:lnTo>
                    <a:pt x="134" y="0"/>
                  </a:lnTo>
                  <a:close/>
                </a:path>
              </a:pathLst>
            </a:custGeom>
            <a:solidFill>
              <a:sysClr val="window" lastClr="FFFFFF">
                <a:lumMod val="85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7" name="Freeform 84">
              <a:extLst>
                <a:ext uri="{FF2B5EF4-FFF2-40B4-BE49-F238E27FC236}">
                  <a16:creationId xmlns:a16="http://schemas.microsoft.com/office/drawing/2014/main" id="{4ED9A905-E386-6191-7F24-1548DA2D5214}"/>
                </a:ext>
              </a:extLst>
            </p:cNvPr>
            <p:cNvSpPr>
              <a:spLocks/>
            </p:cNvSpPr>
            <p:nvPr/>
          </p:nvSpPr>
          <p:spPr bwMode="auto">
            <a:xfrm>
              <a:off x="6496040" y="5394343"/>
              <a:ext cx="501649" cy="501652"/>
            </a:xfrm>
            <a:custGeom>
              <a:avLst/>
              <a:gdLst>
                <a:gd name="T0" fmla="*/ 39 w 316"/>
                <a:gd name="T1" fmla="*/ 0 h 316"/>
                <a:gd name="T2" fmla="*/ 316 w 316"/>
                <a:gd name="T3" fmla="*/ 276 h 316"/>
                <a:gd name="T4" fmla="*/ 295 w 316"/>
                <a:gd name="T5" fmla="*/ 293 h 316"/>
                <a:gd name="T6" fmla="*/ 272 w 316"/>
                <a:gd name="T7" fmla="*/ 305 h 316"/>
                <a:gd name="T8" fmla="*/ 246 w 316"/>
                <a:gd name="T9" fmla="*/ 313 h 316"/>
                <a:gd name="T10" fmla="*/ 220 w 316"/>
                <a:gd name="T11" fmla="*/ 316 h 316"/>
                <a:gd name="T12" fmla="*/ 195 w 316"/>
                <a:gd name="T13" fmla="*/ 314 h 316"/>
                <a:gd name="T14" fmla="*/ 169 w 316"/>
                <a:gd name="T15" fmla="*/ 306 h 316"/>
                <a:gd name="T16" fmla="*/ 145 w 316"/>
                <a:gd name="T17" fmla="*/ 294 h 316"/>
                <a:gd name="T18" fmla="*/ 125 w 316"/>
                <a:gd name="T19" fmla="*/ 277 h 316"/>
                <a:gd name="T20" fmla="*/ 39 w 316"/>
                <a:gd name="T21" fmla="*/ 190 h 316"/>
                <a:gd name="T22" fmla="*/ 21 w 316"/>
                <a:gd name="T23" fmla="*/ 169 h 316"/>
                <a:gd name="T24" fmla="*/ 9 w 316"/>
                <a:gd name="T25" fmla="*/ 146 h 316"/>
                <a:gd name="T26" fmla="*/ 2 w 316"/>
                <a:gd name="T27" fmla="*/ 121 h 316"/>
                <a:gd name="T28" fmla="*/ 0 w 316"/>
                <a:gd name="T29" fmla="*/ 95 h 316"/>
                <a:gd name="T30" fmla="*/ 2 w 316"/>
                <a:gd name="T31" fmla="*/ 69 h 316"/>
                <a:gd name="T32" fmla="*/ 9 w 316"/>
                <a:gd name="T33" fmla="*/ 45 h 316"/>
                <a:gd name="T34" fmla="*/ 22 w 316"/>
                <a:gd name="T35" fmla="*/ 21 h 316"/>
                <a:gd name="T36" fmla="*/ 39 w 316"/>
                <a:gd name="T3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6" h="316">
                  <a:moveTo>
                    <a:pt x="39" y="0"/>
                  </a:moveTo>
                  <a:lnTo>
                    <a:pt x="316" y="276"/>
                  </a:lnTo>
                  <a:lnTo>
                    <a:pt x="295" y="293"/>
                  </a:lnTo>
                  <a:lnTo>
                    <a:pt x="272" y="305"/>
                  </a:lnTo>
                  <a:lnTo>
                    <a:pt x="246" y="313"/>
                  </a:lnTo>
                  <a:lnTo>
                    <a:pt x="220" y="316"/>
                  </a:lnTo>
                  <a:lnTo>
                    <a:pt x="195" y="314"/>
                  </a:lnTo>
                  <a:lnTo>
                    <a:pt x="169" y="306"/>
                  </a:lnTo>
                  <a:lnTo>
                    <a:pt x="145" y="294"/>
                  </a:lnTo>
                  <a:lnTo>
                    <a:pt x="125" y="277"/>
                  </a:lnTo>
                  <a:lnTo>
                    <a:pt x="39" y="190"/>
                  </a:lnTo>
                  <a:lnTo>
                    <a:pt x="21" y="169"/>
                  </a:lnTo>
                  <a:lnTo>
                    <a:pt x="9" y="146"/>
                  </a:lnTo>
                  <a:lnTo>
                    <a:pt x="2" y="121"/>
                  </a:lnTo>
                  <a:lnTo>
                    <a:pt x="0" y="95"/>
                  </a:lnTo>
                  <a:lnTo>
                    <a:pt x="2" y="69"/>
                  </a:lnTo>
                  <a:lnTo>
                    <a:pt x="9" y="45"/>
                  </a:lnTo>
                  <a:lnTo>
                    <a:pt x="22" y="21"/>
                  </a:lnTo>
                  <a:lnTo>
                    <a:pt x="39" y="0"/>
                  </a:lnTo>
                  <a:close/>
                </a:path>
              </a:pathLst>
            </a:custGeom>
            <a:solidFill>
              <a:sysClr val="window" lastClr="FFFFFF">
                <a:lumMod val="75000"/>
              </a:sys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8" name="Freeform 85">
              <a:extLst>
                <a:ext uri="{FF2B5EF4-FFF2-40B4-BE49-F238E27FC236}">
                  <a16:creationId xmlns:a16="http://schemas.microsoft.com/office/drawing/2014/main" id="{B2CF0838-C502-276B-3E09-B46F0454CB69}"/>
                </a:ext>
              </a:extLst>
            </p:cNvPr>
            <p:cNvSpPr>
              <a:spLocks/>
            </p:cNvSpPr>
            <p:nvPr/>
          </p:nvSpPr>
          <p:spPr bwMode="auto">
            <a:xfrm>
              <a:off x="6500806" y="5329249"/>
              <a:ext cx="379412" cy="382588"/>
            </a:xfrm>
            <a:custGeom>
              <a:avLst/>
              <a:gdLst>
                <a:gd name="T0" fmla="*/ 132 w 239"/>
                <a:gd name="T1" fmla="*/ 0 h 241"/>
                <a:gd name="T2" fmla="*/ 157 w 239"/>
                <a:gd name="T3" fmla="*/ 4 h 241"/>
                <a:gd name="T4" fmla="*/ 181 w 239"/>
                <a:gd name="T5" fmla="*/ 12 h 241"/>
                <a:gd name="T6" fmla="*/ 205 w 239"/>
                <a:gd name="T7" fmla="*/ 24 h 241"/>
                <a:gd name="T8" fmla="*/ 226 w 239"/>
                <a:gd name="T9" fmla="*/ 42 h 241"/>
                <a:gd name="T10" fmla="*/ 239 w 239"/>
                <a:gd name="T11" fmla="*/ 55 h 241"/>
                <a:gd name="T12" fmla="*/ 53 w 239"/>
                <a:gd name="T13" fmla="*/ 241 h 241"/>
                <a:gd name="T14" fmla="*/ 40 w 239"/>
                <a:gd name="T15" fmla="*/ 227 h 241"/>
                <a:gd name="T16" fmla="*/ 22 w 239"/>
                <a:gd name="T17" fmla="*/ 206 h 241"/>
                <a:gd name="T18" fmla="*/ 10 w 239"/>
                <a:gd name="T19" fmla="*/ 183 h 241"/>
                <a:gd name="T20" fmla="*/ 3 w 239"/>
                <a:gd name="T21" fmla="*/ 159 h 241"/>
                <a:gd name="T22" fmla="*/ 0 w 239"/>
                <a:gd name="T23" fmla="*/ 133 h 241"/>
                <a:gd name="T24" fmla="*/ 2 w 239"/>
                <a:gd name="T25" fmla="*/ 107 h 241"/>
                <a:gd name="T26" fmla="*/ 9 w 239"/>
                <a:gd name="T27" fmla="*/ 84 h 241"/>
                <a:gd name="T28" fmla="*/ 20 w 239"/>
                <a:gd name="T29" fmla="*/ 60 h 241"/>
                <a:gd name="T30" fmla="*/ 38 w 239"/>
                <a:gd name="T31" fmla="*/ 39 h 241"/>
                <a:gd name="T32" fmla="*/ 59 w 239"/>
                <a:gd name="T33" fmla="*/ 22 h 241"/>
                <a:gd name="T34" fmla="*/ 82 w 239"/>
                <a:gd name="T35" fmla="*/ 10 h 241"/>
                <a:gd name="T36" fmla="*/ 107 w 239"/>
                <a:gd name="T37" fmla="*/ 3 h 241"/>
                <a:gd name="T38" fmla="*/ 132 w 239"/>
                <a:gd name="T3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9" h="241">
                  <a:moveTo>
                    <a:pt x="132" y="0"/>
                  </a:moveTo>
                  <a:lnTo>
                    <a:pt x="157" y="4"/>
                  </a:lnTo>
                  <a:lnTo>
                    <a:pt x="181" y="12"/>
                  </a:lnTo>
                  <a:lnTo>
                    <a:pt x="205" y="24"/>
                  </a:lnTo>
                  <a:lnTo>
                    <a:pt x="226" y="42"/>
                  </a:lnTo>
                  <a:lnTo>
                    <a:pt x="239" y="55"/>
                  </a:lnTo>
                  <a:lnTo>
                    <a:pt x="53" y="241"/>
                  </a:lnTo>
                  <a:lnTo>
                    <a:pt x="40" y="227"/>
                  </a:lnTo>
                  <a:lnTo>
                    <a:pt x="22" y="206"/>
                  </a:lnTo>
                  <a:lnTo>
                    <a:pt x="10" y="183"/>
                  </a:lnTo>
                  <a:lnTo>
                    <a:pt x="3" y="159"/>
                  </a:lnTo>
                  <a:lnTo>
                    <a:pt x="0" y="133"/>
                  </a:lnTo>
                  <a:lnTo>
                    <a:pt x="2" y="107"/>
                  </a:lnTo>
                  <a:lnTo>
                    <a:pt x="9" y="84"/>
                  </a:lnTo>
                  <a:lnTo>
                    <a:pt x="20" y="60"/>
                  </a:lnTo>
                  <a:lnTo>
                    <a:pt x="38" y="39"/>
                  </a:lnTo>
                  <a:lnTo>
                    <a:pt x="59" y="22"/>
                  </a:lnTo>
                  <a:lnTo>
                    <a:pt x="82" y="10"/>
                  </a:lnTo>
                  <a:lnTo>
                    <a:pt x="107" y="3"/>
                  </a:lnTo>
                  <a:lnTo>
                    <a:pt x="132" y="0"/>
                  </a:lnTo>
                  <a:close/>
                </a:path>
              </a:pathLst>
            </a:custGeom>
            <a:solidFill>
              <a:srgbClr val="8F8F49"/>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9" name="Freeform 86">
              <a:extLst>
                <a:ext uri="{FF2B5EF4-FFF2-40B4-BE49-F238E27FC236}">
                  <a16:creationId xmlns:a16="http://schemas.microsoft.com/office/drawing/2014/main" id="{AF5DB68C-E974-BBAE-2DB5-4B0ADEBE33CA}"/>
                </a:ext>
              </a:extLst>
            </p:cNvPr>
            <p:cNvSpPr>
              <a:spLocks/>
            </p:cNvSpPr>
            <p:nvPr/>
          </p:nvSpPr>
          <p:spPr bwMode="auto">
            <a:xfrm>
              <a:off x="6496046" y="5394332"/>
              <a:ext cx="236539" cy="323850"/>
            </a:xfrm>
            <a:custGeom>
              <a:avLst/>
              <a:gdLst>
                <a:gd name="T0" fmla="*/ 40 w 149"/>
                <a:gd name="T1" fmla="*/ 0 h 204"/>
                <a:gd name="T2" fmla="*/ 55 w 149"/>
                <a:gd name="T3" fmla="*/ 15 h 204"/>
                <a:gd name="T4" fmla="*/ 69 w 149"/>
                <a:gd name="T5" fmla="*/ 28 h 204"/>
                <a:gd name="T6" fmla="*/ 80 w 149"/>
                <a:gd name="T7" fmla="*/ 41 h 204"/>
                <a:gd name="T8" fmla="*/ 91 w 149"/>
                <a:gd name="T9" fmla="*/ 52 h 204"/>
                <a:gd name="T10" fmla="*/ 102 w 149"/>
                <a:gd name="T11" fmla="*/ 64 h 204"/>
                <a:gd name="T12" fmla="*/ 116 w 149"/>
                <a:gd name="T13" fmla="*/ 77 h 204"/>
                <a:gd name="T14" fmla="*/ 130 w 149"/>
                <a:gd name="T15" fmla="*/ 92 h 204"/>
                <a:gd name="T16" fmla="*/ 149 w 149"/>
                <a:gd name="T17" fmla="*/ 110 h 204"/>
                <a:gd name="T18" fmla="*/ 52 w 149"/>
                <a:gd name="T19" fmla="*/ 204 h 204"/>
                <a:gd name="T20" fmla="*/ 39 w 149"/>
                <a:gd name="T21" fmla="*/ 190 h 204"/>
                <a:gd name="T22" fmla="*/ 21 w 149"/>
                <a:gd name="T23" fmla="*/ 169 h 204"/>
                <a:gd name="T24" fmla="*/ 9 w 149"/>
                <a:gd name="T25" fmla="*/ 146 h 204"/>
                <a:gd name="T26" fmla="*/ 2 w 149"/>
                <a:gd name="T27" fmla="*/ 121 h 204"/>
                <a:gd name="T28" fmla="*/ 0 w 149"/>
                <a:gd name="T29" fmla="*/ 95 h 204"/>
                <a:gd name="T30" fmla="*/ 3 w 149"/>
                <a:gd name="T31" fmla="*/ 69 h 204"/>
                <a:gd name="T32" fmla="*/ 10 w 149"/>
                <a:gd name="T33" fmla="*/ 44 h 204"/>
                <a:gd name="T34" fmla="*/ 22 w 149"/>
                <a:gd name="T35" fmla="*/ 20 h 204"/>
                <a:gd name="T36" fmla="*/ 40 w 149"/>
                <a:gd name="T3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9" h="204">
                  <a:moveTo>
                    <a:pt x="40" y="0"/>
                  </a:moveTo>
                  <a:lnTo>
                    <a:pt x="55" y="15"/>
                  </a:lnTo>
                  <a:lnTo>
                    <a:pt x="69" y="28"/>
                  </a:lnTo>
                  <a:lnTo>
                    <a:pt x="80" y="41"/>
                  </a:lnTo>
                  <a:lnTo>
                    <a:pt x="91" y="52"/>
                  </a:lnTo>
                  <a:lnTo>
                    <a:pt x="102" y="64"/>
                  </a:lnTo>
                  <a:lnTo>
                    <a:pt x="116" y="77"/>
                  </a:lnTo>
                  <a:lnTo>
                    <a:pt x="130" y="92"/>
                  </a:lnTo>
                  <a:lnTo>
                    <a:pt x="149" y="110"/>
                  </a:lnTo>
                  <a:lnTo>
                    <a:pt x="52" y="204"/>
                  </a:lnTo>
                  <a:lnTo>
                    <a:pt x="39" y="190"/>
                  </a:lnTo>
                  <a:lnTo>
                    <a:pt x="21" y="169"/>
                  </a:lnTo>
                  <a:lnTo>
                    <a:pt x="9" y="146"/>
                  </a:lnTo>
                  <a:lnTo>
                    <a:pt x="2" y="121"/>
                  </a:lnTo>
                  <a:lnTo>
                    <a:pt x="0" y="95"/>
                  </a:lnTo>
                  <a:lnTo>
                    <a:pt x="3" y="69"/>
                  </a:lnTo>
                  <a:lnTo>
                    <a:pt x="10" y="44"/>
                  </a:lnTo>
                  <a:lnTo>
                    <a:pt x="22" y="20"/>
                  </a:lnTo>
                  <a:lnTo>
                    <a:pt x="40" y="0"/>
                  </a:lnTo>
                  <a:close/>
                </a:path>
              </a:pathLst>
            </a:custGeom>
            <a:solidFill>
              <a:srgbClr val="8F8F49">
                <a:lumMod val="75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0" name="Freeform 87">
              <a:extLst>
                <a:ext uri="{FF2B5EF4-FFF2-40B4-BE49-F238E27FC236}">
                  <a16:creationId xmlns:a16="http://schemas.microsoft.com/office/drawing/2014/main" id="{45F36AA1-62A1-AF84-0DB3-8409E00B208B}"/>
                </a:ext>
              </a:extLst>
            </p:cNvPr>
            <p:cNvSpPr>
              <a:spLocks/>
            </p:cNvSpPr>
            <p:nvPr/>
          </p:nvSpPr>
          <p:spPr bwMode="auto">
            <a:xfrm>
              <a:off x="6586542" y="5416557"/>
              <a:ext cx="134938" cy="136526"/>
            </a:xfrm>
            <a:custGeom>
              <a:avLst/>
              <a:gdLst>
                <a:gd name="T0" fmla="*/ 23 w 85"/>
                <a:gd name="T1" fmla="*/ 0 h 86"/>
                <a:gd name="T2" fmla="*/ 31 w 85"/>
                <a:gd name="T3" fmla="*/ 2 h 86"/>
                <a:gd name="T4" fmla="*/ 38 w 85"/>
                <a:gd name="T5" fmla="*/ 7 h 86"/>
                <a:gd name="T6" fmla="*/ 79 w 85"/>
                <a:gd name="T7" fmla="*/ 47 h 86"/>
                <a:gd name="T8" fmla="*/ 84 w 85"/>
                <a:gd name="T9" fmla="*/ 55 h 86"/>
                <a:gd name="T10" fmla="*/ 85 w 85"/>
                <a:gd name="T11" fmla="*/ 64 h 86"/>
                <a:gd name="T12" fmla="*/ 84 w 85"/>
                <a:gd name="T13" fmla="*/ 72 h 86"/>
                <a:gd name="T14" fmla="*/ 79 w 85"/>
                <a:gd name="T15" fmla="*/ 79 h 86"/>
                <a:gd name="T16" fmla="*/ 79 w 85"/>
                <a:gd name="T17" fmla="*/ 79 h 86"/>
                <a:gd name="T18" fmla="*/ 71 w 85"/>
                <a:gd name="T19" fmla="*/ 84 h 86"/>
                <a:gd name="T20" fmla="*/ 63 w 85"/>
                <a:gd name="T21" fmla="*/ 86 h 86"/>
                <a:gd name="T22" fmla="*/ 55 w 85"/>
                <a:gd name="T23" fmla="*/ 84 h 86"/>
                <a:gd name="T24" fmla="*/ 47 w 85"/>
                <a:gd name="T25" fmla="*/ 79 h 86"/>
                <a:gd name="T26" fmla="*/ 6 w 85"/>
                <a:gd name="T27" fmla="*/ 38 h 86"/>
                <a:gd name="T28" fmla="*/ 1 w 85"/>
                <a:gd name="T29" fmla="*/ 31 h 86"/>
                <a:gd name="T30" fmla="*/ 0 w 85"/>
                <a:gd name="T31" fmla="*/ 22 h 86"/>
                <a:gd name="T32" fmla="*/ 1 w 85"/>
                <a:gd name="T33" fmla="*/ 14 h 86"/>
                <a:gd name="T34" fmla="*/ 6 w 85"/>
                <a:gd name="T35" fmla="*/ 7 h 86"/>
                <a:gd name="T36" fmla="*/ 6 w 85"/>
                <a:gd name="T37" fmla="*/ 7 h 86"/>
                <a:gd name="T38" fmla="*/ 14 w 85"/>
                <a:gd name="T39" fmla="*/ 2 h 86"/>
                <a:gd name="T40" fmla="*/ 23 w 85"/>
                <a:gd name="T4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86">
                  <a:moveTo>
                    <a:pt x="23" y="0"/>
                  </a:moveTo>
                  <a:lnTo>
                    <a:pt x="31" y="2"/>
                  </a:lnTo>
                  <a:lnTo>
                    <a:pt x="38" y="7"/>
                  </a:lnTo>
                  <a:lnTo>
                    <a:pt x="79" y="47"/>
                  </a:lnTo>
                  <a:lnTo>
                    <a:pt x="84" y="55"/>
                  </a:lnTo>
                  <a:lnTo>
                    <a:pt x="85" y="64"/>
                  </a:lnTo>
                  <a:lnTo>
                    <a:pt x="84" y="72"/>
                  </a:lnTo>
                  <a:lnTo>
                    <a:pt x="79" y="79"/>
                  </a:lnTo>
                  <a:lnTo>
                    <a:pt x="79" y="79"/>
                  </a:lnTo>
                  <a:lnTo>
                    <a:pt x="71" y="84"/>
                  </a:lnTo>
                  <a:lnTo>
                    <a:pt x="63" y="86"/>
                  </a:lnTo>
                  <a:lnTo>
                    <a:pt x="55" y="84"/>
                  </a:lnTo>
                  <a:lnTo>
                    <a:pt x="47" y="79"/>
                  </a:lnTo>
                  <a:lnTo>
                    <a:pt x="6" y="38"/>
                  </a:lnTo>
                  <a:lnTo>
                    <a:pt x="1" y="31"/>
                  </a:lnTo>
                  <a:lnTo>
                    <a:pt x="0" y="22"/>
                  </a:lnTo>
                  <a:lnTo>
                    <a:pt x="1" y="14"/>
                  </a:lnTo>
                  <a:lnTo>
                    <a:pt x="6" y="7"/>
                  </a:lnTo>
                  <a:lnTo>
                    <a:pt x="6" y="7"/>
                  </a:lnTo>
                  <a:lnTo>
                    <a:pt x="14" y="2"/>
                  </a:lnTo>
                  <a:lnTo>
                    <a:pt x="23" y="0"/>
                  </a:lnTo>
                  <a:close/>
                </a:path>
              </a:pathLst>
            </a:custGeom>
            <a:solidFill>
              <a:srgbClr val="8F8F49">
                <a:lumMod val="50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71" name="Freeform 88">
              <a:extLst>
                <a:ext uri="{FF2B5EF4-FFF2-40B4-BE49-F238E27FC236}">
                  <a16:creationId xmlns:a16="http://schemas.microsoft.com/office/drawing/2014/main" id="{49267F04-DDB2-A3BE-8486-C44DB0BF3469}"/>
                </a:ext>
              </a:extLst>
            </p:cNvPr>
            <p:cNvSpPr>
              <a:spLocks/>
            </p:cNvSpPr>
            <p:nvPr/>
          </p:nvSpPr>
          <p:spPr bwMode="auto">
            <a:xfrm>
              <a:off x="6588127" y="5429249"/>
              <a:ext cx="123825" cy="123826"/>
            </a:xfrm>
            <a:custGeom>
              <a:avLst/>
              <a:gdLst>
                <a:gd name="T0" fmla="*/ 6 w 78"/>
                <a:gd name="T1" fmla="*/ 0 h 78"/>
                <a:gd name="T2" fmla="*/ 78 w 78"/>
                <a:gd name="T3" fmla="*/ 72 h 78"/>
                <a:gd name="T4" fmla="*/ 71 w 78"/>
                <a:gd name="T5" fmla="*/ 76 h 78"/>
                <a:gd name="T6" fmla="*/ 63 w 78"/>
                <a:gd name="T7" fmla="*/ 78 h 78"/>
                <a:gd name="T8" fmla="*/ 55 w 78"/>
                <a:gd name="T9" fmla="*/ 77 h 78"/>
                <a:gd name="T10" fmla="*/ 46 w 78"/>
                <a:gd name="T11" fmla="*/ 72 h 78"/>
                <a:gd name="T12" fmla="*/ 6 w 78"/>
                <a:gd name="T13" fmla="*/ 32 h 78"/>
                <a:gd name="T14" fmla="*/ 1 w 78"/>
                <a:gd name="T15" fmla="*/ 24 h 78"/>
                <a:gd name="T16" fmla="*/ 0 w 78"/>
                <a:gd name="T17" fmla="*/ 16 h 78"/>
                <a:gd name="T18" fmla="*/ 1 w 78"/>
                <a:gd name="T19" fmla="*/ 7 h 78"/>
                <a:gd name="T20" fmla="*/ 6 w 78"/>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8">
                  <a:moveTo>
                    <a:pt x="6" y="0"/>
                  </a:moveTo>
                  <a:lnTo>
                    <a:pt x="78" y="72"/>
                  </a:lnTo>
                  <a:lnTo>
                    <a:pt x="71" y="76"/>
                  </a:lnTo>
                  <a:lnTo>
                    <a:pt x="63" y="78"/>
                  </a:lnTo>
                  <a:lnTo>
                    <a:pt x="55" y="77"/>
                  </a:lnTo>
                  <a:lnTo>
                    <a:pt x="46" y="72"/>
                  </a:lnTo>
                  <a:lnTo>
                    <a:pt x="6" y="32"/>
                  </a:lnTo>
                  <a:lnTo>
                    <a:pt x="1" y="24"/>
                  </a:lnTo>
                  <a:lnTo>
                    <a:pt x="0" y="16"/>
                  </a:lnTo>
                  <a:lnTo>
                    <a:pt x="1" y="7"/>
                  </a:lnTo>
                  <a:lnTo>
                    <a:pt x="6" y="0"/>
                  </a:lnTo>
                  <a:close/>
                </a:path>
              </a:pathLst>
            </a:custGeom>
            <a:solidFill>
              <a:srgbClr val="8F8F49">
                <a:lumMod val="50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grpSp>
      <p:grpSp>
        <p:nvGrpSpPr>
          <p:cNvPr id="45" name="Group 44">
            <a:extLst>
              <a:ext uri="{FF2B5EF4-FFF2-40B4-BE49-F238E27FC236}">
                <a16:creationId xmlns:a16="http://schemas.microsoft.com/office/drawing/2014/main" id="{3CA1BC42-88FD-E61B-C675-57E857F8E2F6}"/>
              </a:ext>
            </a:extLst>
          </p:cNvPr>
          <p:cNvGrpSpPr/>
          <p:nvPr/>
        </p:nvGrpSpPr>
        <p:grpSpPr>
          <a:xfrm>
            <a:off x="7001960" y="4925539"/>
            <a:ext cx="424527" cy="410000"/>
            <a:chOff x="7038972" y="1606550"/>
            <a:chExt cx="1301749" cy="1301750"/>
          </a:xfrm>
        </p:grpSpPr>
        <p:sp>
          <p:nvSpPr>
            <p:cNvPr id="54" name="Freeform 89">
              <a:extLst>
                <a:ext uri="{FF2B5EF4-FFF2-40B4-BE49-F238E27FC236}">
                  <a16:creationId xmlns:a16="http://schemas.microsoft.com/office/drawing/2014/main" id="{12DAA0F3-1284-B639-D89B-10B14E2796ED}"/>
                </a:ext>
              </a:extLst>
            </p:cNvPr>
            <p:cNvSpPr>
              <a:spLocks/>
            </p:cNvSpPr>
            <p:nvPr/>
          </p:nvSpPr>
          <p:spPr bwMode="auto">
            <a:xfrm>
              <a:off x="7038972" y="1606550"/>
              <a:ext cx="1301749" cy="1301750"/>
            </a:xfrm>
            <a:custGeom>
              <a:avLst/>
              <a:gdLst>
                <a:gd name="T0" fmla="*/ 410 w 820"/>
                <a:gd name="T1" fmla="*/ 0 h 820"/>
                <a:gd name="T2" fmla="*/ 461 w 820"/>
                <a:gd name="T3" fmla="*/ 3 h 820"/>
                <a:gd name="T4" fmla="*/ 511 w 820"/>
                <a:gd name="T5" fmla="*/ 12 h 820"/>
                <a:gd name="T6" fmla="*/ 558 w 820"/>
                <a:gd name="T7" fmla="*/ 28 h 820"/>
                <a:gd name="T8" fmla="*/ 603 w 820"/>
                <a:gd name="T9" fmla="*/ 48 h 820"/>
                <a:gd name="T10" fmla="*/ 645 w 820"/>
                <a:gd name="T11" fmla="*/ 73 h 820"/>
                <a:gd name="T12" fmla="*/ 683 w 820"/>
                <a:gd name="T13" fmla="*/ 104 h 820"/>
                <a:gd name="T14" fmla="*/ 716 w 820"/>
                <a:gd name="T15" fmla="*/ 138 h 820"/>
                <a:gd name="T16" fmla="*/ 746 w 820"/>
                <a:gd name="T17" fmla="*/ 176 h 820"/>
                <a:gd name="T18" fmla="*/ 772 w 820"/>
                <a:gd name="T19" fmla="*/ 218 h 820"/>
                <a:gd name="T20" fmla="*/ 792 w 820"/>
                <a:gd name="T21" fmla="*/ 262 h 820"/>
                <a:gd name="T22" fmla="*/ 808 w 820"/>
                <a:gd name="T23" fmla="*/ 309 h 820"/>
                <a:gd name="T24" fmla="*/ 817 w 820"/>
                <a:gd name="T25" fmla="*/ 358 h 820"/>
                <a:gd name="T26" fmla="*/ 820 w 820"/>
                <a:gd name="T27" fmla="*/ 410 h 820"/>
                <a:gd name="T28" fmla="*/ 817 w 820"/>
                <a:gd name="T29" fmla="*/ 461 h 820"/>
                <a:gd name="T30" fmla="*/ 808 w 820"/>
                <a:gd name="T31" fmla="*/ 511 h 820"/>
                <a:gd name="T32" fmla="*/ 792 w 820"/>
                <a:gd name="T33" fmla="*/ 558 h 820"/>
                <a:gd name="T34" fmla="*/ 772 w 820"/>
                <a:gd name="T35" fmla="*/ 603 h 820"/>
                <a:gd name="T36" fmla="*/ 746 w 820"/>
                <a:gd name="T37" fmla="*/ 644 h 820"/>
                <a:gd name="T38" fmla="*/ 716 w 820"/>
                <a:gd name="T39" fmla="*/ 683 h 820"/>
                <a:gd name="T40" fmla="*/ 683 w 820"/>
                <a:gd name="T41" fmla="*/ 717 h 820"/>
                <a:gd name="T42" fmla="*/ 645 w 820"/>
                <a:gd name="T43" fmla="*/ 746 h 820"/>
                <a:gd name="T44" fmla="*/ 603 w 820"/>
                <a:gd name="T45" fmla="*/ 772 h 820"/>
                <a:gd name="T46" fmla="*/ 558 w 820"/>
                <a:gd name="T47" fmla="*/ 793 h 820"/>
                <a:gd name="T48" fmla="*/ 511 w 820"/>
                <a:gd name="T49" fmla="*/ 807 h 820"/>
                <a:gd name="T50" fmla="*/ 461 w 820"/>
                <a:gd name="T51" fmla="*/ 817 h 820"/>
                <a:gd name="T52" fmla="*/ 410 w 820"/>
                <a:gd name="T53" fmla="*/ 820 h 820"/>
                <a:gd name="T54" fmla="*/ 358 w 820"/>
                <a:gd name="T55" fmla="*/ 817 h 820"/>
                <a:gd name="T56" fmla="*/ 309 w 820"/>
                <a:gd name="T57" fmla="*/ 807 h 820"/>
                <a:gd name="T58" fmla="*/ 262 w 820"/>
                <a:gd name="T59" fmla="*/ 793 h 820"/>
                <a:gd name="T60" fmla="*/ 218 w 820"/>
                <a:gd name="T61" fmla="*/ 772 h 820"/>
                <a:gd name="T62" fmla="*/ 176 w 820"/>
                <a:gd name="T63" fmla="*/ 746 h 820"/>
                <a:gd name="T64" fmla="*/ 138 w 820"/>
                <a:gd name="T65" fmla="*/ 717 h 820"/>
                <a:gd name="T66" fmla="*/ 104 w 820"/>
                <a:gd name="T67" fmla="*/ 683 h 820"/>
                <a:gd name="T68" fmla="*/ 73 w 820"/>
                <a:gd name="T69" fmla="*/ 644 h 820"/>
                <a:gd name="T70" fmla="*/ 49 w 820"/>
                <a:gd name="T71" fmla="*/ 603 h 820"/>
                <a:gd name="T72" fmla="*/ 28 w 820"/>
                <a:gd name="T73" fmla="*/ 558 h 820"/>
                <a:gd name="T74" fmla="*/ 13 w 820"/>
                <a:gd name="T75" fmla="*/ 511 h 820"/>
                <a:gd name="T76" fmla="*/ 3 w 820"/>
                <a:gd name="T77" fmla="*/ 461 h 820"/>
                <a:gd name="T78" fmla="*/ 0 w 820"/>
                <a:gd name="T79" fmla="*/ 410 h 820"/>
                <a:gd name="T80" fmla="*/ 3 w 820"/>
                <a:gd name="T81" fmla="*/ 358 h 820"/>
                <a:gd name="T82" fmla="*/ 13 w 820"/>
                <a:gd name="T83" fmla="*/ 309 h 820"/>
                <a:gd name="T84" fmla="*/ 28 w 820"/>
                <a:gd name="T85" fmla="*/ 262 h 820"/>
                <a:gd name="T86" fmla="*/ 49 w 820"/>
                <a:gd name="T87" fmla="*/ 218 h 820"/>
                <a:gd name="T88" fmla="*/ 73 w 820"/>
                <a:gd name="T89" fmla="*/ 176 h 820"/>
                <a:gd name="T90" fmla="*/ 104 w 820"/>
                <a:gd name="T91" fmla="*/ 138 h 820"/>
                <a:gd name="T92" fmla="*/ 138 w 820"/>
                <a:gd name="T93" fmla="*/ 104 h 820"/>
                <a:gd name="T94" fmla="*/ 176 w 820"/>
                <a:gd name="T95" fmla="*/ 73 h 820"/>
                <a:gd name="T96" fmla="*/ 218 w 820"/>
                <a:gd name="T97" fmla="*/ 48 h 820"/>
                <a:gd name="T98" fmla="*/ 262 w 820"/>
                <a:gd name="T99" fmla="*/ 28 h 820"/>
                <a:gd name="T100" fmla="*/ 309 w 820"/>
                <a:gd name="T101" fmla="*/ 12 h 820"/>
                <a:gd name="T102" fmla="*/ 358 w 820"/>
                <a:gd name="T103" fmla="*/ 3 h 820"/>
                <a:gd name="T104" fmla="*/ 410 w 820"/>
                <a:gd name="T105" fmla="*/ 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20">
                  <a:moveTo>
                    <a:pt x="410" y="0"/>
                  </a:moveTo>
                  <a:lnTo>
                    <a:pt x="461" y="3"/>
                  </a:lnTo>
                  <a:lnTo>
                    <a:pt x="511" y="12"/>
                  </a:lnTo>
                  <a:lnTo>
                    <a:pt x="558" y="28"/>
                  </a:lnTo>
                  <a:lnTo>
                    <a:pt x="603" y="48"/>
                  </a:lnTo>
                  <a:lnTo>
                    <a:pt x="645" y="73"/>
                  </a:lnTo>
                  <a:lnTo>
                    <a:pt x="683" y="104"/>
                  </a:lnTo>
                  <a:lnTo>
                    <a:pt x="716" y="138"/>
                  </a:lnTo>
                  <a:lnTo>
                    <a:pt x="746" y="176"/>
                  </a:lnTo>
                  <a:lnTo>
                    <a:pt x="772" y="218"/>
                  </a:lnTo>
                  <a:lnTo>
                    <a:pt x="792" y="262"/>
                  </a:lnTo>
                  <a:lnTo>
                    <a:pt x="808" y="309"/>
                  </a:lnTo>
                  <a:lnTo>
                    <a:pt x="817" y="358"/>
                  </a:lnTo>
                  <a:lnTo>
                    <a:pt x="820" y="410"/>
                  </a:lnTo>
                  <a:lnTo>
                    <a:pt x="817" y="461"/>
                  </a:lnTo>
                  <a:lnTo>
                    <a:pt x="808" y="511"/>
                  </a:lnTo>
                  <a:lnTo>
                    <a:pt x="792" y="558"/>
                  </a:lnTo>
                  <a:lnTo>
                    <a:pt x="772" y="603"/>
                  </a:lnTo>
                  <a:lnTo>
                    <a:pt x="746" y="644"/>
                  </a:lnTo>
                  <a:lnTo>
                    <a:pt x="716" y="683"/>
                  </a:lnTo>
                  <a:lnTo>
                    <a:pt x="683" y="717"/>
                  </a:lnTo>
                  <a:lnTo>
                    <a:pt x="645" y="746"/>
                  </a:lnTo>
                  <a:lnTo>
                    <a:pt x="603" y="772"/>
                  </a:lnTo>
                  <a:lnTo>
                    <a:pt x="558" y="793"/>
                  </a:lnTo>
                  <a:lnTo>
                    <a:pt x="511" y="807"/>
                  </a:lnTo>
                  <a:lnTo>
                    <a:pt x="461" y="817"/>
                  </a:lnTo>
                  <a:lnTo>
                    <a:pt x="410" y="820"/>
                  </a:lnTo>
                  <a:lnTo>
                    <a:pt x="358" y="817"/>
                  </a:lnTo>
                  <a:lnTo>
                    <a:pt x="309" y="807"/>
                  </a:lnTo>
                  <a:lnTo>
                    <a:pt x="262" y="793"/>
                  </a:lnTo>
                  <a:lnTo>
                    <a:pt x="218" y="772"/>
                  </a:lnTo>
                  <a:lnTo>
                    <a:pt x="176" y="746"/>
                  </a:lnTo>
                  <a:lnTo>
                    <a:pt x="138" y="717"/>
                  </a:lnTo>
                  <a:lnTo>
                    <a:pt x="104" y="683"/>
                  </a:lnTo>
                  <a:lnTo>
                    <a:pt x="73" y="644"/>
                  </a:lnTo>
                  <a:lnTo>
                    <a:pt x="49" y="603"/>
                  </a:lnTo>
                  <a:lnTo>
                    <a:pt x="28" y="558"/>
                  </a:lnTo>
                  <a:lnTo>
                    <a:pt x="13" y="511"/>
                  </a:lnTo>
                  <a:lnTo>
                    <a:pt x="3" y="461"/>
                  </a:lnTo>
                  <a:lnTo>
                    <a:pt x="0" y="410"/>
                  </a:lnTo>
                  <a:lnTo>
                    <a:pt x="3" y="358"/>
                  </a:lnTo>
                  <a:lnTo>
                    <a:pt x="13" y="309"/>
                  </a:lnTo>
                  <a:lnTo>
                    <a:pt x="28" y="262"/>
                  </a:lnTo>
                  <a:lnTo>
                    <a:pt x="49" y="218"/>
                  </a:lnTo>
                  <a:lnTo>
                    <a:pt x="73" y="176"/>
                  </a:lnTo>
                  <a:lnTo>
                    <a:pt x="104" y="138"/>
                  </a:lnTo>
                  <a:lnTo>
                    <a:pt x="138" y="104"/>
                  </a:lnTo>
                  <a:lnTo>
                    <a:pt x="176" y="73"/>
                  </a:lnTo>
                  <a:lnTo>
                    <a:pt x="218" y="48"/>
                  </a:lnTo>
                  <a:lnTo>
                    <a:pt x="262" y="28"/>
                  </a:lnTo>
                  <a:lnTo>
                    <a:pt x="309" y="12"/>
                  </a:lnTo>
                  <a:lnTo>
                    <a:pt x="358" y="3"/>
                  </a:lnTo>
                  <a:lnTo>
                    <a:pt x="410"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55" name="Rectangle 90">
              <a:extLst>
                <a:ext uri="{FF2B5EF4-FFF2-40B4-BE49-F238E27FC236}">
                  <a16:creationId xmlns:a16="http://schemas.microsoft.com/office/drawing/2014/main" id="{6D66BF26-798F-0013-5747-84797002D67E}"/>
                </a:ext>
              </a:extLst>
            </p:cNvPr>
            <p:cNvSpPr>
              <a:spLocks noChangeArrowheads="1"/>
            </p:cNvSpPr>
            <p:nvPr/>
          </p:nvSpPr>
          <p:spPr bwMode="auto">
            <a:xfrm>
              <a:off x="7583488" y="2511425"/>
              <a:ext cx="212725" cy="111125"/>
            </a:xfrm>
            <a:prstGeom prst="rect">
              <a:avLst/>
            </a:prstGeom>
            <a:solidFill>
              <a:srgbClr val="F2977C">
                <a:lumMod val="75000"/>
              </a:srgbClr>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56" name="Rectangle 91">
              <a:extLst>
                <a:ext uri="{FF2B5EF4-FFF2-40B4-BE49-F238E27FC236}">
                  <a16:creationId xmlns:a16="http://schemas.microsoft.com/office/drawing/2014/main" id="{B77B38AA-077E-A7A9-CCAE-CDA181258446}"/>
                </a:ext>
              </a:extLst>
            </p:cNvPr>
            <p:cNvSpPr>
              <a:spLocks noChangeArrowheads="1"/>
            </p:cNvSpPr>
            <p:nvPr/>
          </p:nvSpPr>
          <p:spPr bwMode="auto">
            <a:xfrm>
              <a:off x="7253289" y="1920875"/>
              <a:ext cx="874714" cy="590550"/>
            </a:xfrm>
            <a:prstGeom prst="rect">
              <a:avLst/>
            </a:prstGeom>
            <a:solidFill>
              <a:srgbClr val="F2977C"/>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57" name="Rectangle 92">
              <a:extLst>
                <a:ext uri="{FF2B5EF4-FFF2-40B4-BE49-F238E27FC236}">
                  <a16:creationId xmlns:a16="http://schemas.microsoft.com/office/drawing/2014/main" id="{76BF0A14-8ADD-356B-9634-A598ED56E7E4}"/>
                </a:ext>
              </a:extLst>
            </p:cNvPr>
            <p:cNvSpPr>
              <a:spLocks noChangeArrowheads="1"/>
            </p:cNvSpPr>
            <p:nvPr/>
          </p:nvSpPr>
          <p:spPr bwMode="auto">
            <a:xfrm>
              <a:off x="7516813" y="2601913"/>
              <a:ext cx="357188" cy="31750"/>
            </a:xfrm>
            <a:prstGeom prst="rect">
              <a:avLst/>
            </a:prstGeom>
            <a:solidFill>
              <a:srgbClr val="F2977C"/>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58" name="Rectangle 93">
              <a:extLst>
                <a:ext uri="{FF2B5EF4-FFF2-40B4-BE49-F238E27FC236}">
                  <a16:creationId xmlns:a16="http://schemas.microsoft.com/office/drawing/2014/main" id="{A00313D7-AF73-2F67-5609-C6AFB7DF0459}"/>
                </a:ext>
              </a:extLst>
            </p:cNvPr>
            <p:cNvSpPr>
              <a:spLocks noChangeArrowheads="1"/>
            </p:cNvSpPr>
            <p:nvPr/>
          </p:nvSpPr>
          <p:spPr bwMode="auto">
            <a:xfrm>
              <a:off x="7302497" y="1973263"/>
              <a:ext cx="776287" cy="438150"/>
            </a:xfrm>
            <a:prstGeom prst="rect">
              <a:avLst/>
            </a:prstGeom>
            <a:solidFill>
              <a:sysClr val="window" lastClr="FFFFFF">
                <a:lumMod val="95000"/>
              </a:sysClr>
            </a:solidFill>
            <a:ln w="0">
              <a:noFill/>
              <a:prstDash val="solid"/>
              <a:miter lim="800000"/>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59" name="Freeform 95">
              <a:extLst>
                <a:ext uri="{FF2B5EF4-FFF2-40B4-BE49-F238E27FC236}">
                  <a16:creationId xmlns:a16="http://schemas.microsoft.com/office/drawing/2014/main" id="{31B7DF9B-117C-E60C-34A3-8E32CF4DA000}"/>
                </a:ext>
              </a:extLst>
            </p:cNvPr>
            <p:cNvSpPr>
              <a:spLocks/>
            </p:cNvSpPr>
            <p:nvPr/>
          </p:nvSpPr>
          <p:spPr bwMode="auto">
            <a:xfrm>
              <a:off x="7434263" y="2068513"/>
              <a:ext cx="530225" cy="258763"/>
            </a:xfrm>
            <a:custGeom>
              <a:avLst/>
              <a:gdLst>
                <a:gd name="T0" fmla="*/ 325 w 334"/>
                <a:gd name="T1" fmla="*/ 0 h 163"/>
                <a:gd name="T2" fmla="*/ 334 w 334"/>
                <a:gd name="T3" fmla="*/ 8 h 163"/>
                <a:gd name="T4" fmla="*/ 209 w 334"/>
                <a:gd name="T5" fmla="*/ 163 h 163"/>
                <a:gd name="T6" fmla="*/ 109 w 334"/>
                <a:gd name="T7" fmla="*/ 27 h 163"/>
                <a:gd name="T8" fmla="*/ 9 w 334"/>
                <a:gd name="T9" fmla="*/ 122 h 163"/>
                <a:gd name="T10" fmla="*/ 0 w 334"/>
                <a:gd name="T11" fmla="*/ 112 h 163"/>
                <a:gd name="T12" fmla="*/ 111 w 334"/>
                <a:gd name="T13" fmla="*/ 9 h 163"/>
                <a:gd name="T14" fmla="*/ 210 w 334"/>
                <a:gd name="T15" fmla="*/ 142 h 163"/>
                <a:gd name="T16" fmla="*/ 325 w 334"/>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63">
                  <a:moveTo>
                    <a:pt x="325" y="0"/>
                  </a:moveTo>
                  <a:lnTo>
                    <a:pt x="334" y="8"/>
                  </a:lnTo>
                  <a:lnTo>
                    <a:pt x="209" y="163"/>
                  </a:lnTo>
                  <a:lnTo>
                    <a:pt x="109" y="27"/>
                  </a:lnTo>
                  <a:lnTo>
                    <a:pt x="9" y="122"/>
                  </a:lnTo>
                  <a:lnTo>
                    <a:pt x="0" y="112"/>
                  </a:lnTo>
                  <a:lnTo>
                    <a:pt x="111" y="9"/>
                  </a:lnTo>
                  <a:lnTo>
                    <a:pt x="210" y="142"/>
                  </a:lnTo>
                  <a:lnTo>
                    <a:pt x="325" y="0"/>
                  </a:lnTo>
                  <a:close/>
                </a:path>
              </a:pathLst>
            </a:custGeom>
            <a:solidFill>
              <a:srgbClr val="710330">
                <a:lumMod val="75000"/>
              </a:srgbClr>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0" name="Freeform 96">
              <a:extLst>
                <a:ext uri="{FF2B5EF4-FFF2-40B4-BE49-F238E27FC236}">
                  <a16:creationId xmlns:a16="http://schemas.microsoft.com/office/drawing/2014/main" id="{0AFC2ADB-A3DC-E3B5-A530-CEE9BD23D452}"/>
                </a:ext>
              </a:extLst>
            </p:cNvPr>
            <p:cNvSpPr>
              <a:spLocks/>
            </p:cNvSpPr>
            <p:nvPr/>
          </p:nvSpPr>
          <p:spPr bwMode="auto">
            <a:xfrm>
              <a:off x="7916863" y="2039938"/>
              <a:ext cx="66675" cy="66675"/>
            </a:xfrm>
            <a:custGeom>
              <a:avLst/>
              <a:gdLst>
                <a:gd name="T0" fmla="*/ 42 w 42"/>
                <a:gd name="T1" fmla="*/ 0 h 42"/>
                <a:gd name="T2" fmla="*/ 42 w 42"/>
                <a:gd name="T3" fmla="*/ 42 h 42"/>
                <a:gd name="T4" fmla="*/ 0 w 42"/>
                <a:gd name="T5" fmla="*/ 7 h 42"/>
                <a:gd name="T6" fmla="*/ 42 w 42"/>
                <a:gd name="T7" fmla="*/ 0 h 42"/>
              </a:gdLst>
              <a:ahLst/>
              <a:cxnLst>
                <a:cxn ang="0">
                  <a:pos x="T0" y="T1"/>
                </a:cxn>
                <a:cxn ang="0">
                  <a:pos x="T2" y="T3"/>
                </a:cxn>
                <a:cxn ang="0">
                  <a:pos x="T4" y="T5"/>
                </a:cxn>
                <a:cxn ang="0">
                  <a:pos x="T6" y="T7"/>
                </a:cxn>
              </a:cxnLst>
              <a:rect l="0" t="0" r="r" b="b"/>
              <a:pathLst>
                <a:path w="42" h="42">
                  <a:moveTo>
                    <a:pt x="42" y="0"/>
                  </a:moveTo>
                  <a:lnTo>
                    <a:pt x="42" y="42"/>
                  </a:lnTo>
                  <a:lnTo>
                    <a:pt x="0" y="7"/>
                  </a:lnTo>
                  <a:lnTo>
                    <a:pt x="42" y="0"/>
                  </a:lnTo>
                  <a:close/>
                </a:path>
              </a:pathLst>
            </a:custGeom>
            <a:solidFill>
              <a:srgbClr val="F2977C"/>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1" name="Freeform 97">
              <a:extLst>
                <a:ext uri="{FF2B5EF4-FFF2-40B4-BE49-F238E27FC236}">
                  <a16:creationId xmlns:a16="http://schemas.microsoft.com/office/drawing/2014/main" id="{4D0ADB31-12A1-3B33-50C0-CD964C5C34A3}"/>
                </a:ext>
              </a:extLst>
            </p:cNvPr>
            <p:cNvSpPr>
              <a:spLocks/>
            </p:cNvSpPr>
            <p:nvPr/>
          </p:nvSpPr>
          <p:spPr bwMode="auto">
            <a:xfrm>
              <a:off x="7418388" y="2232025"/>
              <a:ext cx="55563" cy="55563"/>
            </a:xfrm>
            <a:custGeom>
              <a:avLst/>
              <a:gdLst>
                <a:gd name="T0" fmla="*/ 18 w 35"/>
                <a:gd name="T1" fmla="*/ 0 h 35"/>
                <a:gd name="T2" fmla="*/ 27 w 35"/>
                <a:gd name="T3" fmla="*/ 2 h 35"/>
                <a:gd name="T4" fmla="*/ 33 w 35"/>
                <a:gd name="T5" fmla="*/ 8 h 35"/>
                <a:gd name="T6" fmla="*/ 35 w 35"/>
                <a:gd name="T7" fmla="*/ 18 h 35"/>
                <a:gd name="T8" fmla="*/ 33 w 35"/>
                <a:gd name="T9" fmla="*/ 26 h 35"/>
                <a:gd name="T10" fmla="*/ 27 w 35"/>
                <a:gd name="T11" fmla="*/ 33 h 35"/>
                <a:gd name="T12" fmla="*/ 18 w 35"/>
                <a:gd name="T13" fmla="*/ 35 h 35"/>
                <a:gd name="T14" fmla="*/ 9 w 35"/>
                <a:gd name="T15" fmla="*/ 33 h 35"/>
                <a:gd name="T16" fmla="*/ 2 w 35"/>
                <a:gd name="T17" fmla="*/ 26 h 35"/>
                <a:gd name="T18" fmla="*/ 0 w 35"/>
                <a:gd name="T19" fmla="*/ 18 h 35"/>
                <a:gd name="T20" fmla="*/ 2 w 35"/>
                <a:gd name="T21" fmla="*/ 8 h 35"/>
                <a:gd name="T22" fmla="*/ 9 w 35"/>
                <a:gd name="T23" fmla="*/ 2 h 35"/>
                <a:gd name="T24" fmla="*/ 18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18" y="0"/>
                  </a:moveTo>
                  <a:lnTo>
                    <a:pt x="27" y="2"/>
                  </a:lnTo>
                  <a:lnTo>
                    <a:pt x="33" y="8"/>
                  </a:lnTo>
                  <a:lnTo>
                    <a:pt x="35" y="18"/>
                  </a:lnTo>
                  <a:lnTo>
                    <a:pt x="33" y="26"/>
                  </a:lnTo>
                  <a:lnTo>
                    <a:pt x="27" y="33"/>
                  </a:lnTo>
                  <a:lnTo>
                    <a:pt x="18" y="35"/>
                  </a:lnTo>
                  <a:lnTo>
                    <a:pt x="9" y="33"/>
                  </a:lnTo>
                  <a:lnTo>
                    <a:pt x="2" y="26"/>
                  </a:lnTo>
                  <a:lnTo>
                    <a:pt x="0" y="18"/>
                  </a:lnTo>
                  <a:lnTo>
                    <a:pt x="2" y="8"/>
                  </a:lnTo>
                  <a:lnTo>
                    <a:pt x="9" y="2"/>
                  </a:lnTo>
                  <a:lnTo>
                    <a:pt x="18" y="0"/>
                  </a:lnTo>
                  <a:close/>
                </a:path>
              </a:pathLst>
            </a:custGeom>
            <a:solidFill>
              <a:srgbClr val="F2977C"/>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2" name="Freeform 98">
              <a:extLst>
                <a:ext uri="{FF2B5EF4-FFF2-40B4-BE49-F238E27FC236}">
                  <a16:creationId xmlns:a16="http://schemas.microsoft.com/office/drawing/2014/main" id="{C9BED510-CB64-1BE0-C73B-01910EE489FD}"/>
                </a:ext>
              </a:extLst>
            </p:cNvPr>
            <p:cNvSpPr>
              <a:spLocks/>
            </p:cNvSpPr>
            <p:nvPr/>
          </p:nvSpPr>
          <p:spPr bwMode="auto">
            <a:xfrm>
              <a:off x="7586663" y="2074863"/>
              <a:ext cx="46038" cy="44450"/>
            </a:xfrm>
            <a:custGeom>
              <a:avLst/>
              <a:gdLst>
                <a:gd name="T0" fmla="*/ 14 w 29"/>
                <a:gd name="T1" fmla="*/ 0 h 28"/>
                <a:gd name="T2" fmla="*/ 19 w 29"/>
                <a:gd name="T3" fmla="*/ 1 h 28"/>
                <a:gd name="T4" fmla="*/ 23 w 29"/>
                <a:gd name="T5" fmla="*/ 3 h 28"/>
                <a:gd name="T6" fmla="*/ 26 w 29"/>
                <a:gd name="T7" fmla="*/ 6 h 28"/>
                <a:gd name="T8" fmla="*/ 28 w 29"/>
                <a:gd name="T9" fmla="*/ 10 h 28"/>
                <a:gd name="T10" fmla="*/ 29 w 29"/>
                <a:gd name="T11" fmla="*/ 14 h 28"/>
                <a:gd name="T12" fmla="*/ 28 w 29"/>
                <a:gd name="T13" fmla="*/ 18 h 28"/>
                <a:gd name="T14" fmla="*/ 26 w 29"/>
                <a:gd name="T15" fmla="*/ 22 h 28"/>
                <a:gd name="T16" fmla="*/ 23 w 29"/>
                <a:gd name="T17" fmla="*/ 25 h 28"/>
                <a:gd name="T18" fmla="*/ 19 w 29"/>
                <a:gd name="T19" fmla="*/ 27 h 28"/>
                <a:gd name="T20" fmla="*/ 14 w 29"/>
                <a:gd name="T21" fmla="*/ 28 h 28"/>
                <a:gd name="T22" fmla="*/ 10 w 29"/>
                <a:gd name="T23" fmla="*/ 27 h 28"/>
                <a:gd name="T24" fmla="*/ 6 w 29"/>
                <a:gd name="T25" fmla="*/ 25 h 28"/>
                <a:gd name="T26" fmla="*/ 3 w 29"/>
                <a:gd name="T27" fmla="*/ 22 h 28"/>
                <a:gd name="T28" fmla="*/ 1 w 29"/>
                <a:gd name="T29" fmla="*/ 18 h 28"/>
                <a:gd name="T30" fmla="*/ 0 w 29"/>
                <a:gd name="T31" fmla="*/ 14 h 28"/>
                <a:gd name="T32" fmla="*/ 1 w 29"/>
                <a:gd name="T33" fmla="*/ 10 h 28"/>
                <a:gd name="T34" fmla="*/ 3 w 29"/>
                <a:gd name="T35" fmla="*/ 6 h 28"/>
                <a:gd name="T36" fmla="*/ 6 w 29"/>
                <a:gd name="T37" fmla="*/ 3 h 28"/>
                <a:gd name="T38" fmla="*/ 10 w 29"/>
                <a:gd name="T39" fmla="*/ 1 h 28"/>
                <a:gd name="T40" fmla="*/ 14 w 29"/>
                <a:gd name="T4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8">
                  <a:moveTo>
                    <a:pt x="14" y="0"/>
                  </a:moveTo>
                  <a:lnTo>
                    <a:pt x="19" y="1"/>
                  </a:lnTo>
                  <a:lnTo>
                    <a:pt x="23" y="3"/>
                  </a:lnTo>
                  <a:lnTo>
                    <a:pt x="26" y="6"/>
                  </a:lnTo>
                  <a:lnTo>
                    <a:pt x="28" y="10"/>
                  </a:lnTo>
                  <a:lnTo>
                    <a:pt x="29" y="14"/>
                  </a:lnTo>
                  <a:lnTo>
                    <a:pt x="28" y="18"/>
                  </a:lnTo>
                  <a:lnTo>
                    <a:pt x="26" y="22"/>
                  </a:lnTo>
                  <a:lnTo>
                    <a:pt x="23" y="25"/>
                  </a:lnTo>
                  <a:lnTo>
                    <a:pt x="19" y="27"/>
                  </a:lnTo>
                  <a:lnTo>
                    <a:pt x="14" y="28"/>
                  </a:lnTo>
                  <a:lnTo>
                    <a:pt x="10" y="27"/>
                  </a:lnTo>
                  <a:lnTo>
                    <a:pt x="6" y="25"/>
                  </a:lnTo>
                  <a:lnTo>
                    <a:pt x="3" y="22"/>
                  </a:lnTo>
                  <a:lnTo>
                    <a:pt x="1" y="18"/>
                  </a:lnTo>
                  <a:lnTo>
                    <a:pt x="0" y="14"/>
                  </a:lnTo>
                  <a:lnTo>
                    <a:pt x="1" y="10"/>
                  </a:lnTo>
                  <a:lnTo>
                    <a:pt x="3" y="6"/>
                  </a:lnTo>
                  <a:lnTo>
                    <a:pt x="6" y="3"/>
                  </a:lnTo>
                  <a:lnTo>
                    <a:pt x="10" y="1"/>
                  </a:lnTo>
                  <a:lnTo>
                    <a:pt x="14" y="0"/>
                  </a:lnTo>
                  <a:close/>
                </a:path>
              </a:pathLst>
            </a:custGeom>
            <a:solidFill>
              <a:srgbClr val="F2977C"/>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sp>
          <p:nvSpPr>
            <p:cNvPr id="63" name="Freeform 99">
              <a:extLst>
                <a:ext uri="{FF2B5EF4-FFF2-40B4-BE49-F238E27FC236}">
                  <a16:creationId xmlns:a16="http://schemas.microsoft.com/office/drawing/2014/main" id="{1CF4C8A5-6C9B-B8DF-5CC5-2854A9A43372}"/>
                </a:ext>
              </a:extLst>
            </p:cNvPr>
            <p:cNvSpPr>
              <a:spLocks/>
            </p:cNvSpPr>
            <p:nvPr/>
          </p:nvSpPr>
          <p:spPr bwMode="auto">
            <a:xfrm>
              <a:off x="7732710" y="2276475"/>
              <a:ext cx="66675" cy="66675"/>
            </a:xfrm>
            <a:custGeom>
              <a:avLst/>
              <a:gdLst>
                <a:gd name="T0" fmla="*/ 21 w 42"/>
                <a:gd name="T1" fmla="*/ 0 h 42"/>
                <a:gd name="T2" fmla="*/ 32 w 42"/>
                <a:gd name="T3" fmla="*/ 3 h 42"/>
                <a:gd name="T4" fmla="*/ 39 w 42"/>
                <a:gd name="T5" fmla="*/ 10 h 42"/>
                <a:gd name="T6" fmla="*/ 42 w 42"/>
                <a:gd name="T7" fmla="*/ 22 h 42"/>
                <a:gd name="T8" fmla="*/ 39 w 42"/>
                <a:gd name="T9" fmla="*/ 32 h 42"/>
                <a:gd name="T10" fmla="*/ 32 w 42"/>
                <a:gd name="T11" fmla="*/ 40 h 42"/>
                <a:gd name="T12" fmla="*/ 21 w 42"/>
                <a:gd name="T13" fmla="*/ 42 h 42"/>
                <a:gd name="T14" fmla="*/ 11 w 42"/>
                <a:gd name="T15" fmla="*/ 40 h 42"/>
                <a:gd name="T16" fmla="*/ 3 w 42"/>
                <a:gd name="T17" fmla="*/ 32 h 42"/>
                <a:gd name="T18" fmla="*/ 0 w 42"/>
                <a:gd name="T19" fmla="*/ 22 h 42"/>
                <a:gd name="T20" fmla="*/ 3 w 42"/>
                <a:gd name="T21" fmla="*/ 10 h 42"/>
                <a:gd name="T22" fmla="*/ 11 w 42"/>
                <a:gd name="T23" fmla="*/ 3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lnTo>
                    <a:pt x="32" y="3"/>
                  </a:lnTo>
                  <a:lnTo>
                    <a:pt x="39" y="10"/>
                  </a:lnTo>
                  <a:lnTo>
                    <a:pt x="42" y="22"/>
                  </a:lnTo>
                  <a:lnTo>
                    <a:pt x="39" y="32"/>
                  </a:lnTo>
                  <a:lnTo>
                    <a:pt x="32" y="40"/>
                  </a:lnTo>
                  <a:lnTo>
                    <a:pt x="21" y="42"/>
                  </a:lnTo>
                  <a:lnTo>
                    <a:pt x="11" y="40"/>
                  </a:lnTo>
                  <a:lnTo>
                    <a:pt x="3" y="32"/>
                  </a:lnTo>
                  <a:lnTo>
                    <a:pt x="0" y="22"/>
                  </a:lnTo>
                  <a:lnTo>
                    <a:pt x="3" y="10"/>
                  </a:lnTo>
                  <a:lnTo>
                    <a:pt x="11" y="3"/>
                  </a:lnTo>
                  <a:lnTo>
                    <a:pt x="21" y="0"/>
                  </a:lnTo>
                  <a:close/>
                </a:path>
              </a:pathLst>
            </a:custGeom>
            <a:solidFill>
              <a:srgbClr val="F2977C"/>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grpSp>
      <p:sp>
        <p:nvSpPr>
          <p:cNvPr id="46" name="Freeform 100">
            <a:extLst>
              <a:ext uri="{FF2B5EF4-FFF2-40B4-BE49-F238E27FC236}">
                <a16:creationId xmlns:a16="http://schemas.microsoft.com/office/drawing/2014/main" id="{BEEAAEC5-4EC8-11F5-6CFE-3A1B23E92EB0}"/>
              </a:ext>
            </a:extLst>
          </p:cNvPr>
          <p:cNvSpPr>
            <a:spLocks/>
          </p:cNvSpPr>
          <p:nvPr/>
        </p:nvSpPr>
        <p:spPr bwMode="auto">
          <a:xfrm>
            <a:off x="4757097" y="4101434"/>
            <a:ext cx="424527" cy="409500"/>
          </a:xfrm>
          <a:custGeom>
            <a:avLst/>
            <a:gdLst>
              <a:gd name="T0" fmla="*/ 410 w 820"/>
              <a:gd name="T1" fmla="*/ 0 h 819"/>
              <a:gd name="T2" fmla="*/ 462 w 820"/>
              <a:gd name="T3" fmla="*/ 3 h 819"/>
              <a:gd name="T4" fmla="*/ 511 w 820"/>
              <a:gd name="T5" fmla="*/ 12 h 819"/>
              <a:gd name="T6" fmla="*/ 558 w 820"/>
              <a:gd name="T7" fmla="*/ 27 h 819"/>
              <a:gd name="T8" fmla="*/ 602 w 820"/>
              <a:gd name="T9" fmla="*/ 47 h 819"/>
              <a:gd name="T10" fmla="*/ 644 w 820"/>
              <a:gd name="T11" fmla="*/ 73 h 819"/>
              <a:gd name="T12" fmla="*/ 682 w 820"/>
              <a:gd name="T13" fmla="*/ 102 h 819"/>
              <a:gd name="T14" fmla="*/ 716 w 820"/>
              <a:gd name="T15" fmla="*/ 137 h 819"/>
              <a:gd name="T16" fmla="*/ 746 w 820"/>
              <a:gd name="T17" fmla="*/ 175 h 819"/>
              <a:gd name="T18" fmla="*/ 772 w 820"/>
              <a:gd name="T19" fmla="*/ 216 h 819"/>
              <a:gd name="T20" fmla="*/ 792 w 820"/>
              <a:gd name="T21" fmla="*/ 262 h 819"/>
              <a:gd name="T22" fmla="*/ 808 w 820"/>
              <a:gd name="T23" fmla="*/ 309 h 819"/>
              <a:gd name="T24" fmla="*/ 817 w 820"/>
              <a:gd name="T25" fmla="*/ 358 h 819"/>
              <a:gd name="T26" fmla="*/ 820 w 820"/>
              <a:gd name="T27" fmla="*/ 409 h 819"/>
              <a:gd name="T28" fmla="*/ 817 w 820"/>
              <a:gd name="T29" fmla="*/ 461 h 819"/>
              <a:gd name="T30" fmla="*/ 808 w 820"/>
              <a:gd name="T31" fmla="*/ 510 h 819"/>
              <a:gd name="T32" fmla="*/ 792 w 820"/>
              <a:gd name="T33" fmla="*/ 557 h 819"/>
              <a:gd name="T34" fmla="*/ 772 w 820"/>
              <a:gd name="T35" fmla="*/ 602 h 819"/>
              <a:gd name="T36" fmla="*/ 746 w 820"/>
              <a:gd name="T37" fmla="*/ 643 h 819"/>
              <a:gd name="T38" fmla="*/ 716 w 820"/>
              <a:gd name="T39" fmla="*/ 681 h 819"/>
              <a:gd name="T40" fmla="*/ 682 w 820"/>
              <a:gd name="T41" fmla="*/ 716 h 819"/>
              <a:gd name="T42" fmla="*/ 644 w 820"/>
              <a:gd name="T43" fmla="*/ 746 h 819"/>
              <a:gd name="T44" fmla="*/ 602 w 820"/>
              <a:gd name="T45" fmla="*/ 772 h 819"/>
              <a:gd name="T46" fmla="*/ 558 w 820"/>
              <a:gd name="T47" fmla="*/ 792 h 819"/>
              <a:gd name="T48" fmla="*/ 511 w 820"/>
              <a:gd name="T49" fmla="*/ 807 h 819"/>
              <a:gd name="T50" fmla="*/ 462 w 820"/>
              <a:gd name="T51" fmla="*/ 816 h 819"/>
              <a:gd name="T52" fmla="*/ 410 w 820"/>
              <a:gd name="T53" fmla="*/ 819 h 819"/>
              <a:gd name="T54" fmla="*/ 358 w 820"/>
              <a:gd name="T55" fmla="*/ 816 h 819"/>
              <a:gd name="T56" fmla="*/ 309 w 820"/>
              <a:gd name="T57" fmla="*/ 807 h 819"/>
              <a:gd name="T58" fmla="*/ 262 w 820"/>
              <a:gd name="T59" fmla="*/ 792 h 819"/>
              <a:gd name="T60" fmla="*/ 218 w 820"/>
              <a:gd name="T61" fmla="*/ 772 h 819"/>
              <a:gd name="T62" fmla="*/ 176 w 820"/>
              <a:gd name="T63" fmla="*/ 746 h 819"/>
              <a:gd name="T64" fmla="*/ 138 w 820"/>
              <a:gd name="T65" fmla="*/ 716 h 819"/>
              <a:gd name="T66" fmla="*/ 104 w 820"/>
              <a:gd name="T67" fmla="*/ 681 h 819"/>
              <a:gd name="T68" fmla="*/ 74 w 820"/>
              <a:gd name="T69" fmla="*/ 643 h 819"/>
              <a:gd name="T70" fmla="*/ 48 w 820"/>
              <a:gd name="T71" fmla="*/ 602 h 819"/>
              <a:gd name="T72" fmla="*/ 28 w 820"/>
              <a:gd name="T73" fmla="*/ 557 h 819"/>
              <a:gd name="T74" fmla="*/ 13 w 820"/>
              <a:gd name="T75" fmla="*/ 510 h 819"/>
              <a:gd name="T76" fmla="*/ 3 w 820"/>
              <a:gd name="T77" fmla="*/ 461 h 819"/>
              <a:gd name="T78" fmla="*/ 0 w 820"/>
              <a:gd name="T79" fmla="*/ 409 h 819"/>
              <a:gd name="T80" fmla="*/ 3 w 820"/>
              <a:gd name="T81" fmla="*/ 358 h 819"/>
              <a:gd name="T82" fmla="*/ 13 w 820"/>
              <a:gd name="T83" fmla="*/ 309 h 819"/>
              <a:gd name="T84" fmla="*/ 28 w 820"/>
              <a:gd name="T85" fmla="*/ 262 h 819"/>
              <a:gd name="T86" fmla="*/ 48 w 820"/>
              <a:gd name="T87" fmla="*/ 216 h 819"/>
              <a:gd name="T88" fmla="*/ 74 w 820"/>
              <a:gd name="T89" fmla="*/ 175 h 819"/>
              <a:gd name="T90" fmla="*/ 104 w 820"/>
              <a:gd name="T91" fmla="*/ 137 h 819"/>
              <a:gd name="T92" fmla="*/ 138 w 820"/>
              <a:gd name="T93" fmla="*/ 102 h 819"/>
              <a:gd name="T94" fmla="*/ 176 w 820"/>
              <a:gd name="T95" fmla="*/ 73 h 819"/>
              <a:gd name="T96" fmla="*/ 218 w 820"/>
              <a:gd name="T97" fmla="*/ 47 h 819"/>
              <a:gd name="T98" fmla="*/ 262 w 820"/>
              <a:gd name="T99" fmla="*/ 27 h 819"/>
              <a:gd name="T100" fmla="*/ 309 w 820"/>
              <a:gd name="T101" fmla="*/ 12 h 819"/>
              <a:gd name="T102" fmla="*/ 358 w 820"/>
              <a:gd name="T103" fmla="*/ 3 h 819"/>
              <a:gd name="T104" fmla="*/ 410 w 820"/>
              <a:gd name="T105"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19">
                <a:moveTo>
                  <a:pt x="410" y="0"/>
                </a:moveTo>
                <a:lnTo>
                  <a:pt x="462" y="3"/>
                </a:lnTo>
                <a:lnTo>
                  <a:pt x="511" y="12"/>
                </a:lnTo>
                <a:lnTo>
                  <a:pt x="558" y="27"/>
                </a:lnTo>
                <a:lnTo>
                  <a:pt x="602" y="47"/>
                </a:lnTo>
                <a:lnTo>
                  <a:pt x="644" y="73"/>
                </a:lnTo>
                <a:lnTo>
                  <a:pt x="682" y="102"/>
                </a:lnTo>
                <a:lnTo>
                  <a:pt x="716" y="137"/>
                </a:lnTo>
                <a:lnTo>
                  <a:pt x="746" y="175"/>
                </a:lnTo>
                <a:lnTo>
                  <a:pt x="772" y="216"/>
                </a:lnTo>
                <a:lnTo>
                  <a:pt x="792" y="262"/>
                </a:lnTo>
                <a:lnTo>
                  <a:pt x="808" y="309"/>
                </a:lnTo>
                <a:lnTo>
                  <a:pt x="817" y="358"/>
                </a:lnTo>
                <a:lnTo>
                  <a:pt x="820" y="409"/>
                </a:lnTo>
                <a:lnTo>
                  <a:pt x="817" y="461"/>
                </a:lnTo>
                <a:lnTo>
                  <a:pt x="808" y="510"/>
                </a:lnTo>
                <a:lnTo>
                  <a:pt x="792" y="557"/>
                </a:lnTo>
                <a:lnTo>
                  <a:pt x="772" y="602"/>
                </a:lnTo>
                <a:lnTo>
                  <a:pt x="746" y="643"/>
                </a:lnTo>
                <a:lnTo>
                  <a:pt x="716" y="681"/>
                </a:lnTo>
                <a:lnTo>
                  <a:pt x="682" y="716"/>
                </a:lnTo>
                <a:lnTo>
                  <a:pt x="644" y="746"/>
                </a:lnTo>
                <a:lnTo>
                  <a:pt x="602" y="772"/>
                </a:lnTo>
                <a:lnTo>
                  <a:pt x="558" y="792"/>
                </a:lnTo>
                <a:lnTo>
                  <a:pt x="511" y="807"/>
                </a:lnTo>
                <a:lnTo>
                  <a:pt x="462" y="816"/>
                </a:lnTo>
                <a:lnTo>
                  <a:pt x="410" y="819"/>
                </a:lnTo>
                <a:lnTo>
                  <a:pt x="358" y="816"/>
                </a:lnTo>
                <a:lnTo>
                  <a:pt x="309" y="807"/>
                </a:lnTo>
                <a:lnTo>
                  <a:pt x="262" y="792"/>
                </a:lnTo>
                <a:lnTo>
                  <a:pt x="218" y="772"/>
                </a:lnTo>
                <a:lnTo>
                  <a:pt x="176" y="746"/>
                </a:lnTo>
                <a:lnTo>
                  <a:pt x="138" y="716"/>
                </a:lnTo>
                <a:lnTo>
                  <a:pt x="104" y="681"/>
                </a:lnTo>
                <a:lnTo>
                  <a:pt x="74" y="643"/>
                </a:lnTo>
                <a:lnTo>
                  <a:pt x="48" y="602"/>
                </a:lnTo>
                <a:lnTo>
                  <a:pt x="28" y="557"/>
                </a:lnTo>
                <a:lnTo>
                  <a:pt x="13" y="510"/>
                </a:lnTo>
                <a:lnTo>
                  <a:pt x="3" y="461"/>
                </a:lnTo>
                <a:lnTo>
                  <a:pt x="0" y="409"/>
                </a:lnTo>
                <a:lnTo>
                  <a:pt x="3" y="358"/>
                </a:lnTo>
                <a:lnTo>
                  <a:pt x="13" y="309"/>
                </a:lnTo>
                <a:lnTo>
                  <a:pt x="28" y="262"/>
                </a:lnTo>
                <a:lnTo>
                  <a:pt x="48" y="216"/>
                </a:lnTo>
                <a:lnTo>
                  <a:pt x="74" y="175"/>
                </a:lnTo>
                <a:lnTo>
                  <a:pt x="104" y="137"/>
                </a:lnTo>
                <a:lnTo>
                  <a:pt x="138" y="102"/>
                </a:lnTo>
                <a:lnTo>
                  <a:pt x="176" y="73"/>
                </a:lnTo>
                <a:lnTo>
                  <a:pt x="218" y="47"/>
                </a:lnTo>
                <a:lnTo>
                  <a:pt x="262" y="27"/>
                </a:lnTo>
                <a:lnTo>
                  <a:pt x="309" y="12"/>
                </a:lnTo>
                <a:lnTo>
                  <a:pt x="358" y="3"/>
                </a:lnTo>
                <a:lnTo>
                  <a:pt x="410"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pic>
        <p:nvPicPr>
          <p:cNvPr id="47" name="Graphic 46" descr="Database with solid fill">
            <a:extLst>
              <a:ext uri="{FF2B5EF4-FFF2-40B4-BE49-F238E27FC236}">
                <a16:creationId xmlns:a16="http://schemas.microsoft.com/office/drawing/2014/main" id="{21B81136-CE4E-3F01-04D9-4FD61C22015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806379" y="4159461"/>
            <a:ext cx="309013" cy="297384"/>
          </a:xfrm>
          <a:prstGeom prst="rect">
            <a:avLst/>
          </a:prstGeom>
        </p:spPr>
      </p:pic>
      <p:pic>
        <p:nvPicPr>
          <p:cNvPr id="48" name="Picture 47">
            <a:extLst>
              <a:ext uri="{FF2B5EF4-FFF2-40B4-BE49-F238E27FC236}">
                <a16:creationId xmlns:a16="http://schemas.microsoft.com/office/drawing/2014/main" id="{98BAC752-DBCA-FCFB-96A2-76A760C1845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504" b="93985" l="7895" r="93780">
                        <a14:foregroundMark x1="91866" y1="45363" x2="93780" y2="64411"/>
                        <a14:foregroundMark x1="63876" y1="93985" x2="35407" y2="92982"/>
                        <a14:foregroundMark x1="8373" y1="59398" x2="7895" y2="43609"/>
                        <a14:foregroundMark x1="34450" y1="39348" x2="39713" y2="36341"/>
                        <a14:foregroundMark x1="39952" y1="9273" x2="42344" y2="5514"/>
                        <a14:foregroundMark x1="59569" y1="3509" x2="56459" y2="1504"/>
                      </a14:backgroundRemoval>
                    </a14:imgEffect>
                  </a14:imgLayer>
                </a14:imgProps>
              </a:ext>
            </a:extLst>
          </a:blip>
          <a:stretch>
            <a:fillRect/>
          </a:stretch>
        </p:blipFill>
        <p:spPr>
          <a:xfrm>
            <a:off x="5621833" y="1744589"/>
            <a:ext cx="537133" cy="506426"/>
          </a:xfrm>
          <a:prstGeom prst="rect">
            <a:avLst/>
          </a:prstGeom>
        </p:spPr>
      </p:pic>
      <p:pic>
        <p:nvPicPr>
          <p:cNvPr id="49" name="Picture 48">
            <a:extLst>
              <a:ext uri="{FF2B5EF4-FFF2-40B4-BE49-F238E27FC236}">
                <a16:creationId xmlns:a16="http://schemas.microsoft.com/office/drawing/2014/main" id="{50A00C28-6440-E18B-D62D-49855C39D1C1}"/>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38" b="89855" l="9850" r="93362">
                        <a14:foregroundMark x1="85225" y1="80538" x2="85225" y2="80538"/>
                        <a14:foregroundMark x1="78373" y1="73913" x2="78373" y2="73913"/>
                        <a14:foregroundMark x1="93362" y1="85093" x2="93362" y2="85093"/>
                      </a14:backgroundRemoval>
                    </a14:imgEffect>
                  </a14:imgLayer>
                </a14:imgProps>
              </a:ext>
            </a:extLst>
          </a:blip>
          <a:stretch>
            <a:fillRect/>
          </a:stretch>
        </p:blipFill>
        <p:spPr>
          <a:xfrm>
            <a:off x="6918052" y="1691396"/>
            <a:ext cx="610896" cy="624074"/>
          </a:xfrm>
          <a:prstGeom prst="rect">
            <a:avLst/>
          </a:prstGeom>
        </p:spPr>
      </p:pic>
      <p:pic>
        <p:nvPicPr>
          <p:cNvPr id="50" name="Picture 49">
            <a:extLst>
              <a:ext uri="{FF2B5EF4-FFF2-40B4-BE49-F238E27FC236}">
                <a16:creationId xmlns:a16="http://schemas.microsoft.com/office/drawing/2014/main" id="{DF3FEE05-C14A-8B80-5EE6-647A59E0B3A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483" b="92816" l="10000" r="94889">
                        <a14:foregroundMark x1="38000" y1="21839" x2="52000" y2="68103"/>
                        <a14:foregroundMark x1="52000" y1="68103" x2="81778" y2="79598"/>
                        <a14:foregroundMark x1="81778" y1="29598" x2="32444" y2="79885"/>
                        <a14:foregroundMark x1="32444" y1="79885" x2="32000" y2="79885"/>
                        <a14:foregroundMark x1="26667" y1="29310" x2="30000" y2="78161"/>
                        <a14:foregroundMark x1="25111" y1="37931" x2="65333" y2="58908"/>
                        <a14:foregroundMark x1="36444" y1="37931" x2="19111" y2="72989"/>
                        <a14:foregroundMark x1="19111" y1="72989" x2="18667" y2="71264"/>
                        <a14:foregroundMark x1="23333" y1="31897" x2="26667" y2="53736"/>
                        <a14:foregroundMark x1="26667" y1="53736" x2="67778" y2="88793"/>
                        <a14:foregroundMark x1="67778" y1="88793" x2="85111" y2="85920"/>
                        <a14:foregroundMark x1="84889" y1="34483" x2="86444" y2="58908"/>
                        <a14:foregroundMark x1="86444" y1="58908" x2="80222" y2="91667"/>
                        <a14:foregroundMark x1="80222" y1="91667" x2="76444" y2="93103"/>
                        <a14:foregroundMark x1="77778" y1="29023" x2="37333" y2="63218"/>
                        <a14:foregroundMark x1="37333" y1="63218" x2="37111" y2="62069"/>
                        <a14:foregroundMark x1="32667" y1="37069" x2="70889" y2="38218"/>
                        <a14:foregroundMark x1="46667" y1="33046" x2="76444" y2="32471"/>
                        <a14:foregroundMark x1="21556" y1="20977" x2="32889" y2="20402"/>
                        <a14:foregroundMark x1="32889" y1="20402" x2="62889" y2="20402"/>
                        <a14:foregroundMark x1="90667" y1="32184" x2="92667" y2="75575"/>
                        <a14:foregroundMark x1="92667" y1="75575" x2="91111" y2="77299"/>
                        <a14:foregroundMark x1="93111" y1="41379" x2="93778" y2="58621"/>
                        <a14:foregroundMark x1="20000" y1="91379" x2="83111" y2="91379"/>
                        <a14:foregroundMark x1="10667" y1="15805" x2="11111" y2="34770"/>
                        <a14:foregroundMark x1="12222" y1="12931" x2="36000" y2="13218"/>
                        <a14:foregroundMark x1="41111" y1="13506" x2="66667" y2="11782"/>
                        <a14:foregroundMark x1="72889" y1="12356" x2="87556" y2="12356"/>
                        <a14:foregroundMark x1="65778" y1="20690" x2="83778" y2="20115"/>
                        <a14:foregroundMark x1="79778" y1="20690" x2="91111" y2="20115"/>
                        <a14:foregroundMark x1="94000" y1="14080" x2="93111" y2="49425"/>
                        <a14:foregroundMark x1="41778" y1="91379" x2="43111" y2="92816"/>
                        <a14:foregroundMark x1="94889" y1="66379" x2="93333" y2="69828"/>
                        <a14:foregroundMark x1="42889" y1="91667" x2="42667" y2="92816"/>
                        <a14:foregroundMark x1="14444" y1="75575" x2="15556" y2="83046"/>
                        <a14:foregroundMark x1="33556" y1="84483" x2="44222" y2="84483"/>
                      </a14:backgroundRemoval>
                    </a14:imgEffect>
                  </a14:imgLayer>
                </a14:imgProps>
              </a:ext>
            </a:extLst>
          </a:blip>
          <a:stretch>
            <a:fillRect/>
          </a:stretch>
        </p:blipFill>
        <p:spPr>
          <a:xfrm>
            <a:off x="7839238" y="2730603"/>
            <a:ext cx="558012" cy="426236"/>
          </a:xfrm>
          <a:prstGeom prst="rect">
            <a:avLst/>
          </a:prstGeom>
        </p:spPr>
      </p:pic>
      <p:sp>
        <p:nvSpPr>
          <p:cNvPr id="51" name="TextBox 50">
            <a:extLst>
              <a:ext uri="{FF2B5EF4-FFF2-40B4-BE49-F238E27FC236}">
                <a16:creationId xmlns:a16="http://schemas.microsoft.com/office/drawing/2014/main" id="{FB1B5A11-7279-7E66-6746-06CF1639D3AB}"/>
              </a:ext>
            </a:extLst>
          </p:cNvPr>
          <p:cNvSpPr txBox="1"/>
          <p:nvPr/>
        </p:nvSpPr>
        <p:spPr>
          <a:xfrm rot="20191327">
            <a:off x="6508575" y="5107941"/>
            <a:ext cx="1776680" cy="610478"/>
          </a:xfrm>
          <a:prstGeom prst="rect">
            <a:avLst/>
          </a:prstGeom>
          <a:noFill/>
        </p:spPr>
        <p:txBody>
          <a:bodyPr wrap="none" rtlCol="0">
            <a:prstTxWarp prst="textArchDown">
              <a:avLst>
                <a:gd name="adj" fmla="val 1641288"/>
              </a:avLst>
            </a:prstTxWarp>
            <a:spAutoFit/>
          </a:bodyPr>
          <a:lstStyle/>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Quality Pulse </a:t>
            </a:r>
          </a:p>
          <a:p>
            <a:pPr algn="ctr" defTabSz="1218987">
              <a:defRPr/>
            </a:pPr>
            <a:r>
              <a:rPr lang="en-IN" sz="1400" b="1" kern="0" dirty="0">
                <a:solidFill>
                  <a:prstClr val="black">
                    <a:lumMod val="75000"/>
                    <a:lumOff val="25000"/>
                  </a:prstClr>
                </a:solidFill>
                <a:latin typeface="Calibri"/>
                <a:ea typeface="Open Sans" panose="020B0606030504020204" pitchFamily="34" charset="0"/>
                <a:cs typeface="Open Sans" panose="020B0606030504020204" pitchFamily="34" charset="0"/>
              </a:rPr>
              <a:t>Dashboard</a:t>
            </a:r>
          </a:p>
        </p:txBody>
      </p:sp>
      <p:sp>
        <p:nvSpPr>
          <p:cNvPr id="97" name="TextBox 96">
            <a:extLst>
              <a:ext uri="{FF2B5EF4-FFF2-40B4-BE49-F238E27FC236}">
                <a16:creationId xmlns:a16="http://schemas.microsoft.com/office/drawing/2014/main" id="{4BD25679-F131-B706-47C0-4702B47A99FB}"/>
              </a:ext>
            </a:extLst>
          </p:cNvPr>
          <p:cNvSpPr txBox="1"/>
          <p:nvPr/>
        </p:nvSpPr>
        <p:spPr>
          <a:xfrm>
            <a:off x="9340637" y="1245853"/>
            <a:ext cx="2575983" cy="584775"/>
          </a:xfrm>
          <a:prstGeom prst="rect">
            <a:avLst/>
          </a:prstGeom>
          <a:noFill/>
        </p:spPr>
        <p:txBody>
          <a:bodyPr wrap="square">
            <a:spAutoFit/>
          </a:bodyPr>
          <a:lstStyle/>
          <a:p>
            <a:pPr algn="ctr"/>
            <a:r>
              <a:rPr lang="en-US" sz="1600" b="1" dirty="0">
                <a:solidFill>
                  <a:srgbClr val="C00000"/>
                </a:solidFill>
              </a:rPr>
              <a:t>Faster rate &amp; product rollouts</a:t>
            </a:r>
          </a:p>
        </p:txBody>
      </p:sp>
      <p:sp>
        <p:nvSpPr>
          <p:cNvPr id="98" name="TextBox 97">
            <a:extLst>
              <a:ext uri="{FF2B5EF4-FFF2-40B4-BE49-F238E27FC236}">
                <a16:creationId xmlns:a16="http://schemas.microsoft.com/office/drawing/2014/main" id="{E0E6560D-B03B-C1B1-79CB-C3FD9D72109F}"/>
              </a:ext>
            </a:extLst>
          </p:cNvPr>
          <p:cNvSpPr txBox="1"/>
          <p:nvPr/>
        </p:nvSpPr>
        <p:spPr>
          <a:xfrm>
            <a:off x="9391359" y="2287685"/>
            <a:ext cx="2474538" cy="584775"/>
          </a:xfrm>
          <a:prstGeom prst="rect">
            <a:avLst/>
          </a:prstGeom>
          <a:noFill/>
        </p:spPr>
        <p:txBody>
          <a:bodyPr wrap="square">
            <a:spAutoFit/>
          </a:bodyPr>
          <a:lstStyle>
            <a:defPPr>
              <a:defRPr lang="en-US"/>
            </a:defPPr>
            <a:lvl1pPr algn="ctr">
              <a:defRPr sz="1600" b="1">
                <a:solidFill>
                  <a:srgbClr val="C00000"/>
                </a:solidFill>
              </a:defRPr>
            </a:lvl1pPr>
          </a:lstStyle>
          <a:p>
            <a:r>
              <a:rPr lang="en-US" dirty="0"/>
              <a:t>Improved premium accuracy</a:t>
            </a:r>
          </a:p>
        </p:txBody>
      </p:sp>
      <p:sp>
        <p:nvSpPr>
          <p:cNvPr id="99" name="TextBox 98">
            <a:extLst>
              <a:ext uri="{FF2B5EF4-FFF2-40B4-BE49-F238E27FC236}">
                <a16:creationId xmlns:a16="http://schemas.microsoft.com/office/drawing/2014/main" id="{E0943D27-676C-D097-D835-1F54E84C40F2}"/>
              </a:ext>
            </a:extLst>
          </p:cNvPr>
          <p:cNvSpPr txBox="1"/>
          <p:nvPr/>
        </p:nvSpPr>
        <p:spPr>
          <a:xfrm>
            <a:off x="9320162" y="3329517"/>
            <a:ext cx="2616932" cy="584775"/>
          </a:xfrm>
          <a:prstGeom prst="rect">
            <a:avLst/>
          </a:prstGeom>
          <a:noFill/>
        </p:spPr>
        <p:txBody>
          <a:bodyPr wrap="square">
            <a:spAutoFit/>
          </a:bodyPr>
          <a:lstStyle>
            <a:defPPr>
              <a:defRPr lang="en-US"/>
            </a:defPPr>
            <a:lvl1pPr algn="ctr">
              <a:defRPr sz="1600" b="1">
                <a:solidFill>
                  <a:srgbClr val="C00000"/>
                </a:solidFill>
              </a:defRPr>
            </a:lvl1pPr>
          </a:lstStyle>
          <a:p>
            <a:r>
              <a:rPr lang="en-US" dirty="0"/>
              <a:t>Safer Guidewire </a:t>
            </a:r>
          </a:p>
          <a:p>
            <a:r>
              <a:rPr lang="en-US" dirty="0"/>
              <a:t>upgrades</a:t>
            </a:r>
          </a:p>
        </p:txBody>
      </p:sp>
      <p:sp>
        <p:nvSpPr>
          <p:cNvPr id="100" name="TextBox 99">
            <a:extLst>
              <a:ext uri="{FF2B5EF4-FFF2-40B4-BE49-F238E27FC236}">
                <a16:creationId xmlns:a16="http://schemas.microsoft.com/office/drawing/2014/main" id="{65CEE84D-3417-53C3-7F8D-C41F3EB6B3F8}"/>
              </a:ext>
            </a:extLst>
          </p:cNvPr>
          <p:cNvSpPr txBox="1"/>
          <p:nvPr/>
        </p:nvSpPr>
        <p:spPr>
          <a:xfrm>
            <a:off x="9388138" y="4371349"/>
            <a:ext cx="2480980" cy="584775"/>
          </a:xfrm>
          <a:prstGeom prst="rect">
            <a:avLst/>
          </a:prstGeom>
          <a:noFill/>
        </p:spPr>
        <p:txBody>
          <a:bodyPr wrap="square">
            <a:spAutoFit/>
          </a:bodyPr>
          <a:lstStyle>
            <a:defPPr>
              <a:defRPr lang="en-US"/>
            </a:defPPr>
            <a:lvl1pPr algn="ctr">
              <a:defRPr sz="1600" b="1">
                <a:solidFill>
                  <a:srgbClr val="C00000"/>
                </a:solidFill>
              </a:defRPr>
            </a:lvl1pPr>
          </a:lstStyle>
          <a:p>
            <a:r>
              <a:rPr lang="en-US" dirty="0"/>
              <a:t>Stronger compliance confidence</a:t>
            </a:r>
          </a:p>
        </p:txBody>
      </p:sp>
      <p:pic>
        <p:nvPicPr>
          <p:cNvPr id="101" name="Picture 100" descr="A logo with a lion head&#10;&#10;AI-generated content may be incorrect.">
            <a:extLst>
              <a:ext uri="{FF2B5EF4-FFF2-40B4-BE49-F238E27FC236}">
                <a16:creationId xmlns:a16="http://schemas.microsoft.com/office/drawing/2014/main" id="{CC36C283-6EDE-23A3-A61E-3D9E9B2C6D4A}"/>
              </a:ext>
            </a:extLst>
          </p:cNvPr>
          <p:cNvPicPr>
            <a:picLocks noChangeAspect="1"/>
          </p:cNvPicPr>
          <p:nvPr/>
        </p:nvPicPr>
        <p:blipFill>
          <a:blip r:embed="rId10">
            <a:extLst>
              <a:ext uri="{28A0092B-C50C-407E-A947-70E740481C1C}">
                <a14:useLocalDpi xmlns:a14="http://schemas.microsoft.com/office/drawing/2010/main" val="0"/>
              </a:ext>
            </a:extLst>
          </a:blip>
          <a:srcRect l="14553" t="16425" r="12358" b="18903"/>
          <a:stretch/>
        </p:blipFill>
        <p:spPr>
          <a:xfrm>
            <a:off x="5526072" y="3057580"/>
            <a:ext cx="1961855" cy="976473"/>
          </a:xfrm>
          <a:prstGeom prst="rect">
            <a:avLst/>
          </a:prstGeom>
        </p:spPr>
      </p:pic>
      <p:pic>
        <p:nvPicPr>
          <p:cNvPr id="102" name="Picture 101">
            <a:extLst>
              <a:ext uri="{FF2B5EF4-FFF2-40B4-BE49-F238E27FC236}">
                <a16:creationId xmlns:a16="http://schemas.microsoft.com/office/drawing/2014/main" id="{61DEC0E4-F28B-CA06-B04E-18A0A50CEC15}"/>
              </a:ext>
            </a:extLst>
          </p:cNvPr>
          <p:cNvPicPr>
            <a:picLocks noChangeAspect="1"/>
          </p:cNvPicPr>
          <p:nvPr/>
        </p:nvPicPr>
        <p:blipFill>
          <a:blip r:embed="rId11"/>
          <a:srcRect l="78342"/>
          <a:stretch>
            <a:fillRect/>
          </a:stretch>
        </p:blipFill>
        <p:spPr>
          <a:xfrm flipH="1" flipV="1">
            <a:off x="2637186" y="1626327"/>
            <a:ext cx="643751" cy="3657917"/>
          </a:xfrm>
          <a:prstGeom prst="rect">
            <a:avLst/>
          </a:prstGeom>
        </p:spPr>
      </p:pic>
      <p:pic>
        <p:nvPicPr>
          <p:cNvPr id="103" name="Picture 102" descr="A logo with a red lion head&#10;&#10;AI-generated content may be incorrect.">
            <a:extLst>
              <a:ext uri="{FF2B5EF4-FFF2-40B4-BE49-F238E27FC236}">
                <a16:creationId xmlns:a16="http://schemas.microsoft.com/office/drawing/2014/main" id="{A6DCDE2B-5A64-2D62-EA65-0B3CED54D4D3}"/>
              </a:ext>
            </a:extLst>
          </p:cNvPr>
          <p:cNvPicPr>
            <a:picLocks noChangeAspect="1"/>
          </p:cNvPicPr>
          <p:nvPr/>
        </p:nvPicPr>
        <p:blipFill>
          <a:blip r:embed="rId12">
            <a:extLst>
              <a:ext uri="{28A0092B-C50C-407E-A947-70E740481C1C}">
                <a14:useLocalDpi xmlns:a14="http://schemas.microsoft.com/office/drawing/2010/main" val="0"/>
              </a:ext>
            </a:extLst>
          </a:blip>
          <a:srcRect t="32091" r="64765" b="22874"/>
          <a:stretch>
            <a:fillRect/>
          </a:stretch>
        </p:blipFill>
        <p:spPr>
          <a:xfrm>
            <a:off x="1379518" y="2628898"/>
            <a:ext cx="1917434" cy="1399458"/>
          </a:xfrm>
          <a:prstGeom prst="rect">
            <a:avLst/>
          </a:prstGeom>
        </p:spPr>
      </p:pic>
      <p:sp>
        <p:nvSpPr>
          <p:cNvPr id="3" name="Freeform 66">
            <a:extLst>
              <a:ext uri="{FF2B5EF4-FFF2-40B4-BE49-F238E27FC236}">
                <a16:creationId xmlns:a16="http://schemas.microsoft.com/office/drawing/2014/main" id="{C4BC01E8-B96A-0607-7BC2-7B745C92EA7E}"/>
              </a:ext>
            </a:extLst>
          </p:cNvPr>
          <p:cNvSpPr>
            <a:spLocks/>
          </p:cNvSpPr>
          <p:nvPr/>
        </p:nvSpPr>
        <p:spPr bwMode="auto">
          <a:xfrm>
            <a:off x="5684754" y="4893288"/>
            <a:ext cx="424527" cy="409500"/>
          </a:xfrm>
          <a:custGeom>
            <a:avLst/>
            <a:gdLst>
              <a:gd name="T0" fmla="*/ 410 w 820"/>
              <a:gd name="T1" fmla="*/ 0 h 819"/>
              <a:gd name="T2" fmla="*/ 461 w 820"/>
              <a:gd name="T3" fmla="*/ 3 h 819"/>
              <a:gd name="T4" fmla="*/ 511 w 820"/>
              <a:gd name="T5" fmla="*/ 12 h 819"/>
              <a:gd name="T6" fmla="*/ 558 w 820"/>
              <a:gd name="T7" fmla="*/ 27 h 819"/>
              <a:gd name="T8" fmla="*/ 603 w 820"/>
              <a:gd name="T9" fmla="*/ 47 h 819"/>
              <a:gd name="T10" fmla="*/ 645 w 820"/>
              <a:gd name="T11" fmla="*/ 73 h 819"/>
              <a:gd name="T12" fmla="*/ 683 w 820"/>
              <a:gd name="T13" fmla="*/ 102 h 819"/>
              <a:gd name="T14" fmla="*/ 716 w 820"/>
              <a:gd name="T15" fmla="*/ 137 h 819"/>
              <a:gd name="T16" fmla="*/ 746 w 820"/>
              <a:gd name="T17" fmla="*/ 175 h 819"/>
              <a:gd name="T18" fmla="*/ 772 w 820"/>
              <a:gd name="T19" fmla="*/ 216 h 819"/>
              <a:gd name="T20" fmla="*/ 792 w 820"/>
              <a:gd name="T21" fmla="*/ 262 h 819"/>
              <a:gd name="T22" fmla="*/ 808 w 820"/>
              <a:gd name="T23" fmla="*/ 309 h 819"/>
              <a:gd name="T24" fmla="*/ 817 w 820"/>
              <a:gd name="T25" fmla="*/ 358 h 819"/>
              <a:gd name="T26" fmla="*/ 820 w 820"/>
              <a:gd name="T27" fmla="*/ 409 h 819"/>
              <a:gd name="T28" fmla="*/ 817 w 820"/>
              <a:gd name="T29" fmla="*/ 461 h 819"/>
              <a:gd name="T30" fmla="*/ 808 w 820"/>
              <a:gd name="T31" fmla="*/ 510 h 819"/>
              <a:gd name="T32" fmla="*/ 792 w 820"/>
              <a:gd name="T33" fmla="*/ 557 h 819"/>
              <a:gd name="T34" fmla="*/ 772 w 820"/>
              <a:gd name="T35" fmla="*/ 602 h 819"/>
              <a:gd name="T36" fmla="*/ 746 w 820"/>
              <a:gd name="T37" fmla="*/ 643 h 819"/>
              <a:gd name="T38" fmla="*/ 716 w 820"/>
              <a:gd name="T39" fmla="*/ 681 h 819"/>
              <a:gd name="T40" fmla="*/ 683 w 820"/>
              <a:gd name="T41" fmla="*/ 716 h 819"/>
              <a:gd name="T42" fmla="*/ 645 w 820"/>
              <a:gd name="T43" fmla="*/ 746 h 819"/>
              <a:gd name="T44" fmla="*/ 603 w 820"/>
              <a:gd name="T45" fmla="*/ 772 h 819"/>
              <a:gd name="T46" fmla="*/ 558 w 820"/>
              <a:gd name="T47" fmla="*/ 792 h 819"/>
              <a:gd name="T48" fmla="*/ 511 w 820"/>
              <a:gd name="T49" fmla="*/ 807 h 819"/>
              <a:gd name="T50" fmla="*/ 461 w 820"/>
              <a:gd name="T51" fmla="*/ 816 h 819"/>
              <a:gd name="T52" fmla="*/ 410 w 820"/>
              <a:gd name="T53" fmla="*/ 819 h 819"/>
              <a:gd name="T54" fmla="*/ 358 w 820"/>
              <a:gd name="T55" fmla="*/ 816 h 819"/>
              <a:gd name="T56" fmla="*/ 309 w 820"/>
              <a:gd name="T57" fmla="*/ 807 h 819"/>
              <a:gd name="T58" fmla="*/ 262 w 820"/>
              <a:gd name="T59" fmla="*/ 792 h 819"/>
              <a:gd name="T60" fmla="*/ 218 w 820"/>
              <a:gd name="T61" fmla="*/ 772 h 819"/>
              <a:gd name="T62" fmla="*/ 176 w 820"/>
              <a:gd name="T63" fmla="*/ 746 h 819"/>
              <a:gd name="T64" fmla="*/ 138 w 820"/>
              <a:gd name="T65" fmla="*/ 716 h 819"/>
              <a:gd name="T66" fmla="*/ 104 w 820"/>
              <a:gd name="T67" fmla="*/ 681 h 819"/>
              <a:gd name="T68" fmla="*/ 73 w 820"/>
              <a:gd name="T69" fmla="*/ 643 h 819"/>
              <a:gd name="T70" fmla="*/ 49 w 820"/>
              <a:gd name="T71" fmla="*/ 602 h 819"/>
              <a:gd name="T72" fmla="*/ 28 w 820"/>
              <a:gd name="T73" fmla="*/ 557 h 819"/>
              <a:gd name="T74" fmla="*/ 13 w 820"/>
              <a:gd name="T75" fmla="*/ 510 h 819"/>
              <a:gd name="T76" fmla="*/ 3 w 820"/>
              <a:gd name="T77" fmla="*/ 461 h 819"/>
              <a:gd name="T78" fmla="*/ 0 w 820"/>
              <a:gd name="T79" fmla="*/ 409 h 819"/>
              <a:gd name="T80" fmla="*/ 3 w 820"/>
              <a:gd name="T81" fmla="*/ 358 h 819"/>
              <a:gd name="T82" fmla="*/ 13 w 820"/>
              <a:gd name="T83" fmla="*/ 309 h 819"/>
              <a:gd name="T84" fmla="*/ 28 w 820"/>
              <a:gd name="T85" fmla="*/ 262 h 819"/>
              <a:gd name="T86" fmla="*/ 49 w 820"/>
              <a:gd name="T87" fmla="*/ 216 h 819"/>
              <a:gd name="T88" fmla="*/ 73 w 820"/>
              <a:gd name="T89" fmla="*/ 175 h 819"/>
              <a:gd name="T90" fmla="*/ 104 w 820"/>
              <a:gd name="T91" fmla="*/ 137 h 819"/>
              <a:gd name="T92" fmla="*/ 138 w 820"/>
              <a:gd name="T93" fmla="*/ 102 h 819"/>
              <a:gd name="T94" fmla="*/ 176 w 820"/>
              <a:gd name="T95" fmla="*/ 73 h 819"/>
              <a:gd name="T96" fmla="*/ 218 w 820"/>
              <a:gd name="T97" fmla="*/ 47 h 819"/>
              <a:gd name="T98" fmla="*/ 262 w 820"/>
              <a:gd name="T99" fmla="*/ 27 h 819"/>
              <a:gd name="T100" fmla="*/ 309 w 820"/>
              <a:gd name="T101" fmla="*/ 12 h 819"/>
              <a:gd name="T102" fmla="*/ 358 w 820"/>
              <a:gd name="T103" fmla="*/ 3 h 819"/>
              <a:gd name="T104" fmla="*/ 410 w 820"/>
              <a:gd name="T105"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19">
                <a:moveTo>
                  <a:pt x="410" y="0"/>
                </a:moveTo>
                <a:lnTo>
                  <a:pt x="461" y="3"/>
                </a:lnTo>
                <a:lnTo>
                  <a:pt x="511" y="12"/>
                </a:lnTo>
                <a:lnTo>
                  <a:pt x="558" y="27"/>
                </a:lnTo>
                <a:lnTo>
                  <a:pt x="603" y="47"/>
                </a:lnTo>
                <a:lnTo>
                  <a:pt x="645" y="73"/>
                </a:lnTo>
                <a:lnTo>
                  <a:pt x="683" y="102"/>
                </a:lnTo>
                <a:lnTo>
                  <a:pt x="716" y="137"/>
                </a:lnTo>
                <a:lnTo>
                  <a:pt x="746" y="175"/>
                </a:lnTo>
                <a:lnTo>
                  <a:pt x="772" y="216"/>
                </a:lnTo>
                <a:lnTo>
                  <a:pt x="792" y="262"/>
                </a:lnTo>
                <a:lnTo>
                  <a:pt x="808" y="309"/>
                </a:lnTo>
                <a:lnTo>
                  <a:pt x="817" y="358"/>
                </a:lnTo>
                <a:lnTo>
                  <a:pt x="820" y="409"/>
                </a:lnTo>
                <a:lnTo>
                  <a:pt x="817" y="461"/>
                </a:lnTo>
                <a:lnTo>
                  <a:pt x="808" y="510"/>
                </a:lnTo>
                <a:lnTo>
                  <a:pt x="792" y="557"/>
                </a:lnTo>
                <a:lnTo>
                  <a:pt x="772" y="602"/>
                </a:lnTo>
                <a:lnTo>
                  <a:pt x="746" y="643"/>
                </a:lnTo>
                <a:lnTo>
                  <a:pt x="716" y="681"/>
                </a:lnTo>
                <a:lnTo>
                  <a:pt x="683" y="716"/>
                </a:lnTo>
                <a:lnTo>
                  <a:pt x="645" y="746"/>
                </a:lnTo>
                <a:lnTo>
                  <a:pt x="603" y="772"/>
                </a:lnTo>
                <a:lnTo>
                  <a:pt x="558" y="792"/>
                </a:lnTo>
                <a:lnTo>
                  <a:pt x="511" y="807"/>
                </a:lnTo>
                <a:lnTo>
                  <a:pt x="461" y="816"/>
                </a:lnTo>
                <a:lnTo>
                  <a:pt x="410" y="819"/>
                </a:lnTo>
                <a:lnTo>
                  <a:pt x="358" y="816"/>
                </a:lnTo>
                <a:lnTo>
                  <a:pt x="309" y="807"/>
                </a:lnTo>
                <a:lnTo>
                  <a:pt x="262" y="792"/>
                </a:lnTo>
                <a:lnTo>
                  <a:pt x="218" y="772"/>
                </a:lnTo>
                <a:lnTo>
                  <a:pt x="176" y="746"/>
                </a:lnTo>
                <a:lnTo>
                  <a:pt x="138" y="716"/>
                </a:lnTo>
                <a:lnTo>
                  <a:pt x="104" y="681"/>
                </a:lnTo>
                <a:lnTo>
                  <a:pt x="73" y="643"/>
                </a:lnTo>
                <a:lnTo>
                  <a:pt x="49" y="602"/>
                </a:lnTo>
                <a:lnTo>
                  <a:pt x="28" y="557"/>
                </a:lnTo>
                <a:lnTo>
                  <a:pt x="13" y="510"/>
                </a:lnTo>
                <a:lnTo>
                  <a:pt x="3" y="461"/>
                </a:lnTo>
                <a:lnTo>
                  <a:pt x="0" y="409"/>
                </a:lnTo>
                <a:lnTo>
                  <a:pt x="3" y="358"/>
                </a:lnTo>
                <a:lnTo>
                  <a:pt x="13" y="309"/>
                </a:lnTo>
                <a:lnTo>
                  <a:pt x="28" y="262"/>
                </a:lnTo>
                <a:lnTo>
                  <a:pt x="49" y="216"/>
                </a:lnTo>
                <a:lnTo>
                  <a:pt x="73" y="175"/>
                </a:lnTo>
                <a:lnTo>
                  <a:pt x="104" y="137"/>
                </a:lnTo>
                <a:lnTo>
                  <a:pt x="138" y="102"/>
                </a:lnTo>
                <a:lnTo>
                  <a:pt x="176" y="73"/>
                </a:lnTo>
                <a:lnTo>
                  <a:pt x="218" y="47"/>
                </a:lnTo>
                <a:lnTo>
                  <a:pt x="262" y="27"/>
                </a:lnTo>
                <a:lnTo>
                  <a:pt x="309" y="12"/>
                </a:lnTo>
                <a:lnTo>
                  <a:pt x="358" y="3"/>
                </a:lnTo>
                <a:lnTo>
                  <a:pt x="410" y="0"/>
                </a:lnTo>
                <a:close/>
              </a:path>
            </a:pathLst>
          </a:custGeom>
          <a:solidFill>
            <a:sysClr val="window" lastClr="FFFFFF"/>
          </a:solidFill>
          <a:ln w="0">
            <a:noFill/>
            <a:prstDash val="solid"/>
            <a:round/>
            <a:headEnd/>
            <a:tailEnd/>
          </a:ln>
        </p:spPr>
        <p:txBody>
          <a:bodyPr vert="horz" wrap="square" lIns="91464" tIns="45732" rIns="91464" bIns="45732" numCol="1" anchor="t" anchorCtr="0" compatLnSpc="1">
            <a:prstTxWarp prst="textNoShape">
              <a:avLst/>
            </a:prstTxWarp>
          </a:bodyPr>
          <a:lstStyle/>
          <a:p>
            <a:pPr defTabSz="1218987">
              <a:defRPr/>
            </a:pPr>
            <a:endParaRPr lang="en-IN" sz="2000" kern="0">
              <a:solidFill>
                <a:prstClr val="black"/>
              </a:solidFill>
              <a:latin typeface="Calibri"/>
            </a:endParaRPr>
          </a:p>
        </p:txBody>
      </p:sp>
      <p:pic>
        <p:nvPicPr>
          <p:cNvPr id="5" name="Graphic 4" descr="Ladybug with solid fill">
            <a:extLst>
              <a:ext uri="{FF2B5EF4-FFF2-40B4-BE49-F238E27FC236}">
                <a16:creationId xmlns:a16="http://schemas.microsoft.com/office/drawing/2014/main" id="{3519BFD2-1AFD-5B91-5831-A3C05EC38124}"/>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5743562" y="4941457"/>
            <a:ext cx="315975" cy="304082"/>
          </a:xfrm>
          <a:prstGeom prst="rect">
            <a:avLst/>
          </a:prstGeom>
        </p:spPr>
      </p:pic>
      <p:sp>
        <p:nvSpPr>
          <p:cNvPr id="6" name="TextBox 5">
            <a:extLst>
              <a:ext uri="{FF2B5EF4-FFF2-40B4-BE49-F238E27FC236}">
                <a16:creationId xmlns:a16="http://schemas.microsoft.com/office/drawing/2014/main" id="{017FD3F8-27DA-385A-3450-4F03A4660CCB}"/>
              </a:ext>
            </a:extLst>
          </p:cNvPr>
          <p:cNvSpPr txBox="1"/>
          <p:nvPr/>
        </p:nvSpPr>
        <p:spPr>
          <a:xfrm>
            <a:off x="9388138" y="5413181"/>
            <a:ext cx="2480980" cy="584775"/>
          </a:xfrm>
          <a:prstGeom prst="rect">
            <a:avLst/>
          </a:prstGeom>
          <a:noFill/>
        </p:spPr>
        <p:txBody>
          <a:bodyPr wrap="square">
            <a:spAutoFit/>
          </a:bodyPr>
          <a:lstStyle>
            <a:defPPr>
              <a:defRPr lang="en-US"/>
            </a:defPPr>
            <a:lvl1pPr algn="ctr">
              <a:defRPr sz="1600" b="1">
                <a:solidFill>
                  <a:srgbClr val="C00000"/>
                </a:solidFill>
              </a:defRPr>
            </a:lvl1pPr>
          </a:lstStyle>
          <a:p>
            <a:r>
              <a:rPr lang="en-US" dirty="0"/>
              <a:t>Better policyholder &amp; agent experience</a:t>
            </a:r>
          </a:p>
        </p:txBody>
      </p:sp>
    </p:spTree>
    <p:extLst>
      <p:ext uri="{BB962C8B-B14F-4D97-AF65-F5344CB8AC3E}">
        <p14:creationId xmlns:p14="http://schemas.microsoft.com/office/powerpoint/2010/main" val="287158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E41D4-9476-531A-A76C-A5AFD1B74C6F}"/>
              </a:ext>
            </a:extLst>
          </p:cNvPr>
          <p:cNvSpPr>
            <a:spLocks noGrp="1"/>
          </p:cNvSpPr>
          <p:nvPr>
            <p:ph type="title"/>
          </p:nvPr>
        </p:nvSpPr>
        <p:spPr>
          <a:xfrm>
            <a:off x="350920" y="283682"/>
            <a:ext cx="11032475" cy="360099"/>
          </a:xfrm>
        </p:spPr>
        <p:txBody>
          <a:bodyPr/>
          <a:lstStyle/>
          <a:p>
            <a:r>
              <a:rPr lang="en-US" dirty="0"/>
              <a:t>Success Story - Guidewire Assurance for a Global insurance company</a:t>
            </a:r>
          </a:p>
        </p:txBody>
      </p:sp>
      <p:sp>
        <p:nvSpPr>
          <p:cNvPr id="3" name="Flowchart: Terminator 2">
            <a:extLst>
              <a:ext uri="{FF2B5EF4-FFF2-40B4-BE49-F238E27FC236}">
                <a16:creationId xmlns:a16="http://schemas.microsoft.com/office/drawing/2014/main" id="{45CB0EA5-452A-4775-26F2-0AA96122929D}"/>
              </a:ext>
            </a:extLst>
          </p:cNvPr>
          <p:cNvSpPr/>
          <p:nvPr/>
        </p:nvSpPr>
        <p:spPr>
          <a:xfrm rot="5400000">
            <a:off x="-1257669" y="2434984"/>
            <a:ext cx="5289983" cy="2167468"/>
          </a:xfrm>
          <a:prstGeom prst="flowChartTerminator">
            <a:avLst/>
          </a:prstGeom>
          <a:solidFill>
            <a:schemeClr val="bg1">
              <a:lumMod val="95000"/>
            </a:schemeClr>
          </a:solidFill>
          <a:ln>
            <a:noFill/>
          </a:ln>
          <a:effectLst>
            <a:glow rad="63500">
              <a:schemeClr val="accent6">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Oval 3">
            <a:extLst>
              <a:ext uri="{FF2B5EF4-FFF2-40B4-BE49-F238E27FC236}">
                <a16:creationId xmlns:a16="http://schemas.microsoft.com/office/drawing/2014/main" id="{D343D387-64AE-35A3-7C8D-2E9B0FC3EC5B}"/>
              </a:ext>
            </a:extLst>
          </p:cNvPr>
          <p:cNvSpPr/>
          <p:nvPr/>
        </p:nvSpPr>
        <p:spPr>
          <a:xfrm>
            <a:off x="350920" y="940604"/>
            <a:ext cx="2067844" cy="2093076"/>
          </a:xfrm>
          <a:prstGeom prst="ellipse">
            <a:avLst/>
          </a:prstGeom>
          <a:blipFill>
            <a:blip r:embed="rId3"/>
            <a:stretch>
              <a:fillRect/>
            </a:stretch>
          </a:blipFill>
          <a:ln w="381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6DB67908-C14E-2F86-8A45-B84FBEEF7DFF}"/>
              </a:ext>
            </a:extLst>
          </p:cNvPr>
          <p:cNvSpPr txBox="1"/>
          <p:nvPr/>
        </p:nvSpPr>
        <p:spPr>
          <a:xfrm>
            <a:off x="363619" y="3134102"/>
            <a:ext cx="2047405" cy="23391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bout Cli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 leading global provider of property, casualty, and specialty insurance and reinsurance, operating across multiple international markets with headquarters in Bermuda. It maintains strong financial strength ratings from major agencies, reflecting its stability and continued global expansion</a:t>
            </a:r>
          </a:p>
        </p:txBody>
      </p:sp>
      <p:sp>
        <p:nvSpPr>
          <p:cNvPr id="11" name="TextBox 10">
            <a:extLst>
              <a:ext uri="{FF2B5EF4-FFF2-40B4-BE49-F238E27FC236}">
                <a16:creationId xmlns:a16="http://schemas.microsoft.com/office/drawing/2014/main" id="{93FCBBE0-6ECE-56F4-FD2B-A1396E2D225F}"/>
              </a:ext>
            </a:extLst>
          </p:cNvPr>
          <p:cNvSpPr txBox="1"/>
          <p:nvPr/>
        </p:nvSpPr>
        <p:spPr>
          <a:xfrm>
            <a:off x="2608392" y="1093212"/>
            <a:ext cx="130869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a:ea typeface="+mn-ea"/>
                <a:cs typeface="+mn-cs"/>
              </a:rPr>
              <a:t>OBJECTIVES</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2" name="Straight Connector 11">
            <a:extLst>
              <a:ext uri="{FF2B5EF4-FFF2-40B4-BE49-F238E27FC236}">
                <a16:creationId xmlns:a16="http://schemas.microsoft.com/office/drawing/2014/main" id="{BACF9229-83EA-8748-50C4-0561ABA4F768}"/>
              </a:ext>
            </a:extLst>
          </p:cNvPr>
          <p:cNvCxnSpPr/>
          <p:nvPr/>
        </p:nvCxnSpPr>
        <p:spPr>
          <a:xfrm>
            <a:off x="2721472" y="1462544"/>
            <a:ext cx="256902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89F2E83-7B2D-7C66-F110-4F7141832B25}"/>
              </a:ext>
            </a:extLst>
          </p:cNvPr>
          <p:cNvSpPr txBox="1"/>
          <p:nvPr/>
        </p:nvSpPr>
        <p:spPr>
          <a:xfrm>
            <a:off x="2627926" y="1535349"/>
            <a:ext cx="2682108" cy="1615827"/>
          </a:xfrm>
          <a:prstGeom prst="rect">
            <a:avLst/>
          </a:prstGeom>
          <a:noFill/>
        </p:spPr>
        <p:txBody>
          <a:bodyPr wrap="square" rtlCol="0">
            <a:spAutoFit/>
          </a:bodyPr>
          <a:lstStyle/>
          <a:p>
            <a:pPr marL="144000" marR="0" lvl="0" indent="-1440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Wanted to decommission the existing legacy system and replace with Guidewire </a:t>
            </a:r>
            <a:r>
              <a:rPr kumimoji="0" lang="en-US" sz="1100" b="0" i="0" u="none" strike="noStrike" kern="1200" cap="none" spc="0" normalizeH="0" baseline="0" noProof="0" dirty="0" err="1">
                <a:ln>
                  <a:noFill/>
                </a:ln>
                <a:effectLst/>
                <a:uLnTx/>
                <a:uFillTx/>
                <a:latin typeface="Calibri"/>
                <a:ea typeface="+mn-ea"/>
                <a:cs typeface="+mn-cs"/>
              </a:rPr>
              <a:t>PolicyCenter</a:t>
            </a:r>
            <a:r>
              <a:rPr kumimoji="0" lang="en-US" sz="1100" b="0" i="0" u="none" strike="noStrike" kern="1200" cap="none" spc="0" normalizeH="0" baseline="0" noProof="0" dirty="0">
                <a:ln>
                  <a:noFill/>
                </a:ln>
                <a:effectLst/>
                <a:uLnTx/>
                <a:uFillTx/>
                <a:latin typeface="Calibri"/>
                <a:ea typeface="+mn-ea"/>
                <a:cs typeface="+mn-cs"/>
              </a:rPr>
              <a:t> &amp; </a:t>
            </a:r>
            <a:r>
              <a:rPr kumimoji="0" lang="en-US" sz="1100" b="0" i="0" u="none" strike="noStrike" kern="1200" cap="none" spc="0" normalizeH="0" baseline="0" noProof="0" dirty="0" err="1">
                <a:ln>
                  <a:noFill/>
                </a:ln>
                <a:effectLst/>
                <a:uLnTx/>
                <a:uFillTx/>
                <a:latin typeface="Calibri"/>
                <a:ea typeface="+mn-ea"/>
                <a:cs typeface="+mn-cs"/>
              </a:rPr>
              <a:t>ClaimCenter</a:t>
            </a:r>
            <a:endParaRPr lang="en-US" sz="1100" dirty="0">
              <a:latin typeface="Calibri"/>
            </a:endParaRPr>
          </a:p>
          <a:p>
            <a:pPr marL="144000" marR="0" lvl="0" indent="-1440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Supported the Guidewire Version 8 , 10</a:t>
            </a:r>
          </a:p>
          <a:p>
            <a:pPr marL="144000" marR="0" lvl="0" indent="-1440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Our Scope to provide QA services (Manual and Automation Testing) for this implementation</a:t>
            </a:r>
          </a:p>
          <a:p>
            <a:pPr marL="144000" marR="0" lvl="1" indent="-1440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Migration of existing DCT policies (500+) to Guidewire Policy Center.</a:t>
            </a:r>
          </a:p>
        </p:txBody>
      </p:sp>
      <p:sp>
        <p:nvSpPr>
          <p:cNvPr id="14" name="TextBox 13">
            <a:extLst>
              <a:ext uri="{FF2B5EF4-FFF2-40B4-BE49-F238E27FC236}">
                <a16:creationId xmlns:a16="http://schemas.microsoft.com/office/drawing/2014/main" id="{3ADC3901-E908-DC11-57DA-3717DFE6F1CE}"/>
              </a:ext>
            </a:extLst>
          </p:cNvPr>
          <p:cNvSpPr txBox="1"/>
          <p:nvPr/>
        </p:nvSpPr>
        <p:spPr>
          <a:xfrm>
            <a:off x="8238047" y="1082326"/>
            <a:ext cx="13585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a:ea typeface="+mn-ea"/>
                <a:cs typeface="+mn-cs"/>
              </a:rPr>
              <a:t>HIGHLIGHTS</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5" name="Straight Connector 14">
            <a:extLst>
              <a:ext uri="{FF2B5EF4-FFF2-40B4-BE49-F238E27FC236}">
                <a16:creationId xmlns:a16="http://schemas.microsoft.com/office/drawing/2014/main" id="{7A51838F-2301-4F2E-80FE-ABB5B6430C39}"/>
              </a:ext>
            </a:extLst>
          </p:cNvPr>
          <p:cNvCxnSpPr/>
          <p:nvPr/>
        </p:nvCxnSpPr>
        <p:spPr>
          <a:xfrm>
            <a:off x="8351127" y="1451658"/>
            <a:ext cx="256902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37FC481-35D6-1E82-2F69-D4732AC0B6BE}"/>
              </a:ext>
            </a:extLst>
          </p:cNvPr>
          <p:cNvSpPr/>
          <p:nvPr/>
        </p:nvSpPr>
        <p:spPr>
          <a:xfrm>
            <a:off x="8351635" y="1685472"/>
            <a:ext cx="1349829" cy="52120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UAT</a:t>
            </a:r>
          </a:p>
        </p:txBody>
      </p:sp>
      <p:sp>
        <p:nvSpPr>
          <p:cNvPr id="17" name="Rectangle 16">
            <a:extLst>
              <a:ext uri="{FF2B5EF4-FFF2-40B4-BE49-F238E27FC236}">
                <a16:creationId xmlns:a16="http://schemas.microsoft.com/office/drawing/2014/main" id="{C3B1B4E1-E7C4-9A02-FB50-63A6C20066A3}"/>
              </a:ext>
            </a:extLst>
          </p:cNvPr>
          <p:cNvSpPr/>
          <p:nvPr/>
        </p:nvSpPr>
        <p:spPr>
          <a:xfrm>
            <a:off x="9701464" y="1685472"/>
            <a:ext cx="2188029" cy="521208"/>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Calibri"/>
                <a:ea typeface="+mn-ea"/>
                <a:cs typeface="+mn-cs"/>
              </a:rPr>
              <a:t>Zero defect Leakage to UAT</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AAAF796C-4389-F0A2-0FCD-A92926846386}"/>
              </a:ext>
            </a:extLst>
          </p:cNvPr>
          <p:cNvSpPr/>
          <p:nvPr/>
        </p:nvSpPr>
        <p:spPr>
          <a:xfrm>
            <a:off x="8351635" y="2261016"/>
            <a:ext cx="1349829" cy="523914"/>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Automation of Regression Test cases</a:t>
            </a:r>
          </a:p>
        </p:txBody>
      </p:sp>
      <p:sp>
        <p:nvSpPr>
          <p:cNvPr id="19" name="Rectangle 18">
            <a:extLst>
              <a:ext uri="{FF2B5EF4-FFF2-40B4-BE49-F238E27FC236}">
                <a16:creationId xmlns:a16="http://schemas.microsoft.com/office/drawing/2014/main" id="{804E30F8-3BED-C929-660D-F340616C8C17}"/>
              </a:ext>
            </a:extLst>
          </p:cNvPr>
          <p:cNvSpPr/>
          <p:nvPr/>
        </p:nvSpPr>
        <p:spPr>
          <a:xfrm>
            <a:off x="9701464" y="2261016"/>
            <a:ext cx="2188029" cy="523914"/>
          </a:xfrm>
          <a:prstGeom prst="rect">
            <a:avLst/>
          </a:prstGeom>
          <a:noFill/>
          <a:ln w="127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3500+ cases automated using BDD framework in Selenium (across LOBs)</a:t>
            </a:r>
          </a:p>
        </p:txBody>
      </p:sp>
      <p:sp>
        <p:nvSpPr>
          <p:cNvPr id="20" name="Rectangle 19">
            <a:extLst>
              <a:ext uri="{FF2B5EF4-FFF2-40B4-BE49-F238E27FC236}">
                <a16:creationId xmlns:a16="http://schemas.microsoft.com/office/drawing/2014/main" id="{E8E410E8-BC2F-3C93-D02D-6F8B86F76112}"/>
              </a:ext>
            </a:extLst>
          </p:cNvPr>
          <p:cNvSpPr/>
          <p:nvPr/>
        </p:nvSpPr>
        <p:spPr>
          <a:xfrm>
            <a:off x="8351635" y="2832202"/>
            <a:ext cx="1349829" cy="52120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QA Team</a:t>
            </a:r>
          </a:p>
        </p:txBody>
      </p:sp>
      <p:sp>
        <p:nvSpPr>
          <p:cNvPr id="21" name="Rectangle 20">
            <a:extLst>
              <a:ext uri="{FF2B5EF4-FFF2-40B4-BE49-F238E27FC236}">
                <a16:creationId xmlns:a16="http://schemas.microsoft.com/office/drawing/2014/main" id="{B4A9903A-1C62-7742-5052-1BFA14013121}"/>
              </a:ext>
            </a:extLst>
          </p:cNvPr>
          <p:cNvSpPr/>
          <p:nvPr/>
        </p:nvSpPr>
        <p:spPr>
          <a:xfrm>
            <a:off x="9701464" y="2832202"/>
            <a:ext cx="2188029" cy="521208"/>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Calibri"/>
                <a:ea typeface="+mn-ea"/>
                <a:cs typeface="+mn-cs"/>
              </a:rPr>
              <a:t>1</a:t>
            </a:r>
            <a:r>
              <a:rPr kumimoji="0" lang="en-US" sz="1000" b="0" i="0" u="none" strike="noStrike" kern="1200" cap="none" spc="0" normalizeH="0" baseline="0" noProof="0" dirty="0">
                <a:ln>
                  <a:noFill/>
                </a:ln>
                <a:solidFill>
                  <a:prstClr val="black"/>
                </a:solidFill>
                <a:effectLst/>
                <a:uLnTx/>
                <a:uFillTx/>
                <a:latin typeface="Calibri"/>
                <a:ea typeface="+mn-ea"/>
                <a:cs typeface="+mn-cs"/>
              </a:rPr>
              <a:t>00+ strong Guidewire QA Team</a:t>
            </a:r>
          </a:p>
        </p:txBody>
      </p:sp>
      <p:sp>
        <p:nvSpPr>
          <p:cNvPr id="22" name="Rectangle 21">
            <a:extLst>
              <a:ext uri="{FF2B5EF4-FFF2-40B4-BE49-F238E27FC236}">
                <a16:creationId xmlns:a16="http://schemas.microsoft.com/office/drawing/2014/main" id="{B227E3F4-6F46-4BDE-741D-E3D76F3B2ADA}"/>
              </a:ext>
            </a:extLst>
          </p:cNvPr>
          <p:cNvSpPr/>
          <p:nvPr/>
        </p:nvSpPr>
        <p:spPr>
          <a:xfrm>
            <a:off x="8351635" y="3396133"/>
            <a:ext cx="1349829" cy="521208"/>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Products</a:t>
            </a:r>
          </a:p>
        </p:txBody>
      </p:sp>
      <p:sp>
        <p:nvSpPr>
          <p:cNvPr id="23" name="Rectangle 22">
            <a:extLst>
              <a:ext uri="{FF2B5EF4-FFF2-40B4-BE49-F238E27FC236}">
                <a16:creationId xmlns:a16="http://schemas.microsoft.com/office/drawing/2014/main" id="{82A98703-2321-DB3B-5432-7591B2C88F75}"/>
              </a:ext>
            </a:extLst>
          </p:cNvPr>
          <p:cNvSpPr/>
          <p:nvPr/>
        </p:nvSpPr>
        <p:spPr>
          <a:xfrm>
            <a:off x="9701464" y="3396133"/>
            <a:ext cx="2188029" cy="521208"/>
          </a:xfrm>
          <a:prstGeom prst="rect">
            <a:avLst/>
          </a:prstGeom>
          <a:noFill/>
          <a:ln w="127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40+ Products (Comm and Specialty Lines) went into production on Guidewire </a:t>
            </a:r>
            <a:r>
              <a:rPr kumimoji="0" lang="en-US" sz="1000" b="0" i="0" u="none" strike="noStrike" kern="1200" cap="none" spc="0" normalizeH="0" baseline="0" noProof="0" dirty="0" err="1">
                <a:ln>
                  <a:noFill/>
                </a:ln>
                <a:solidFill>
                  <a:prstClr val="black"/>
                </a:solidFill>
                <a:effectLst/>
                <a:uLnTx/>
                <a:uFillTx/>
                <a:latin typeface="Calibri"/>
                <a:ea typeface="+mn-ea"/>
                <a:cs typeface="+mn-cs"/>
              </a:rPr>
              <a:t>PolicyCenter</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8B7B3DF5-D61C-E0BB-5712-DE44EA92D3BC}"/>
              </a:ext>
            </a:extLst>
          </p:cNvPr>
          <p:cNvSpPr/>
          <p:nvPr/>
        </p:nvSpPr>
        <p:spPr>
          <a:xfrm>
            <a:off x="8351127" y="3960064"/>
            <a:ext cx="1349829" cy="52120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Effort/Cost Savings</a:t>
            </a:r>
          </a:p>
        </p:txBody>
      </p:sp>
      <p:sp>
        <p:nvSpPr>
          <p:cNvPr id="25" name="Rectangle 24">
            <a:extLst>
              <a:ext uri="{FF2B5EF4-FFF2-40B4-BE49-F238E27FC236}">
                <a16:creationId xmlns:a16="http://schemas.microsoft.com/office/drawing/2014/main" id="{28699FEC-BD32-EE33-8664-42A1B9B319D5}"/>
              </a:ext>
            </a:extLst>
          </p:cNvPr>
          <p:cNvSpPr/>
          <p:nvPr/>
        </p:nvSpPr>
        <p:spPr>
          <a:xfrm>
            <a:off x="9700956" y="3960064"/>
            <a:ext cx="2188029" cy="521208"/>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24% effort/cost saving due to automation using BDD framework in Selenium</a:t>
            </a:r>
          </a:p>
        </p:txBody>
      </p:sp>
      <p:sp>
        <p:nvSpPr>
          <p:cNvPr id="26" name="Rectangle 25">
            <a:extLst>
              <a:ext uri="{FF2B5EF4-FFF2-40B4-BE49-F238E27FC236}">
                <a16:creationId xmlns:a16="http://schemas.microsoft.com/office/drawing/2014/main" id="{5A02335B-D3A5-62AA-B33F-A69BF1D69EA3}"/>
              </a:ext>
            </a:extLst>
          </p:cNvPr>
          <p:cNvSpPr>
            <a:spLocks noGrp="1" noRot="1" noMove="1" noResize="1" noEditPoints="1" noAdjustHandles="1" noChangeArrowheads="1" noChangeShapeType="1"/>
          </p:cNvSpPr>
          <p:nvPr/>
        </p:nvSpPr>
        <p:spPr>
          <a:xfrm>
            <a:off x="8351127" y="4530525"/>
            <a:ext cx="1349829" cy="76280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Shared Te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Assets Bank</a:t>
            </a:r>
          </a:p>
        </p:txBody>
      </p:sp>
      <p:sp>
        <p:nvSpPr>
          <p:cNvPr id="27" name="Rectangle 26">
            <a:extLst>
              <a:ext uri="{FF2B5EF4-FFF2-40B4-BE49-F238E27FC236}">
                <a16:creationId xmlns:a16="http://schemas.microsoft.com/office/drawing/2014/main" id="{6277454F-2E27-F272-CDD0-7675717D09B3}"/>
              </a:ext>
            </a:extLst>
          </p:cNvPr>
          <p:cNvSpPr/>
          <p:nvPr/>
        </p:nvSpPr>
        <p:spPr>
          <a:xfrm>
            <a:off x="9700956" y="4530525"/>
            <a:ext cx="2188029" cy="762809"/>
          </a:xfrm>
          <a:prstGeom prst="rect">
            <a:avLst/>
          </a:prstGeom>
          <a:noFill/>
          <a:ln w="127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70% of reusable components with in 6 weeks  by focusing on Framework modification and reusable components creation </a:t>
            </a:r>
          </a:p>
        </p:txBody>
      </p:sp>
      <p:sp>
        <p:nvSpPr>
          <p:cNvPr id="28" name="Rectangle 27">
            <a:extLst>
              <a:ext uri="{FF2B5EF4-FFF2-40B4-BE49-F238E27FC236}">
                <a16:creationId xmlns:a16="http://schemas.microsoft.com/office/drawing/2014/main" id="{D1BA2C00-7B95-7C3B-CF52-B58169808D89}"/>
              </a:ext>
            </a:extLst>
          </p:cNvPr>
          <p:cNvSpPr/>
          <p:nvPr/>
        </p:nvSpPr>
        <p:spPr>
          <a:xfrm>
            <a:off x="8351127" y="5340607"/>
            <a:ext cx="1349829" cy="52120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a:ea typeface="+mn-ea"/>
                <a:cs typeface="+mn-cs"/>
              </a:rPr>
              <a:t>Annual Cost Benefit</a:t>
            </a:r>
          </a:p>
        </p:txBody>
      </p:sp>
      <p:sp>
        <p:nvSpPr>
          <p:cNvPr id="29" name="Rectangle 28">
            <a:extLst>
              <a:ext uri="{FF2B5EF4-FFF2-40B4-BE49-F238E27FC236}">
                <a16:creationId xmlns:a16="http://schemas.microsoft.com/office/drawing/2014/main" id="{442702A6-D39D-5B2E-73C0-D6135DB1AB29}"/>
              </a:ext>
            </a:extLst>
          </p:cNvPr>
          <p:cNvSpPr/>
          <p:nvPr/>
        </p:nvSpPr>
        <p:spPr>
          <a:xfrm>
            <a:off x="9700956" y="5340607"/>
            <a:ext cx="2188029" cy="521208"/>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1M Expected Annual cost Benefit</a:t>
            </a:r>
          </a:p>
        </p:txBody>
      </p:sp>
      <p:sp>
        <p:nvSpPr>
          <p:cNvPr id="30" name="TextBox 29">
            <a:extLst>
              <a:ext uri="{FF2B5EF4-FFF2-40B4-BE49-F238E27FC236}">
                <a16:creationId xmlns:a16="http://schemas.microsoft.com/office/drawing/2014/main" id="{5C029120-92BD-136E-293E-46C4100C925C}"/>
              </a:ext>
            </a:extLst>
          </p:cNvPr>
          <p:cNvSpPr txBox="1"/>
          <p:nvPr/>
        </p:nvSpPr>
        <p:spPr>
          <a:xfrm>
            <a:off x="5499695" y="1098516"/>
            <a:ext cx="128349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a:ea typeface="+mn-ea"/>
                <a:cs typeface="+mn-cs"/>
              </a:rPr>
              <a:t>SOLUTIONS</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1" name="Straight Connector 30">
            <a:extLst>
              <a:ext uri="{FF2B5EF4-FFF2-40B4-BE49-F238E27FC236}">
                <a16:creationId xmlns:a16="http://schemas.microsoft.com/office/drawing/2014/main" id="{72F0CFE8-8D76-84A8-0C77-C25DE81323EC}"/>
              </a:ext>
            </a:extLst>
          </p:cNvPr>
          <p:cNvCxnSpPr/>
          <p:nvPr/>
        </p:nvCxnSpPr>
        <p:spPr>
          <a:xfrm>
            <a:off x="5580117" y="1467848"/>
            <a:ext cx="256902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DFEDA64-755D-5FBE-3DA2-88C06BD1510F}"/>
              </a:ext>
            </a:extLst>
          </p:cNvPr>
          <p:cNvSpPr txBox="1"/>
          <p:nvPr/>
        </p:nvSpPr>
        <p:spPr>
          <a:xfrm>
            <a:off x="2629390" y="3611066"/>
            <a:ext cx="14183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a:ea typeface="+mn-ea"/>
                <a:cs typeface="+mn-cs"/>
              </a:rPr>
              <a:t>CHALLENGES</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76E36C4C-7F30-29FA-B239-CBE25D5AD713}"/>
              </a:ext>
            </a:extLst>
          </p:cNvPr>
          <p:cNvCxnSpPr/>
          <p:nvPr/>
        </p:nvCxnSpPr>
        <p:spPr>
          <a:xfrm>
            <a:off x="2742470" y="3980398"/>
            <a:ext cx="256902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ABBA724-622C-065C-7A46-4BD01625174D}"/>
              </a:ext>
            </a:extLst>
          </p:cNvPr>
          <p:cNvSpPr txBox="1"/>
          <p:nvPr/>
        </p:nvSpPr>
        <p:spPr>
          <a:xfrm>
            <a:off x="2643621" y="4067391"/>
            <a:ext cx="2682108" cy="2123658"/>
          </a:xfrm>
          <a:prstGeom prst="rect">
            <a:avLst/>
          </a:prstGeom>
          <a:noFill/>
        </p:spPr>
        <p:txBody>
          <a:bodyPr wrap="square" rtlCol="0">
            <a:spAutoFit/>
          </a:bodyPr>
          <a:lstStyle/>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Lack of Functional knowledge and expertise for Guidewire PC &amp; CC Application.</a:t>
            </a:r>
          </a:p>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Unclear Test Cases and not as per updated requirements.</a:t>
            </a:r>
          </a:p>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Lack of proper requirement mapping documents and knowledge transition</a:t>
            </a:r>
            <a:r>
              <a:rPr kumimoji="0" lang="en-US" sz="1100" b="0" i="0" u="none" strike="noStrike" kern="0" cap="none" spc="0" normalizeH="0" baseline="0" noProof="0" dirty="0">
                <a:ln>
                  <a:noFill/>
                </a:ln>
                <a:effectLst/>
                <a:uLnTx/>
                <a:uFillTx/>
                <a:latin typeface="Calibri"/>
                <a:ea typeface="+mn-ea"/>
                <a:cs typeface="Calibri" pitchFamily="34" charset="0"/>
              </a:rPr>
              <a:t>.</a:t>
            </a:r>
          </a:p>
          <a:p>
            <a:pPr marL="144000" marR="0" lvl="1" indent="-144000" algn="l" defTabSz="932962"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Testing of multiple LOBs going on simultaneously with aggressive timelines.</a:t>
            </a:r>
          </a:p>
          <a:p>
            <a:pPr marL="144000" marR="0" lvl="1" indent="-144000" algn="l" defTabSz="932962"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Customer is using multiple Insurance product GW, DCT and wanted a vendor with expertise on both of these.</a:t>
            </a:r>
            <a:endParaRPr kumimoji="0" lang="en-US" sz="1100" b="0" i="0" u="none" strike="noStrike" kern="0" cap="none" spc="0" normalizeH="0" baseline="0" noProof="0" dirty="0">
              <a:ln>
                <a:noFill/>
              </a:ln>
              <a:effectLst/>
              <a:uLnTx/>
              <a:uFillTx/>
              <a:latin typeface="Calibri"/>
              <a:ea typeface="+mn-ea"/>
              <a:cs typeface="Calibri" pitchFamily="34" charset="0"/>
            </a:endParaRPr>
          </a:p>
        </p:txBody>
      </p:sp>
      <p:sp>
        <p:nvSpPr>
          <p:cNvPr id="53" name="TextBox 52">
            <a:extLst>
              <a:ext uri="{FF2B5EF4-FFF2-40B4-BE49-F238E27FC236}">
                <a16:creationId xmlns:a16="http://schemas.microsoft.com/office/drawing/2014/main" id="{54F57C23-1647-DB28-3305-2C83144AEDFB}"/>
              </a:ext>
            </a:extLst>
          </p:cNvPr>
          <p:cNvSpPr txBox="1"/>
          <p:nvPr/>
        </p:nvSpPr>
        <p:spPr>
          <a:xfrm>
            <a:off x="5499695" y="1511141"/>
            <a:ext cx="2771010" cy="2123658"/>
          </a:xfrm>
          <a:prstGeom prst="rect">
            <a:avLst/>
          </a:prstGeom>
          <a:noFill/>
        </p:spPr>
        <p:txBody>
          <a:bodyPr wrap="square" rtlCol="0">
            <a:spAutoFit/>
          </a:bodyPr>
          <a:lstStyle/>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effectLst/>
                <a:uLnTx/>
                <a:uFillTx/>
                <a:latin typeface="Calibri"/>
                <a:ea typeface="+mn-ea"/>
                <a:cs typeface="+mn-cs"/>
              </a:rPr>
              <a:t>BA/QA model to </a:t>
            </a:r>
            <a:r>
              <a:rPr kumimoji="0" lang="en-US" sz="1100" b="0" i="0" u="none" strike="noStrike" kern="1200" cap="none" spc="0" normalizeH="0" baseline="0" noProof="0" dirty="0">
                <a:ln>
                  <a:noFill/>
                </a:ln>
                <a:effectLst/>
                <a:uLnTx/>
                <a:uFillTx/>
                <a:latin typeface="Calibri"/>
                <a:ea typeface="+mn-ea"/>
                <a:cs typeface="+mn-cs"/>
              </a:rPr>
              <a:t>develop of automation scripts with for Guidewire PC &amp; CC expertise</a:t>
            </a:r>
          </a:p>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Usage of ADO effectively for Test Preparation, Execution, Defects Logging/ Tracking to closure, Release management etc.</a:t>
            </a:r>
          </a:p>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Shared repository (TFS) which provided better control on test management.</a:t>
            </a:r>
          </a:p>
          <a:p>
            <a:pPr marL="144000" marR="0" lvl="1" indent="-144000" algn="l" defTabSz="932962"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effectLst/>
                <a:uLnTx/>
                <a:uFillTx/>
                <a:latin typeface="Calibri"/>
                <a:ea typeface="+mn-ea"/>
                <a:cs typeface="+mn-cs"/>
              </a:rPr>
              <a:t>Co-ordination with Manual team and experienced resources to understand legacy source codes </a:t>
            </a:r>
          </a:p>
        </p:txBody>
      </p:sp>
      <p:sp>
        <p:nvSpPr>
          <p:cNvPr id="54" name="TextBox 53">
            <a:extLst>
              <a:ext uri="{FF2B5EF4-FFF2-40B4-BE49-F238E27FC236}">
                <a16:creationId xmlns:a16="http://schemas.microsoft.com/office/drawing/2014/main" id="{3215A2D5-6BD5-EEB0-C0D1-50A5DDE41A21}"/>
              </a:ext>
            </a:extLst>
          </p:cNvPr>
          <p:cNvSpPr txBox="1"/>
          <p:nvPr/>
        </p:nvSpPr>
        <p:spPr>
          <a:xfrm>
            <a:off x="5512169" y="3611066"/>
            <a:ext cx="13962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a:ea typeface="+mn-ea"/>
                <a:cs typeface="+mn-cs"/>
              </a:rPr>
              <a:t>VALUE ADDS</a:t>
            </a:r>
          </a:p>
        </p:txBody>
      </p:sp>
      <p:cxnSp>
        <p:nvCxnSpPr>
          <p:cNvPr id="55" name="Straight Connector 54">
            <a:extLst>
              <a:ext uri="{FF2B5EF4-FFF2-40B4-BE49-F238E27FC236}">
                <a16:creationId xmlns:a16="http://schemas.microsoft.com/office/drawing/2014/main" id="{BA5E794D-CAA4-9D98-B33D-A4229ED2DA58}"/>
              </a:ext>
            </a:extLst>
          </p:cNvPr>
          <p:cNvCxnSpPr/>
          <p:nvPr/>
        </p:nvCxnSpPr>
        <p:spPr>
          <a:xfrm>
            <a:off x="5592591" y="3980398"/>
            <a:ext cx="256902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1C13E68-20D7-F177-AABF-FBA3A54706AE}"/>
              </a:ext>
            </a:extLst>
          </p:cNvPr>
          <p:cNvSpPr txBox="1"/>
          <p:nvPr/>
        </p:nvSpPr>
        <p:spPr>
          <a:xfrm>
            <a:off x="5512524" y="4076991"/>
            <a:ext cx="2771010" cy="1615827"/>
          </a:xfrm>
          <a:prstGeom prst="rect">
            <a:avLst/>
          </a:prstGeom>
          <a:noFill/>
        </p:spPr>
        <p:txBody>
          <a:bodyPr wrap="square" rtlCol="0">
            <a:spAutoFit/>
          </a:bodyPr>
          <a:lstStyle/>
          <a:p>
            <a:pPr marL="117475" marR="0" lvl="0" indent="-117475"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Performance Testing of GWPC by existing team using Load Runner.</a:t>
            </a:r>
          </a:p>
          <a:p>
            <a:pPr marL="117475" marR="0" lvl="0" indent="-117475"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Minimum maintenance effort and cost of automation scripts and framework components due to data driven automation framework </a:t>
            </a:r>
          </a:p>
          <a:p>
            <a:pPr marL="117475" marR="0" lvl="0" indent="-117475"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Calibri"/>
                <a:ea typeface="+mn-ea"/>
                <a:cs typeface="+mn-cs"/>
              </a:rPr>
              <a:t>Effective documentation was done so anyone can easily change or understand the logic if required.</a:t>
            </a:r>
          </a:p>
        </p:txBody>
      </p:sp>
    </p:spTree>
    <p:extLst>
      <p:ext uri="{BB962C8B-B14F-4D97-AF65-F5344CB8AC3E}">
        <p14:creationId xmlns:p14="http://schemas.microsoft.com/office/powerpoint/2010/main" val="384781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heme/theme1.xml><?xml version="1.0" encoding="utf-8"?>
<a:theme xmlns:a="http://schemas.openxmlformats.org/drawingml/2006/main" name="10_Office Theme">
  <a:themeElements>
    <a:clrScheme name="Birlasoft 2024">
      <a:dk1>
        <a:sysClr val="windowText" lastClr="000000"/>
      </a:dk1>
      <a:lt1>
        <a:sysClr val="window" lastClr="FFFFFF"/>
      </a:lt1>
      <a:dk2>
        <a:srgbClr val="3F3F3F"/>
      </a:dk2>
      <a:lt2>
        <a:srgbClr val="F2F2F2"/>
      </a:lt2>
      <a:accent1>
        <a:srgbClr val="C00000"/>
      </a:accent1>
      <a:accent2>
        <a:srgbClr val="FF0000"/>
      </a:accent2>
      <a:accent3>
        <a:srgbClr val="7030A0"/>
      </a:accent3>
      <a:accent4>
        <a:srgbClr val="3F3F3F"/>
      </a:accent4>
      <a:accent5>
        <a:srgbClr val="FFC000"/>
      </a:accent5>
      <a:accent6>
        <a:srgbClr val="A5A5A5"/>
      </a:accent6>
      <a:hlink>
        <a:srgbClr val="0563C1"/>
      </a:hlink>
      <a:folHlink>
        <a:srgbClr val="70AD47"/>
      </a:folHlink>
    </a:clrScheme>
    <a:fontScheme name="Birlasoft_New202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Office Theme">
  <a:themeElements>
    <a:clrScheme name="Birlasoft 2024">
      <a:dk1>
        <a:sysClr val="windowText" lastClr="000000"/>
      </a:dk1>
      <a:lt1>
        <a:sysClr val="window" lastClr="FFFFFF"/>
      </a:lt1>
      <a:dk2>
        <a:srgbClr val="3F3F3F"/>
      </a:dk2>
      <a:lt2>
        <a:srgbClr val="F2F2F2"/>
      </a:lt2>
      <a:accent1>
        <a:srgbClr val="C00000"/>
      </a:accent1>
      <a:accent2>
        <a:srgbClr val="FF0000"/>
      </a:accent2>
      <a:accent3>
        <a:srgbClr val="7030A0"/>
      </a:accent3>
      <a:accent4>
        <a:srgbClr val="3F3F3F"/>
      </a:accent4>
      <a:accent5>
        <a:srgbClr val="FFC000"/>
      </a:accent5>
      <a:accent6>
        <a:srgbClr val="A5A5A5"/>
      </a:accent6>
      <a:hlink>
        <a:srgbClr val="0563C1"/>
      </a:hlink>
      <a:folHlink>
        <a:srgbClr val="70AD47"/>
      </a:folHlink>
    </a:clrScheme>
    <a:fontScheme name="Birlasoft_New202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Office Theme">
  <a:themeElements>
    <a:clrScheme name="Birlasoft 2024">
      <a:dk1>
        <a:sysClr val="windowText" lastClr="000000"/>
      </a:dk1>
      <a:lt1>
        <a:sysClr val="window" lastClr="FFFFFF"/>
      </a:lt1>
      <a:dk2>
        <a:srgbClr val="3F3F3F"/>
      </a:dk2>
      <a:lt2>
        <a:srgbClr val="F2F2F2"/>
      </a:lt2>
      <a:accent1>
        <a:srgbClr val="C00000"/>
      </a:accent1>
      <a:accent2>
        <a:srgbClr val="FF0000"/>
      </a:accent2>
      <a:accent3>
        <a:srgbClr val="7030A0"/>
      </a:accent3>
      <a:accent4>
        <a:srgbClr val="3F3F3F"/>
      </a:accent4>
      <a:accent5>
        <a:srgbClr val="FFC000"/>
      </a:accent5>
      <a:accent6>
        <a:srgbClr val="A5A5A5"/>
      </a:accent6>
      <a:hlink>
        <a:srgbClr val="0563C1"/>
      </a:hlink>
      <a:folHlink>
        <a:srgbClr val="70AD47"/>
      </a:folHlink>
    </a:clrScheme>
    <a:fontScheme name="Birlasoft_New202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9F89EA49-44B4-4C9C-8E78-BD7A9C93E39F}" vid="{EEA3C91B-1EE1-46B1-8441-BEF2C6F687D9}"/>
    </a:ext>
  </a:extLst>
</a:theme>
</file>

<file path=ppt/theme/theme4.xml><?xml version="1.0" encoding="utf-8"?>
<a:theme xmlns:a="http://schemas.openxmlformats.org/drawingml/2006/main" name="12_Office Theme">
  <a:themeElements>
    <a:clrScheme name="Birlasoft 2024">
      <a:dk1>
        <a:sysClr val="windowText" lastClr="000000"/>
      </a:dk1>
      <a:lt1>
        <a:sysClr val="window" lastClr="FFFFFF"/>
      </a:lt1>
      <a:dk2>
        <a:srgbClr val="3F3F3F"/>
      </a:dk2>
      <a:lt2>
        <a:srgbClr val="F2F2F2"/>
      </a:lt2>
      <a:accent1>
        <a:srgbClr val="C00000"/>
      </a:accent1>
      <a:accent2>
        <a:srgbClr val="FF0000"/>
      </a:accent2>
      <a:accent3>
        <a:srgbClr val="7030A0"/>
      </a:accent3>
      <a:accent4>
        <a:srgbClr val="3F3F3F"/>
      </a:accent4>
      <a:accent5>
        <a:srgbClr val="FFC000"/>
      </a:accent5>
      <a:accent6>
        <a:srgbClr val="A5A5A5"/>
      </a:accent6>
      <a:hlink>
        <a:srgbClr val="0563C1"/>
      </a:hlink>
      <a:folHlink>
        <a:srgbClr val="70AD47"/>
      </a:folHlink>
    </a:clrScheme>
    <a:fontScheme name="Birlasoft_New202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d02c0c7-83c0-425b-8426-43fcc1c11218">
      <Terms xmlns="http://schemas.microsoft.com/office/infopath/2007/PartnerControls"/>
    </lcf76f155ced4ddcb4097134ff3c332f>
    <TaxCatchAll xmlns="08fc3300-ce5b-4e94-a858-f10c09fb47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E500F81820CF489DF1DE81A729E6FB" ma:contentTypeVersion="14" ma:contentTypeDescription="Create a new document." ma:contentTypeScope="" ma:versionID="2b5baa3912399f08dafd8649ca2f2c98">
  <xsd:schema xmlns:xsd="http://www.w3.org/2001/XMLSchema" xmlns:xs="http://www.w3.org/2001/XMLSchema" xmlns:p="http://schemas.microsoft.com/office/2006/metadata/properties" xmlns:ns2="1d02c0c7-83c0-425b-8426-43fcc1c11218" xmlns:ns3="08fc3300-ce5b-4e94-a858-f10c09fb4735" targetNamespace="http://schemas.microsoft.com/office/2006/metadata/properties" ma:root="true" ma:fieldsID="b7e22bfc9e864da519df4548e1e28f48" ns2:_="" ns3:_="">
    <xsd:import namespace="1d02c0c7-83c0-425b-8426-43fcc1c11218"/>
    <xsd:import namespace="08fc3300-ce5b-4e94-a858-f10c09fb4735"/>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02c0c7-83c0-425b-8426-43fcc1c1121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3df9aafd-aab2-4e6d-8a85-b52888695b5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8fc3300-ce5b-4e94-a858-f10c09fb4735"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d94dd6b-cda4-4929-9882-a4bf855d085f}" ma:internalName="TaxCatchAll" ma:showField="CatchAllData" ma:web="08fc3300-ce5b-4e94-a858-f10c09fb4735">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DAD999-1E4B-451F-9D9C-4D7B9C47B47B}">
  <ds:schemaRefs>
    <ds:schemaRef ds:uri="http://schemas.microsoft.com/sharepoint/v3/contenttype/forms"/>
  </ds:schemaRefs>
</ds:datastoreItem>
</file>

<file path=customXml/itemProps2.xml><?xml version="1.0" encoding="utf-8"?>
<ds:datastoreItem xmlns:ds="http://schemas.openxmlformats.org/officeDocument/2006/customXml" ds:itemID="{0E6977F6-6275-4121-BEB5-A7119AE1E91F}">
  <ds:schemaRefs>
    <ds:schemaRef ds:uri="http://schemas.microsoft.com/office/2006/documentManagement/types"/>
    <ds:schemaRef ds:uri="http://schemas.openxmlformats.org/package/2006/metadata/core-properties"/>
    <ds:schemaRef ds:uri="http://purl.org/dc/elements/1.1/"/>
    <ds:schemaRef ds:uri="http://purl.org/dc/dcmitype/"/>
    <ds:schemaRef ds:uri="http://schemas.microsoft.com/office/infopath/2007/PartnerControls"/>
    <ds:schemaRef ds:uri="08fc3300-ce5b-4e94-a858-f10c09fb4735"/>
    <ds:schemaRef ds:uri="http://www.w3.org/XML/1998/namespace"/>
    <ds:schemaRef ds:uri="1d02c0c7-83c0-425b-8426-43fcc1c11218"/>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A901B9E7-4599-4858-B4FA-E0BDD5D3CA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d02c0c7-83c0-425b-8426-43fcc1c11218"/>
    <ds:schemaRef ds:uri="08fc3300-ce5b-4e94-a858-f10c09fb47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31a5d86-6dda-4457-85e5-c55bbc07923d}" enabled="0" method="" siteId="{b31a5d86-6dda-4457-85e5-c55bbc07923d}" removed="1"/>
</clbl:labelList>
</file>

<file path=docProps/app.xml><?xml version="1.0" encoding="utf-8"?>
<Properties xmlns="http://schemas.openxmlformats.org/officeDocument/2006/extended-properties" xmlns:vt="http://schemas.openxmlformats.org/officeDocument/2006/docPropsVTypes">
  <Template>Data Analytics &amp; Transformation_V3.0</Template>
  <TotalTime>13241</TotalTime>
  <Words>1951</Words>
  <Application>Microsoft Office PowerPoint</Application>
  <PresentationFormat>Widescreen</PresentationFormat>
  <Paragraphs>424</Paragraphs>
  <Slides>12</Slides>
  <Notes>1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6" baseType="lpstr">
      <vt:lpstr>ＭＳ Ｐゴシック</vt:lpstr>
      <vt:lpstr>Aptos</vt:lpstr>
      <vt:lpstr>Aptos Display</vt:lpstr>
      <vt:lpstr>Arial</vt:lpstr>
      <vt:lpstr>Calibri</vt:lpstr>
      <vt:lpstr>Calibri (Headings)</vt:lpstr>
      <vt:lpstr>Calibri Light</vt:lpstr>
      <vt:lpstr>Georgia</vt:lpstr>
      <vt:lpstr>Open Sans</vt:lpstr>
      <vt:lpstr>10_Office Theme</vt:lpstr>
      <vt:lpstr>9_Office Theme</vt:lpstr>
      <vt:lpstr>11_Office Theme</vt:lpstr>
      <vt:lpstr>12_Office Theme</vt:lpstr>
      <vt:lpstr>think-cell Slide</vt:lpstr>
      <vt:lpstr>PowerPoint Presentation</vt:lpstr>
      <vt:lpstr>PowerPoint Presentation</vt:lpstr>
      <vt:lpstr>Guidewire Testing Capabilities</vt:lpstr>
      <vt:lpstr>Deep Guidewire Domain Expertise across Insurance Value Chain</vt:lpstr>
      <vt:lpstr>Guidewire Testing Assessment Framework</vt:lpstr>
      <vt:lpstr>QA Enablement Across the Guidewire Lifecycle</vt:lpstr>
      <vt:lpstr>PowerPoint Presentation</vt:lpstr>
      <vt:lpstr>Augmenting GW testing lifecycle using Lynx</vt:lpstr>
      <vt:lpstr>Success Story - Guidewire Assurance for a Global insurance company</vt:lpstr>
      <vt:lpstr>PowerPoint Presentation</vt:lpstr>
      <vt:lpstr>Our Testing Capabilities</vt:lpstr>
      <vt:lpstr>Guidewire Rating Testing Best Practices</vt:lpstr>
    </vt:vector>
  </TitlesOfParts>
  <Company>Birlasoft Ltd.</Company>
  <LinksUpToDate>false</LinksUpToDate>
  <SharedDoc>false</SharedDoc>
  <HyperlinkBase>None</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amp; Transformation</dc:title>
  <dc:subject>None</dc:subject>
  <dc:creator>Deepak Gupta</dc:creator>
  <cp:keywords>None</cp:keywords>
  <cp:lastModifiedBy>Swapnil Saxena</cp:lastModifiedBy>
  <cp:revision>3301</cp:revision>
  <dcterms:created xsi:type="dcterms:W3CDTF">2023-11-06T09:36:30Z</dcterms:created>
  <dcterms:modified xsi:type="dcterms:W3CDTF">2026-05-25T06:55:30Z</dcterms:modified>
  <cp:category>None</cp:category>
  <cp:contentStatus>2023-24</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ff5c69e-9d09-4250-825e-b99a9d4db320_Enabled">
    <vt:lpwstr>true</vt:lpwstr>
  </property>
  <property fmtid="{D5CDD505-2E9C-101B-9397-08002B2CF9AE}" pid="3" name="MSIP_Label_6ff5c69e-9d09-4250-825e-b99a9d4db320_SetDate">
    <vt:lpwstr>2023-02-14T13:56:47Z</vt:lpwstr>
  </property>
  <property fmtid="{D5CDD505-2E9C-101B-9397-08002B2CF9AE}" pid="4" name="MSIP_Label_6ff5c69e-9d09-4250-825e-b99a9d4db320_Method">
    <vt:lpwstr>Standard</vt:lpwstr>
  </property>
  <property fmtid="{D5CDD505-2E9C-101B-9397-08002B2CF9AE}" pid="5" name="MSIP_Label_6ff5c69e-9d09-4250-825e-b99a9d4db320_Name">
    <vt:lpwstr>General</vt:lpwstr>
  </property>
  <property fmtid="{D5CDD505-2E9C-101B-9397-08002B2CF9AE}" pid="6" name="MSIP_Label_6ff5c69e-9d09-4250-825e-b99a9d4db320_SiteId">
    <vt:lpwstr>d79da2e9-d03a-4707-9da7-67a34ac6465c</vt:lpwstr>
  </property>
  <property fmtid="{D5CDD505-2E9C-101B-9397-08002B2CF9AE}" pid="7" name="MSIP_Label_6ff5c69e-9d09-4250-825e-b99a9d4db320_ActionId">
    <vt:lpwstr>aac75ec0-b740-4c3b-950f-5581d901ceb3</vt:lpwstr>
  </property>
  <property fmtid="{D5CDD505-2E9C-101B-9397-08002B2CF9AE}" pid="8" name="MSIP_Label_6ff5c69e-9d09-4250-825e-b99a9d4db320_ContentBits">
    <vt:lpwstr>0</vt:lpwstr>
  </property>
  <property fmtid="{D5CDD505-2E9C-101B-9397-08002B2CF9AE}" pid="9" name="ContentTypeId">
    <vt:lpwstr>0x010100A4E500F81820CF489DF1DE81A729E6FB</vt:lpwstr>
  </property>
  <property fmtid="{D5CDD505-2E9C-101B-9397-08002B2CF9AE}" pid="10" name="MediaServiceImageTags">
    <vt:lpwstr/>
  </property>
</Properties>
</file>